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ink/ink13.xml" ContentType="application/inkml+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1"/>
  </p:sldMasterIdLst>
  <p:notesMasterIdLst>
    <p:notesMasterId r:id="rId95"/>
  </p:notesMasterIdLst>
  <p:handoutMasterIdLst>
    <p:handoutMasterId r:id="rId96"/>
  </p:handoutMasterIdLst>
  <p:sldIdLst>
    <p:sldId id="356" r:id="rId2"/>
    <p:sldId id="357" r:id="rId3"/>
    <p:sldId id="359" r:id="rId4"/>
    <p:sldId id="570" r:id="rId5"/>
    <p:sldId id="360" r:id="rId6"/>
    <p:sldId id="361" r:id="rId7"/>
    <p:sldId id="362" r:id="rId8"/>
    <p:sldId id="376" r:id="rId9"/>
    <p:sldId id="377" r:id="rId10"/>
    <p:sldId id="569" r:id="rId11"/>
    <p:sldId id="363" r:id="rId12"/>
    <p:sldId id="387" r:id="rId13"/>
    <p:sldId id="368" r:id="rId14"/>
    <p:sldId id="386" r:id="rId15"/>
    <p:sldId id="369" r:id="rId16"/>
    <p:sldId id="364" r:id="rId17"/>
    <p:sldId id="365" r:id="rId18"/>
    <p:sldId id="366" r:id="rId19"/>
    <p:sldId id="367" r:id="rId20"/>
    <p:sldId id="374" r:id="rId21"/>
    <p:sldId id="380" r:id="rId22"/>
    <p:sldId id="370" r:id="rId23"/>
    <p:sldId id="371" r:id="rId24"/>
    <p:sldId id="372" r:id="rId25"/>
    <p:sldId id="571" r:id="rId26"/>
    <p:sldId id="373" r:id="rId27"/>
    <p:sldId id="375" r:id="rId28"/>
    <p:sldId id="382" r:id="rId29"/>
    <p:sldId id="383" r:id="rId30"/>
    <p:sldId id="384" r:id="rId31"/>
    <p:sldId id="385" r:id="rId32"/>
    <p:sldId id="388" r:id="rId33"/>
    <p:sldId id="389" r:id="rId34"/>
    <p:sldId id="390" r:id="rId35"/>
    <p:sldId id="391" r:id="rId36"/>
    <p:sldId id="421" r:id="rId37"/>
    <p:sldId id="395" r:id="rId38"/>
    <p:sldId id="392" r:id="rId39"/>
    <p:sldId id="393" r:id="rId40"/>
    <p:sldId id="394" r:id="rId41"/>
    <p:sldId id="396" r:id="rId42"/>
    <p:sldId id="397" r:id="rId43"/>
    <p:sldId id="398" r:id="rId44"/>
    <p:sldId id="399" r:id="rId45"/>
    <p:sldId id="400" r:id="rId46"/>
    <p:sldId id="401" r:id="rId47"/>
    <p:sldId id="402" r:id="rId48"/>
    <p:sldId id="403" r:id="rId49"/>
    <p:sldId id="404" r:id="rId50"/>
    <p:sldId id="405" r:id="rId51"/>
    <p:sldId id="406" r:id="rId52"/>
    <p:sldId id="407" r:id="rId53"/>
    <p:sldId id="408" r:id="rId54"/>
    <p:sldId id="409" r:id="rId55"/>
    <p:sldId id="411" r:id="rId56"/>
    <p:sldId id="412" r:id="rId57"/>
    <p:sldId id="413" r:id="rId58"/>
    <p:sldId id="410" r:id="rId59"/>
    <p:sldId id="414" r:id="rId60"/>
    <p:sldId id="415" r:id="rId61"/>
    <p:sldId id="416" r:id="rId62"/>
    <p:sldId id="417" r:id="rId63"/>
    <p:sldId id="418" r:id="rId64"/>
    <p:sldId id="419" r:id="rId65"/>
    <p:sldId id="420" r:id="rId66"/>
    <p:sldId id="422" r:id="rId67"/>
    <p:sldId id="423" r:id="rId68"/>
    <p:sldId id="424" r:id="rId69"/>
    <p:sldId id="425" r:id="rId70"/>
    <p:sldId id="426" r:id="rId71"/>
    <p:sldId id="427" r:id="rId72"/>
    <p:sldId id="428" r:id="rId73"/>
    <p:sldId id="429" r:id="rId74"/>
    <p:sldId id="430" r:id="rId75"/>
    <p:sldId id="431" r:id="rId76"/>
    <p:sldId id="432" r:id="rId77"/>
    <p:sldId id="433" r:id="rId78"/>
    <p:sldId id="434" r:id="rId79"/>
    <p:sldId id="435" r:id="rId80"/>
    <p:sldId id="436" r:id="rId81"/>
    <p:sldId id="438" r:id="rId82"/>
    <p:sldId id="439" r:id="rId83"/>
    <p:sldId id="440" r:id="rId84"/>
    <p:sldId id="441" r:id="rId85"/>
    <p:sldId id="442" r:id="rId86"/>
    <p:sldId id="443" r:id="rId87"/>
    <p:sldId id="444" r:id="rId88"/>
    <p:sldId id="445" r:id="rId89"/>
    <p:sldId id="446" r:id="rId90"/>
    <p:sldId id="447" r:id="rId91"/>
    <p:sldId id="448" r:id="rId92"/>
    <p:sldId id="449" r:id="rId93"/>
    <p:sldId id="450" r:id="rId94"/>
  </p:sldIdLst>
  <p:sldSz cx="9144000" cy="5143500" type="screen16x9"/>
  <p:notesSz cx="7010400" cy="9296400"/>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167">
          <p15:clr>
            <a:srgbClr val="A4A3A4"/>
          </p15:clr>
        </p15:guide>
        <p15:guide id="5" pos="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ah, Beng Mey" initials="CBM" lastIdx="5" clrIdx="0">
    <p:extLst>
      <p:ext uri="{19B8F6BF-5375-455C-9EA6-DF929625EA0E}">
        <p15:presenceInfo xmlns:p15="http://schemas.microsoft.com/office/powerpoint/2012/main" userId="S-1-5-21-1971345664-1559653683-1850952788-208039" providerId="AD"/>
      </p:ext>
    </p:extLst>
  </p:cmAuthor>
  <p:cmAuthor id="2" name="R2, Arun" initials="RA" lastIdx="6" clrIdx="1">
    <p:extLst>
      <p:ext uri="{19B8F6BF-5375-455C-9EA6-DF929625EA0E}">
        <p15:presenceInfo xmlns:p15="http://schemas.microsoft.com/office/powerpoint/2012/main" userId="S::Arun_R2@dell.com::4ce6e22d-8e4c-415a-bdf8-c4b2db8d37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53" autoAdjust="0"/>
    <p:restoredTop sz="94434" autoAdjust="0"/>
  </p:normalViewPr>
  <p:slideViewPr>
    <p:cSldViewPr snapToGrid="0">
      <p:cViewPr varScale="1">
        <p:scale>
          <a:sx n="137" d="100"/>
          <a:sy n="137" d="100"/>
        </p:scale>
        <p:origin x="912" y="96"/>
      </p:cViewPr>
      <p:guideLst>
        <p:guide orient="horz" pos="3072"/>
        <p:guide pos="5577"/>
        <p:guide pos="180"/>
        <p:guide orient="horz" pos="167"/>
        <p:guide pos="168"/>
      </p:guideLst>
    </p:cSldViewPr>
  </p:slideViewPr>
  <p:notesTextViewPr>
    <p:cViewPr>
      <p:scale>
        <a:sx n="3" d="2"/>
        <a:sy n="3" d="2"/>
      </p:scale>
      <p:origin x="0" y="0"/>
    </p:cViewPr>
  </p:notesTextViewPr>
  <p:sorterViewPr>
    <p:cViewPr>
      <p:scale>
        <a:sx n="100" d="100"/>
        <a:sy n="100" d="100"/>
      </p:scale>
      <p:origin x="0" y="-33516"/>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notesMaster" Target="notesMasters/notes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presProps" Target="presProps.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7865ABAC-9291-4D87-9512-817B6B64A1EE}" type="datetimeFigureOut">
              <a:rPr lang="en-US" smtClean="0"/>
              <a:t>3/26/2022</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2CBB36E-289C-400C-9E73-A4320D1DC1F4}" type="slidenum">
              <a:rPr lang="en-US" smtClean="0"/>
              <a:t>‹#›</a:t>
            </a:fld>
            <a:endParaRPr lang="en-US"/>
          </a:p>
        </p:txBody>
      </p:sp>
      <p:sp>
        <p:nvSpPr>
          <p:cNvPr id="6" name="fl" descr="                              Dell - Internal Use - Confidential&#10;"/>
          <p:cNvSpPr txBox="1"/>
          <p:nvPr/>
        </p:nvSpPr>
        <p:spPr>
          <a:xfrm>
            <a:off x="0" y="8737600"/>
            <a:ext cx="7010400" cy="592470"/>
          </a:xfrm>
          <a:prstGeom prst="rect">
            <a:avLst/>
          </a:prstGeom>
          <a:noFill/>
        </p:spPr>
        <p:txBody>
          <a:bodyPr vert="horz" rtlCol="0">
            <a:spAutoFit/>
          </a:bodyPr>
          <a:lstStyle/>
          <a:p>
            <a:r>
              <a:rPr lang="en-US" sz="850" b="1">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0010410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37:29.808"/>
    </inkml:context>
    <inkml:brush xml:id="br0">
      <inkml:brushProperty name="width" value="0.05292" units="cm"/>
      <inkml:brushProperty name="height" value="0.05292" units="cm"/>
      <inkml:brushProperty name="color" value="#0070C0"/>
    </inkml:brush>
  </inkml:definitions>
  <inkml:trace contextRef="#ctx0" brushRef="#br0">8586 1363 0,'-14'-14'0,"54"14"15,-13-13-15,12 13 0,14-13 16,0 13-16,27-13 0,-1 13 16,0-14-16,1 1 0,12 13 0,-12-13 15,-1 0-15,0 13 0,14-13 0,-14-1 16,1 14-16,-14-13 0,0 13 15,-13-13-15,0 13 0,-13-13 0,-1 13 16,-12 0-16,-14-14 0,0 14 0,0 0 16,1 0-16,-1 0 0</inkml:trace>
  <inkml:trace contextRef="#ctx0" brushRef="#br0" timeOffset="250.89">8824 1548 0,'238'-53'32,"-159"40"-32,-12 13 0,12-14 0,-13 1 15,13 0-15,1 0 0,-14 0 0,13 13 16,-13-14-16,1 1 0,-28 13 15,14-13-15,-13 13 0,-14 0 0,1-13 16,-1 13-16,-13 0 0,1 0 16,-1 0-16,0-14 15</inkml:trace>
  <inkml:trace contextRef="#ctx0" brushRef="#br0" timeOffset="6532.98">9393 3321 0,'26'0'15,"-13"13"-15,1-13 0,12 0 16,1 0-16,12 0 0,14 0 0,0 0 16,13 0-16,-13 0 0,13 0 15,14 0-15,-27 0 0,26 0 0,-13 0 16,0 0-16,0 0 0,1 0 0,-1 0 15,-13 0-15,0 0 0,13 0 0,-13 0 16,-14 0-16,1 0 0,0 0 16,-14 0-16,14 0 0,-14 0 0,1 0 15,-1 0-15,-13 0 0,1 0 0,12 0 16,-13 0-16,1 0 16</inkml:trace>
  <inkml:trace contextRef="#ctx0" brushRef="#br0" timeOffset="9397.86">3797 3982 0,'26'0'31,"1"0"-15,12 0-16,14 13 0,0-26 0,13 13 15,1 0-15,12 0 0,13 0 16,-12-13-16,-1 13 0,1 0 0,-1-13 16,0 13-16,-13 0 0,1 0 0,-14 0 15,-1 0-15,-12 0 0,-13-14 16,-1 14-16,1 0 0,-1 0 0,-13 0 15,0 0-15,1 0 0,-1 0 16,0 0-16,0 0 0,1 0 16,-28-13 15,-12 13-31,13 0 16</inkml:trace>
  <inkml:trace contextRef="#ctx0" brushRef="#br0" timeOffset="10029.94">3731 3440 0,'13'-14'0,"0"28"32,-13 12-32,0 0 0,13 1 15,-13 26-15,14-13 0,-1-1 16,-13 14-16,13 0 0,-13-13 0,0 13 15,0-14-15,13 1 0,-13 0 0,0-14 16,0 1-16,13-1 0,-13-13 16,0 14-16,0-14 0,0 0 0,0 1 15,14-14-15,-14 13 0,0-26 32</inkml:trace>
  <inkml:trace contextRef="#ctx0" brushRef="#br0" timeOffset="10861.8">3731 3373 0,'0'-13'16,"13"13"-16,40-13 15,-27 0-15,1 13 16,12-13-16,14 13 0,-13-14 0,13 14 16,66-13-16,-53 0 0,0 0 15,0 13-15,1-14 0,-1 14 16,0-13-16,0 13 0,-13-13 0,0 13 15,0-13-15,0 13 0,0 0 0,-14-14 16,14 14-16,-13 0 0,0 0 16,-14-13-16,0 13 0,-12 0 0,12 0 15,-13-13-15,14 13 0,-14 0 16,0 0-16,1 0 0,-1 0 16,0-13-16,0 13 15,0 0-15,1 0 16,-1 0 15,-13 13 32,0 0-48,0 0 1,0 1-16,0-1 0,0 13 0,13 1 15,-13-1-15,0 14 0,0 0 0,13-1 16,-13 1-16,14-14 0,-14 14 16,13 0-16,-13-14 0,13 1 0,-13-1 15,0 1-15,13-14 0,-13 13 0,14 1 16,-14-14-16,0 0 0,13 1 16,-13 12-16,0-13 0,13-13 15,-13 13-15,0 1 0,0-1 0,13-13 16,-13 13-16,0 0 0,0 1 0,0-1 31,0 0-15,-13-13-16,0 0 15,0 0-15,-1 13 16,1-13-16,-13 0 0,12 0 0,-25 14 16,12-14-16,1 13 0,-14-13 0,0 13 15,1 0-15,-14 0 0,13-13 16,0 27-16,1-27 0,-1 13 0,-13 0 15,27 1-15,-14-1 0,13 0 0,1 0 16,0-13-16,12 14 16,1-14-16,0 0 0</inkml:trace>
  <inkml:trace contextRef="#ctx0" brushRef="#br0" timeOffset="11571.52">6085 3373 0,'-13'14'15,"13"-1"-15,13 13 0,-13 14 16,14 0-16,-1-1 0,-13 14 0,13 13 16,0-13-16,1 0 0,-14 13 0,13-26 15,0 13-15,-13-13 0,0-1 16,13 1-16,-13-13 0,0-1 0,0-13 16,13 14-16,-13-14 0,0 0 0,0 0 15,0 1-15,0-1 16</inkml:trace>
  <inkml:trace contextRef="#ctx0" brushRef="#br0" timeOffset="13082.84">6059 3307 0,'26'-13'0,"1"13"0,-14 0 0,0 0 15,14 0-15,-1 0 0,1 0 16,-1 0-16,14 0 0,0 0 0,-1 0 15,1 0-15,13 0 0,0 0 0,0 0 16,0 0-16,0 0 0,-1 0 16,1 0-16,0 0 0,13 0 15,14 0-15,-27 0 0,13 0 0,13 0 16,-26 0-16,0 0 0,13 0 16,-13 0-16,0 0 0,13 0 0,-13-13 15,0 13-15,0 0 0,0 0 0,0 0 16,0 0-16,0 0 0,-14 0 0,14-13 15,0 13-15,-13 0 0,13 0 16,-14-14-16,14 14 0,-13 0 0,0-13 16,-1 13-16,1 0 0,0 0 0,-1 0 15,-12-13-15,13 13 16,-14 0-16,14 0 0,-14 0 0,1 0 16,-1-13-16,1 13 0,-1 0 0,0 0 15,1 0-15,-14 0 0,14 0 16,-14-14-16,13 14 0,1 0 0,-14 0 15,13 0-15,-12 0 0,12 0 0,1-13 16,-14 13-16,0 0 0,14 0 16,-14 0-16,13 0 0,-13 0 0,1 0 15,12 0-15,-13 0 0,1 0 0,-1 0 16,0 0-16,0 0 0,1 0 16,-1 0-16,0 0 0,0 0 0,0 0 15,1 0-15,-1 0 16,0 0-1,0 0 1,1 0 0,-1 13 15,-13 1-31,0-1 16,-13-13-16,13 13 0,0 0 15,0 1-15,0-1 0,-14 13 16,14-12-16,0 12 0,0 0 0,0 1 15,0-1-15,0 1 0,0-1 0,14 1 16,-14-1-16,0 1 0,0-1 16,13 1-16,-13-1 0,0-13 15,0 14-15,13-14 0,-13 13 0,0-12 16,0-1-16,0 0 0,13 0 16,-13 1-16,0-1 0,0 0 0,0 0 15,0 0-15,0 1 0,0-1 16,0 0-1,0 0 1,-13 1-16,0-14 16,0 0-16,13 13 15,-14-13-15,1 0 0,0 0 0,0 0 16,-1 13-16,-12-13 0,13 0 0,0 0 16,-14 0-16,1 0 0,12 0 15,-12 13-15,-14-13 0,14 0 16,-1 0-16,-26 0 0,14 14 0,-1-14 15,-13 0-15,0 0 0,0 0 0,14 0 16,-14 0-16,0 0 0,13 13 16,-13-13-16,13 0 0,-12 0 0,-1 0 15,13 13-15,-26-13 0,13 0 0,-13 13 16,0 0-16,13-13 0,0 0 16,0 14-16,0-1 0,0-13 0,0 13 15,0-13-15,0 0 0,-53 13 16,53 1-16,1-14 0,-1 0 15,13 13-15,-13-13 0,13 13 16,1-13-16,-1 0 0,0 0 0,14 13 16,-1-13-16,-12 0 0,12 0 0,1 0 15,-1 14-15,1-14 0,-1 0 16,1 0-16,-1 0 0,14 0 0,-13 0 16,-1 0-16,14 0 0,0 0 0,-14 0 15,14 13-15,0-13 16,0 0-16,0 0 0,-1 0 0,1 0 15,0 0-15,0 0 0,-1 0 0,1 0 16,0 0-16,0 0 16,-1 0-16,1 0 15,0 0 1,0 0-16,0 0 16,-1 0-16,1 0 0,0 0 15,0 0-15,-1 0 0,1 0 16,0 0-16,0 0 0,-1 0 15,1 0-15,0 0 16,0-13-16,0 13 16,-1 0-16,1 0 15,0-14 1,0 14 0,-1 0 15,28-26-16</inkml:trace>
  <inkml:trace contextRef="#ctx0" brushRef="#br0" timeOffset="15998.61">9049 4895 0,'26'13'16,"1"-13"-16,12 0 16,14 0-16,-13 0 0,26 0 0,-13 0 15,0 0-15,26-13 0,1 13 16,-1 0-16,0 0 0,1 0 0,-1 0 16,-13-13-16,0 13 0,-13 0 15,0 0-15,0 0 0,-13 0 0,0 0 16,-14 0-16,1 0 0,-1 0 0,-13 0 15,14 0-15,-14 0 0,0 0 16,0 0-16,1 0 0,-1 13 16</inkml:trace>
  <inkml:trace contextRef="#ctx0" brushRef="#br0" timeOffset="16342.8">9260 5040 0,'133'-13'31,"-80"13"-31,0 0 0,-1-13 16,28 13-16,-1 0 0,1 0 0,-14 0 15,13 0-15,-26 0 0,0 0 0,13 0 16,-26 0-16,13 13 0,0-13 15,-14 0-15,-12 0 0,12 0 16,-12 0-16,-1 0 0,-12 0 0,12 0 16,-13 0-16,1 0 0,-1 0 0,0 0 15,0 13-15,0-13 0,1 0 16,-1 0 0,0 0-16,-39 14 46,12-14-46,1 0 16</inkml:trace>
  <inkml:trace contextRef="#ctx0" brushRef="#br0" timeOffset="18111.16">12607 4247 0,'0'396'63,"-13"-277"-63,79 292 94,-26-398-94,635 0 0,-411 0 15,-171 1-15,-1-1 16,173 26-16,-172-12 15,-14-14-15,93 14 16,-93-14-16,1 0 0,-1 0 16,1 1-16,-1-1 0,0 0 0,80 0 15,-80 0-15,1-13 0,-14 14 0,13-14 16,-13 13-16,80 0 16,-80-13-16,-13 0 0,13 0 15,-13 13-15,0-13 0,0 0 0,0 0 16,-13 14-16,12-14 0,1 0 0,-13 0 15,0 0-15,-14 0 0,14 0 16,26 13-16,-26-13 0,-1 0 16,-12 0-16,-1 0 0,1 0 0,-1 0 15,1 0-15,-14 0 0,13 0 16,1 0-16,-14 0 0,0 0 16,1 0-16,-1 0 0,0 0 15,0 0-15,0 0 0,1 0 0,-1 0 16,0-13-16,0 13 15,1 0-15,-1 0 0,0 0 16,0 0-16,1-14 0,-1 14 16,0 0-16,0-13 15,0 13-15,1 0 16,-1 0-16,0-13 0,0 13 0,1-13 16,-1 13-16,0-14 15,0 14-15,14-13 0,-14 13 16,0-13-16,0 0 0,1 13 0,12-13 0,-13 13 15,1-14-15,-1 14 0,0-13 16,0 0-16,0 13 0,1-13 16,-1-1-16,0 14 0,-13-13 15,13 0-15,1 0 0,-1-1 16,0 1-16,-13-13 0,13 13 16,1-14-16,25-13 0,-26 14 15,1-1-15,25-25 16,1 12-16,-27 13 0,14 1 15,-14 13-15,0-14 0,0 14 0,14-13 16,-14 12-16,40-39 16,-53 40-16,13-13 0,0-1 15,1 1-15,-14 13 16,0-14-16,0 14 0,0-14 0,0 1 16,-14 0-16,14-14 0,-13 0 0,-13-26 15,-1 26-15,1 1 0,-1-1 16,-65-39-16,39 52 15,0-13-15,-13 14 0,-14 0 16,1 12-16,-27-12 0,27 13 0,-14-1 0,-13 1 16,14 0-16</inkml:trace>
  <inkml:trace contextRef="#ctx0" brushRef="#br0" timeOffset="19278.34">19513 3876 0,'-53'13'15,"106"-26"-15,-132 40 0,39-14 0,14 0 0,-14 14 16,0-1-16,0 0 0,1 1 0,-54 52 15,53-39-15,1 0 0,-1-1 16,0 14-16,14-13 16,-14 13-16,14 0 0,-1-14 0,1 14 15,-14 53-15,27-66 0,0 13 16,-1-14-16,14 1 0,0 0 16,0 0-16,14 52 0,12-52 15,1 13-15,65 26 0,-39-26 16,0-13-16,13-1 0,14 1 15,12 0-15,93 39 16,-105-52-16,26-1 0,52 14 16,-78-14-16,-1-13 0,106 14 15,-92-14-15,0 0 0,-1-13 16,1 0-16,-1 0 0,14 14 0,79-28 16,-92 14-16,0 0 0,-1 0 15,1-13-15,-14 13 0,1-13 16,12 13-16,-12-13 0,-1-1 0,-13 14 15,13-26-15,-12 13 0,-14 0 0,13-1 16,-13-12-16,-1-1 0,28 1 16,-40 0-16,-1-14 15,14-13-15,-40 26 0,14-12 16,-1-41-16,-12 41 0,-14-14 16,-14-66-16,-12 53 15,-1-1-15,-39-78 0,13 66 16,-13 12-16,-13 1 0,-1-13 0,-12 26 15,-1-13-15,-132-53 0,106 66 16,0 0-16,-13 13 16,0 1-16,-1-1 0,-12 13 0,-1 1 0,1 13 15,-1-1-15,1 1 0,-133 13 16,146 13-16,-1 1 16,14-1-16,13 13 0</inkml:trace>
  <inkml:trace contextRef="#ctx0" brushRef="#br0" timeOffset="20383.08">16338 5993 0,'0'39'16,"-13"-12"-16,13-1 0,-13 1 0,-1 52 15,1-39-15,13 0 16,-13 39-16,0-39 0,-1-1 16,14 1-16,-13-13 0,13 12 15,0-26-15,-13 14 0,13-14 16,0 0-16</inkml:trace>
  <inkml:trace contextRef="#ctx0" brushRef="#br0" timeOffset="20622.8">16298 6006 0,'-26'0'15,"13"0"-15,-14 0 0,14 13 0,-27 0 16,14 14-16,-27-1 0,-40 41 15,54-41-15,-41 40 16,1 0-16,52-39 16,1-14-16,-1 13 0,27-12 15</inkml:trace>
  <inkml:trace contextRef="#ctx0" brushRef="#br0" timeOffset="20831.96">16351 5953 0,'27'27'0,"52"52"16,-52-66-16,-1 14 16,14-1-16,26 14 0,-26-27 15,12 13-15,1-12 0,14-1 16,-1 0-16,0 0 0,13-13 15,1 0-15</inkml:trace>
  <inkml:trace contextRef="#ctx0" brushRef="#br0" timeOffset="21218.08">20108 5728 0,'0'40'16,"0"-27"-1,0 0-15,0 14 0,-13 13 16,-13 65-16,12-52 0,1 0 16,0 13-16,-27 40 0,27-53 15,-13 26-15,12-52 16,1 13-16,0-14 0,0 1 0,-1-1 15,1 0-15,13-12 16,0-1-16</inkml:trace>
  <inkml:trace contextRef="#ctx0" brushRef="#br0" timeOffset="21473.79">20135 5913 0,'-13'0'16,"-14"14"-16,14-14 0,0 13 0,-1-13 16,-25 26-16,12 1 0,1-14 15,13 0-15,-14-13 0,14 13 16,0 1-16,-1-1 0,1-13 15,0 0-15,26-27 16</inkml:trace>
  <inkml:trace contextRef="#ctx0" brushRef="#br0" timeOffset="21622.04">20016 5847 0,'26'-26'16,"-52"52"-16,65-65 0,-25 39 0,-1 0 0,0 0 16,0 0-16,1 0 0,-1 13 15,0 0-15,0 0 0,14 14 0,26 12 16,-27-12-16,1-1 15,12 1-15,-12-1 0,39 14 16,-40-27-16,14 0 0,-14 1 0,1-1 16,-14 0-16,27 0 0,-27-13 15</inkml:trace>
</inkml:ink>
</file>

<file path=ppt/ink/ink1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0:04.93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419 1416 0,'26'-14'0,"265"-65"32,-198 66-32,-1-1 15,27 1-15,0 0 0,-13 0 0,27 0 16,-1-1-16,-13 1 0,13 13 0,-26-13 16,-13 13-16,12 0 0,-12 0 15,0-13-15,-1 13 0,-12-14 0,-1 14 16,-13 0-16,-13 0 0,0 0 0,0-13 15,-27 13-15,1 0 0,-1 0 16,-13 0-16,1 0 0,-1 0 16</inkml:trace>
  <inkml:trace contextRef="#ctx0" brushRef="#br0" timeOffset="274.28">5014 1482 0,'0'0'0,"26"-14"0,1 14 0,26-13 15,13 13-15,0-13 0,13 0 0,14-14 16,26 14-16,0-13 0,13 12 16,1-12-16,-14 13 0,13-14 15,-13 14-15,-26 0 0,-1 0 0,-12-1 16,-1 14-16,0-13 0,-12 0 0,-28 13 15,14-13-15,-13 13 0,-14 0 16,1 0-16,-14 0 0,0 0 0,0 0 16,1 0-16,-1 0 0,-26 13 31</inkml:trace>
  <inkml:trace contextRef="#ctx0" brushRef="#br0" timeOffset="40336.03">10557 476 0,'-13'0'0,"-1"0"32,1 0-32,26 13 93</inkml:trace>
  <inkml:trace contextRef="#ctx0" brushRef="#br0" timeOffset="40701">10028 913 0,'53'-13'15,"-106"26"-15,132-26 0,-52 13 0,12-14 16,1 14-16,13 0 0,0 0 0,0 0 15,0-13-15,0 13 0,-1 0 0,1 0 16,-13 0-16,0 0 0,-1 0 0,-12 0 16,13 0-16,-14 0 0,-13-13 15,14 13-15,-1 0 0,-13 0 16,14 0-16,-14 0 0,0 0 16,1 0-1,-14-13-15,13 13 0</inkml:trace>
  <inkml:trace contextRef="#ctx0" brushRef="#br0" timeOffset="40974.61">10716 675 0,'66'26'31,"-40"-13"-31,-13-13 0,14 14 16,-1-1-16,14 13 0,-13-12 0,12-1 15,-12 0-15,-1 0 0,-13 0 0,14 1 16,-14-1-16,0 0 0,0 0 0,1 14 16,-14-14-16,0 0 0,0 0 15,-14 40-15,1-26 16,-13-1-16,-1 1 0,1 12 0,13-12 0,-14-1 15,1-12-15,-1 12 16,14-13-16</inkml:trace>
  <inkml:trace contextRef="#ctx0" brushRef="#br0" timeOffset="41702.83">12435 542 0,'-13'-13'0,"0"0"32,0 13-32,-14 13 0,1-13 0,13 0 15,-14 13-15,1 1 0,-1-1 16,14-13-16,-13 13 0,12 0 15,1-13-15,0 14 0,0-1 0,-1-13 16,14 13-16,0 0 16,14 0-16,-1-13 0,0 14 15,0-14-15,1 13 0,12-13 0,0 0 16,1 13-16,-1-13 0,1 13 0,12-13 16,-12 14-16,-1-1 0,1-13 15,-1 13-15,-12-13 0,-1 13 0,0 1 16,-13-1-16,13-13 0,-26 13 15,13 0-15,0 0 0,-13 1 0,0-1 16,-1 0-16,-12 0 0,13 1 16,-14-1-16,14 0 0,-14-13 15,-25 26-15,25-26 0,14 0 16,-14 14-16,14-14 0,-13 0 0,13 0 16,-1 0-16,1 0 0,0-14 15,13 1 1,0 0-16,0 0 0</inkml:trace>
  <inkml:trace contextRef="#ctx0" brushRef="#br0" timeOffset="42031.83">12912 410 0,'0'27'32,"0"-14"-17,0 0-15,0 13 0,0 1 16,0-1-16,0 1 0,0-1 0,0 14 16,0-14-16,0 1 0,0-1 0,13 1 15,-13-1-15,0-12 0,13 12 16,-13-13-16,13 14 0,-13-14 15,14 0-15,-1 0 0,0 1 0,0-14 16,1 13-16,-1-13 0,0 0 16,0 0-16,0 0 0,1 0 0,-1 0 15,0-13-15,0 13 0,1-14 16,-1 14-16,0-13 0,-13 0 0</inkml:trace>
  <inkml:trace contextRef="#ctx0" brushRef="#br0" timeOffset="42240.12">12766 728 0,'-13'0'0,"39"-14"32,-12 14-32,-1 0 15,0-13-15,14 13 0,-14 0 0,13-13 16,1 13-16,-1-13 0,1 13 15,-1-14-15,1 14 0,-1-13 0,-13 13 16,14 0-16,-1 0 0,1 0 0,-1 0 16</inkml:trace>
  <inkml:trace contextRef="#ctx0" brushRef="#br0" timeOffset="43096.16">13507 741 0,'0'-13'0,"0"-1"32,-13 1-32,-14 13 31,14 13-15,0-13-16,13 14 0,-13-14 0,-1 13 15,14 0-15,-13 0 0,0 1 16,13-1-16,-13 0 15,13 0-15,0 0 0,0 1 16,13-14-16,0 13 16,0-26-1,1 13-15,-1 0 0,-13-14 16,13 14-16,0 0 0,1 0 16,-1 0-1,0 0 1,-13 14-16,13-14 15,-13 13-15,13-13 0,1 0 16,-1 0-16,0 0 16,0-13-16,1-1 15,-14 1-15,13 0 0,0 0 16,-13 0-16,13-1 0,-13-12 16,13-1-16,-13 14 0,0-13 0,14-1 15,-14 1-15,0-1 0,0 1 0,13 13 16,-13-1-16,0 1 0,0 0 15,0 0-15,0 39 32,0-13-32,0 14 0,0-1 15,0 1-15,0-1 0,0 1 0,13-1 16,-13-13-16,0 14 0,13-1 0,-13-12 16,14-1-16,-1 0 0,-13 0 0,13 0 15,0-13-15,1 14 0,-1-14 16,0 0-16,0-14 0,0 14 15,1-13-15,12 0 0,-13 0 16,1 0-16,-1 13 0,-13-14 0,13 14 16,0 0-1,1 0-15,-1 14 16,0-14-16,-13 13 16,13-13-16,14 13 15,-14-13 1,0 0-16,0-13 15,1 13-15,-14-13 0</inkml:trace>
  <inkml:trace contextRef="#ctx0" brushRef="#br0" timeOffset="43282.77">13573 675 0,'27'0'16,"-14"0"0,13 0-16,1-14 0,-14 1 0,13 13 0,14-13 15,0 0-15,-14 0 0,1 13 16,-1 0-16,1-14 0,-14 14 16</inkml:trace>
  <inkml:trace contextRef="#ctx0" brushRef="#br0" timeOffset="43874.95">14182 648 0,'13'40'32,"-13"-27"-32,13 0 0,-13 1 15,13-1 1,-13 0 0,0 0-16,14-13 15,-14-13 16,13 0-31,0 13 16,-13-13-16,13 13 0,1-14 31,-1 28-31,0-14 16,0 0-16,0 13 16,1 0-1,-14 0-15,0 1 16,13-14-1,-13-14 17,13 1-17,0 0-15,1 0 16,-1 13 0,0 0-16,0 0 15,0 0-15,1 0 0,-1 0 16,0 0-16,0 0 0,1 0 0,-1 13 15,0-13-15,0 0 0,1 0 0,-1 0 16,-13 13-16,13-13 0,0 0 16</inkml:trace>
  <inkml:trace contextRef="#ctx0" brushRef="#br0" timeOffset="44918.91">14698 820 0,'13'-13'16,"13"0"0,-12 13-1,-14-13-15,13-1 0,-13 1 0,0 0 16,13 0 0,-13-1-16,0 1 15,0 0 1,-26 26 15,26 0-15,0 1-16,0-1 31,13 0-15,-13 0-1,13-13 1,0 14-1,0-14 1,1 0 0,-1 0 31,0 0-32,0-14 1,1 1-16,-1 13 15,0 0 1,0-13-16,14 26 16,-14-13-1,0 0 1,-13 13-16,13 1 16,1-14-1,-1 0 16,0-14-31,0 14 16,1-13 0,-1 13-16,0 0 31,0 0-31,0 0 16,1 0-16,-1 0 0,0-13 15,0 13-15,1-13 16,-1 13-16,-13-14 0,13 1 0,0 0 15,1 13-15,-1-13 0,-13-1 0,13-12 16,0 0-16,0 12 0,-13 1 16,0 0-16,14 0 0,-14-1 15,0 1-15,0 0 0,-14 39 32,14-12-17,0 12-15,0-13 0,0 1 16,0-1-16,0 0 0,0 13 0,0-12 15,0-1-15,0 0 0,14 0 16,-14 1-16,0-1 0,13-13 16,0 0-1,0 0-15,-13-13 16,14-1 0</inkml:trace>
  <inkml:trace contextRef="#ctx0" brushRef="#br0" timeOffset="45188">15068 622 0,'40'0'31,"-27"-13"-31,13 13 0,1 0 16,-14 0-16,14-14 0,-1 14 15,0 0-15,1-13 0,-1 13 0,1 0 16,-14 0-16,14 0 0,-14-13 0,0 13 16,0 0-16,0 0 0,1 0 15,-1 0-15,0 0 0,0 0 32,-26 13-17</inkml:trace>
  <inkml:trace contextRef="#ctx0" brushRef="#br0" timeOffset="46400.52">15941 622 0,'-13'0'0,"39"-13"31,-12 13-31,-1 0 16,0 0-16,14 0 0,-14-14 0,13 14 15,1 0-15,-1 0 0,-13 0 0,14 0 16,-14 0-16,13-13 0,-12 13 16,-1 0-16,0 0 0,0 0 15,1 0-15,-1 0 0,13 0 16,-12 0-16,-1 0 31,0-13-31</inkml:trace>
  <inkml:trace contextRef="#ctx0" brushRef="#br0" timeOffset="46729.09">16259 463 0,'26'13'47,"-13"-13"-32,1 0-15,-1 13 0,0-13 16,0 0-16,0 0 0,-13 14 16,14-14-16,-1 0 0,0 0 0,14 13 15,-27 0-15,13-13 0,0 13 16,0 1-16,-13-1 16,0 0-16,0 0 0,-13 27 15,0-27-15,0 14 0,-14-1 16,14-13-16,-14 14 0,14-14 15,-13 14-15,13-14 0,-1 13 0,1-26 16,0 13-16</inkml:trace>
  <inkml:trace contextRef="#ctx0" brushRef="#br1" timeOffset="51962.16">16828 357 0,'0'-13'0,"13"13"16,-13 13-1,0 0-15,0 1 16,0 12-16,0-13 0,13 14 0,-26-1 16,13 1-16,0-1 0,0 1 0,0-1 15,0 1-15,0-1 0,0 0 16,0-12-16,0 12 0,0-13 0,0 1 16,0-1-16,0 0 0,0 0 15,0 1-15,0-1 0,13-13 31</inkml:trace>
  <inkml:trace contextRef="#ctx0" brushRef="#br1" timeOffset="52511.6">17026 384 0,'0'26'31,"13"-26"-31,-13 13 0,0 1 0,0 12 16,0-13-16,0 0 0,0 14 15,-13-14-15,13 0 0,0 14 0,0-14 16,-13 0-16,13 1 0,0-1 15,0 0-15,0 0 16,13-26 15,0 13-15,0 0-16,1 0 16,-1 13-1,0-13-15,0 13 0,1-13 16,-14 14-16,13-1 0,0-13 0,0 13 15,0-13-15,1 13 0,-1-13 16,0 0 0,0-13-1</inkml:trace>
  <inkml:trace contextRef="#ctx0" brushRef="#br1" timeOffset="52744.08">16669 595 0,'53'-13'32,"-27"13"-32,-13-13 15,14 13-15,-1 0 0,1-13 0,-1 13 16,14-14-16,-14 1 0,1 13 0,-1-13 15,14 13-15,-14-13 0,1 13 16,13-14-16,-1 14 0,-12 0 0,-14-13 16,13 13-16</inkml:trace>
  <inkml:trace contextRef="#ctx0" brushRef="#br1" timeOffset="53490.96">17449 622 0,'-13'0'31,"13"-13"-31,-13 13 15,0 0 1,-1 13 15,14 0-31,-13-13 0,13 13 16,0 0-16,0 1 0,-13-1 16,26-13-1,-13 13-15,13-13 16,1 13-16,-1-26 15,0 13-15,0 0 16,0 0-16,14 13 16,-14-13-1,0 0-15,1-13 16,-1 13-16,0 0 0,0-13 0,1 13 16,-14-13-16,13-1 0,0 1 0,0 0 15,0 0-15,1-14 0,-14 14 16,13-13-16,-13-1 0,13 14 15,-13 0-15,0-14 0,0 14 0,13 0 16,-13 0-16,0-1 0,0 1 16,0 53 15,0-27-31,0 0 0,0 14 0,14-1 16,-14 1-16,13-14 0,0 13 0,-13-12 15,13 12-15,1-13 16,-1 0-16,0 1 0,0-1 0,0 0 15,1-13-15,-1 0 0,0-13 16,0 13 0,-13-13-16</inkml:trace>
  <inkml:trace contextRef="#ctx0" brushRef="#br1" timeOffset="53703.24">17515 516 0,'40'0'32,"-27"0"-32,14 0 0,12-13 15,-12 13-15,13-14 0,13 14 16,-14-13-16,1 13 0,-14-13 0,14 13 16,-13-13-16,-1 13 0,0 0 0,-12 0 15,12 0-15,1-13 0,-14 13 16,13 0-16,-12 0 0,-1 0 0</inkml:trace>
  <inkml:trace contextRef="#ctx0" brushRef="#br1" timeOffset="54335.54">19063 357 0,'-13'0'0,"26"0"0,-39 0 0,13 0 16,-1 13-16,1 1 15,0-1-15,0 0 0,-1 0 0,1 14 16,0 12-16,0-12 0,-14 26 16,27-27-16,-13 1 0,13-14 0,0 13 15,0-12-15,0 12 0,0-13 16,13 1-16,-13-1 0,13 0 16,1 0-16,-1 1 0,0-14 0,0 13 0,14-13 15,-14 0-15,14 0 16,12-13-16,-12-1 0,-1 14 0,14-13 15,-14 0-15</inkml:trace>
  <inkml:trace contextRef="#ctx0" brushRef="#br1" timeOffset="55026.35">19434 542 0,'0'-13'16,"0"26"-16,-14-26 0,14 0 16,-13 13-16,0 0 15,0 0-15,0 0 16,-1 0-16,1 13 0,0-13 15,0 13-15,-1 1 0,1-14 16,0 13-16,0 0 0,13 0 0,-14-13 16,14 14-16,-13-1 0,13 0 15,0 0-15,0 0 16,0 1-16,13-14 16,-13 13-16,14-13 15,-1-13 1,0-1-16,-13 1 15,13 13-15,-13-13 0,14 13 16,-14-13-16,0 0 0,13 13 16,-13-14-16,0 1 15,13 0 1,-13 39 46,0-12-46,13-14 0,1 13-16,-1-13 15,0-13 1,0 13-16,0 0 16,1 0-16,-1 0 15,0-14-15,0 14 16,1 0-16,-1 14 15,0-14 1,0 0 0,-13 13-16,13-13 0,1 13 15,-1-26 32,0 13-47,0 0 0,1-13 16,-1 13-1,0 0-15,0 0 16,1 0-16,-1 0 16,0 0-16,0 0 15,-13 13-15,13-13 0,1 0 16,-1 0-16</inkml:trace>
  <inkml:trace contextRef="#ctx0" brushRef="#br1" timeOffset="55922.65">20386 291 0,'0'40'32,"0"-27"-32,0 13 15,13-12-15,-13 12 0,0 1 0,14-1 16,-14 0-16,0 1 0,13-14 0,-13 14 16,0-14-16,0 13 0,0-12 15,13-1-15,-13 0 0,0 0 16,0 0-16,0 1 15,-13-41 17,13 14-17,-13 0-15,13 0 0,0-1 0,13 1 16,-13 0-16,13 0 0,-13-1 16,13 1-16,1 0 0,-1 0 0,0 13 15,0-14-15,0 14 0,1 0 0,-1 0 16,0 0-16,0 0 0,1 14 15,-14 12 1,0-13-16,-14 1 16,1-1-16,0 0 0,13 0 15,-13 1-15,-1-1 0,1 0 16,0-13-16,0 13 0,13 0 0,-13-13 16,13 14-16,-14-14 0,14 13 0,0 0 31,14-13-31,-1 0 15,0 0-15,13-13 0,-12 13 0,12-13 0,1-1 16,-14 1-16,13 13 0,-12-13 16,12-13-16,-13 12 0,0 1 0,1 0 15,-1 0-15,-13-1 0,13 1 0,-13 0 16,13 13-16,-13-13 0,-26 26 31,13 0-15,13 0-16,-14 1 0,14-1 15,0 0-15,0 0 16,0 1-16,0-1 0,0 0 16,14-13-16,-1 0 0,-13 13 0,13-13 15,0 0-15,1 0 0,12 0 16,-13 0-16,14-13 0,-1 13 0,1-13 16,-1 13-16,14-13 0,-14-1 0</inkml:trace>
  <inkml:trace contextRef="#ctx0" brushRef="#br1" timeOffset="56343.05">21497 93 0,'0'0'0,"0"26"16,0 1-16,0-14 15,-13 13-15,13-13 0,0 14 16,0 13-16,0-14 0,-13 14 16,13-1-16,0-12 0,0 13 0,0-14 15,0 0-15,0 1 0,0-1 0,13 1 16,-13-14-16,13 14 0,1-14 15,-14 0-15,13-13 0,0 13 0,0-13 16,1 0-16,-1 0 0,0 0 0,0 0 16,14 0-16,-14-13 0,0 13 15,0-13-15,1 13 0,-1-13 0,0 13 16,0-14-16,1 14 0,-1 0 0,-13-13 16,13 13-16,0 0 0,-13-13 15,13 13 1,-13-13-16,14 13 0</inkml:trace>
  <inkml:trace contextRef="#ctx0" brushRef="#br1" timeOffset="56610.21">21325 463 0,'-13'0'32,"40"-13"-32,-14 13 0,0 0 15,0 0-15,14-13 0,-14 13 16,13 0-16,-12-14 0,12 14 0,1 0 15,-14-13-15,13 13 0,1 0 0,-1 0 16,-13-13-16,1 13 0</inkml:trace>
  <inkml:trace contextRef="#ctx0" brushRef="#br1" timeOffset="57102.28">21762 595 0,'13'-26'16,"0"13"-1,1 13-15,-14-14 16,13 1-16,0 0 0,-13 0 16,13-1-16,-13 1 0,14 0 15,-14 0 1,0 0-16,-14 13 15,1 13 1,0 0-16,0 0 16,13 0-16,-14-13 0,14 14 15,0-1-15,0 0 0,0 0 16,0 1-16,14-1 0,-14 0 16,13-13-16,0 13 0,0-13 15,1 0-15,-1 14 0,13-14 0,-12 0 16,-1 0-16,0 0 0,13-14 0,-12 14 15,12 0-15,-13 0 0,14-13 16,-14 13-16</inkml:trace>
  <inkml:trace contextRef="#ctx0" brushRef="#br1" timeOffset="57359.9">22132 450 0,'-13'0'0,"0"13"31,26-13-15,-13 13-16,0 0 0,13-13 0,1 14 15,-14-1-15,13 0 0,-13 0 16,13-13-16,-13 14 0,13-1 0,-13 0 16,14 0-16,-14 1 0,0-1 15,-14 0-15,14 0 16,0 0-16,-13-13 15</inkml:trace>
  <inkml:trace contextRef="#ctx0" brushRef="#br1" timeOffset="57799.8">22397 278 0,'0'0'0,"0"26"31,-13 1-15,13-14-16,0 0 0,0 14 15,0-1-15,0-13 0,0 14 0,0-14 16,0 13-16,13-12 0,-13 12 16,13-13-16,-13 1 0,13-1 0,1 0 15,-1 0-15,0-13 0,0 0 0,1 14 16,-1-14-16,0 0 0,0 0 15,0-14-15,1 14 0,12-13 0,-13 13 16,1-13-16,-1 13 0,0-13 0,0-1 16,1 14-16,-14-13 0,13 13 15,0-13-15,0 0 16,-26 39 15,13-13-15,-13-13-16,13 14 0,0-1 15,0 0-15,13 0 16,-13 1-16,13-1 16,0-13-1,14-13-15,-14 13 16,0 0-16,-13-14 16,14 14-16,-14-13 0</inkml:trace>
  <inkml:trace contextRef="#ctx0" brushRef="#br1" timeOffset="57999.05">22304 463 0,'0'0'0,"27"0"15,-1-13 1,1 13-16,-1 0 0,1-13 0,-1 13 15,14 0-15,-14-14 0,1 14 16,-1 0-16,1-13 0,12 13 16,-12 0-16,-1 0 0,1 0 0</inkml:trace>
  <inkml:trace contextRef="#ctx0" brushRef="#br1" timeOffset="58459.78">23310 304 0,'0'-13'0,"-13"40"31,-1-14-31,14 0 16,-13 13-16,13-12 0,-13 12 15,13-13-15,0 14 0,-13-14 0,13 0 16,0 0-16,0 1 0,13 12 0,-13-13 15,0 1-15,13-1 16,-13 0-16,13 0 0,-26-26 47,0 0-47,0 13 0,-1 0 16,14-13-16,-13 13 0,0 0 0,0 0 15,0 13-15,-1-13 0,1 0 0,0 13 16,0-13-16,-1 13 0,1 1 15,0-1-15,13 0 0,0 0 16,13 0-16,0-13 16,-13 14-16,27-14 0,-14 0 15,0 0-15,14 0 0,-14-14 0,13 14 16,1 0-16,-14-13 0,14 13 0,-14 0 16,0-13-16,0 13 0,0 0 15,1-13-15,-1 13 0,-13-13 0,13 13 16,0 0-16</inkml:trace>
  <inkml:trace contextRef="#ctx0" brushRef="#br1" timeOffset="74442.17">5040 3479 0,'159'-39'16,"-119"25"-1,13 1-15,0-13 0,0 12 0,13 1 16,-13-13-16,-1 13 0,15-1 0,-14-12 16,-1 13-16,-12-1 0,0 1 0,13 0 15,-27 13-15,1-13 0,-14 13 16</inkml:trace>
  <inkml:trace contextRef="#ctx0" brushRef="#br1" timeOffset="74646.14">5226 3770 0,'26'-13'15,"14"-13"-15,-1 12 16,14-12-16,0-1 0,13 1 0,0-14 15,27 1-15,0-1 0,-14 0 16,0 14-16,14-14 0,-14 14 0,-12-1 16,-1 14-16,0-13 0,-13 12 0,-14-12 15,1 13-15,0-1 0,-14 14 16</inkml:trace>
  <inkml:trace contextRef="#ctx0" brushRef="#br1" timeOffset="76910.59">12449 53 0,'-53'-27'15,"39"41"-15,-12-14 0,0 13 0,-1 0 16,-13 27-16,-12-14 0,12 14 0,-13 13 16,0-13-16,0 39 0,-13 0 0,13 1 15,0 12-15,0-12 0,14-1 0,-1 0 16,13-12-16,14-15 15,-13 15-15,26-14 0,0-1 0,0 1 16,13-13-16,13 13 0,1-13 0,13-1 16,12-12-16,1-1 0,0 1 0,27-14 15,-14-13-15,26 13 0,1-26 16,26 0-16,13 0 0,-13-14 0,14 1 16</inkml:trace>
  <inkml:trace contextRef="#ctx0" brushRef="#br1" timeOffset="77753.98">23363 26 0,'39'14'15,"-25"-1"-15,12 13 16,1 1-16,12-1 0,1 14 16,158 225 15,-184-213-31,-1 1 0,13 27 0,-26-27 15,-13 0-15,0 0 0,0-1 16,-1 1-16,-25 0 0,12-13 0,-12 13 16,12-13-16,-13-1 0,1 1 0,-14 0 15</inkml:trace>
  <inkml:trace contextRef="#ctx0" brushRef="#br1" timeOffset="86913.9">9221 7329 0,'26'0'0,"27"0"15,-40 0-15,14 0 16,-14 0-16,13 0 0,-12 0 0,-1 0 15,13 0-15,-12 0 0,-1 0 16,0 0-16,0 0 0,1 0 0,-1-13 16,0 13-16,0 0 0,0 0 15,1 0 1,-1 0-16,-13-14 16</inkml:trace>
  <inkml:trace contextRef="#ctx0" brushRef="#br1" timeOffset="87234.13">9538 7197 0,'13'13'16,"1"-13"-16,-1 13 0,0-13 15,-13 13-15,13 1 0,1-14 0,-1 13 16,0 0-16,0 0 0,1-13 16,-14 13-16,13 1 0,0-1 0,-13 0 15,13-13-15,-13 13 0,0 1 16,0-1-16,-13-13 0,13 13 0,-13 0 15,13 1-15,-13-1 0,-1 0 0,14 0 16,-13-13-16,0 13 0</inkml:trace>
  <inkml:trace contextRef="#ctx0" brushRef="#br1" timeOffset="92446.36">10425 7144 0,'-14'0'0,"14"39"31,0-25-31,0-1 15,0 0-15,0 0 0,0 1 16,0 12-16,0-13 0,-13 14 0,13-14 16,0 0-16,0 0 0,0 1 0,0-1 15,-13 0-15,13 14 16,-13-14-16,13 0 16,0 0-16</inkml:trace>
  <inkml:trace contextRef="#ctx0" brushRef="#br1" timeOffset="92786.03">10372 7104 0,'13'-26'0,"-26"52"0,39-52 0,-13 26 16,1-14-16,-1 14 0,0 0 0,14 14 16,-14-14-1,0 13-15,0-13 0,0 13 0,-13 0 16,14 1-16,-14-1 0,0 0 15,-14 0-15,14 0 16,-13 1-16,0-1 0,0 0 0,-14 14 16,14-14-16,0-13 15,0 13-15,-1 0 0,1 0 0,0-13 16,0 14-16</inkml:trace>
  <inkml:trace contextRef="#ctx0" brushRef="#br1" timeOffset="93139.16">10557 7276 0,'13'13'0,"-26"-26"0,26 39 0,-13-12 16,13-14-16,-13 13 15,0 0-15,0 0 0,-13-13 0,13 14 16,0-1-16,0 0 15,0-39 32,0 12-47,13 14 16,1-13-16,-14 0 0,13 13 0,0-13 16,0 13-16,0-14 0,1 14 0,-1 0 15,0 0-15,0 0 16,1 0-16,-1 14 0,0-1 15,-13 0-15,13 0 16,-13 1-16,0-1 16,0 0-16,0 0 0,0 1 15,-13-1-15</inkml:trace>
  <inkml:trace contextRef="#ctx0" brushRef="#br1" timeOffset="93359.84">10848 7302 0,'0'40'31,"0"-27"-31,0 1 0,-13-1 0,13 0 16,0 0-16,0 1 0,0-1 15,0 0-15,0 0 16,0 0-16</inkml:trace>
  <inkml:trace contextRef="#ctx0" brushRef="#br1" timeOffset="94630.82">11073 7250 0,'13'13'32,"-13"0"-17,0 0-15,0 0 16,0 1-16,13-1 15,-13 0-15,13-26 63,-13 0-47,14 13-16,-1 0 15,0 0 1,0 13-1,1-13-15,-14 13 16,0 0-16,13-13 16,0 14-16</inkml:trace>
  <inkml:trace contextRef="#ctx0" brushRef="#br1" timeOffset="94974">11404 7210 0,'0'26'16,"0"-12"-1,0-1-15,0 0 0,0 0 16,0 0-16,0 1 0,0-1 15,0 0-15,0 0 0,0 1 0</inkml:trace>
  <inkml:trace contextRef="#ctx0" brushRef="#br1" timeOffset="95144.14">11443 7064 0</inkml:trace>
  <inkml:trace contextRef="#ctx0" brushRef="#br1" timeOffset="95351.42">10848 7078 0,'40'0'15,"-27"0"-15,0 0 16,0 13-16</inkml:trace>
  <inkml:trace contextRef="#ctx0" brushRef="#br1" timeOffset="95739.95">11708 7210 0,'-53'13'31,"40"0"-31,-1 1 0,1-1 16,13 0-16,-13 0 0,0 0 16,13 1-16,-13 12 15,13-13-15,0 1 16,13-1-16,-13 0 0,13-13 15,0 13-15,0-13 16,1 0-16,-1 0 0,13 0 16</inkml:trace>
  <inkml:trace contextRef="#ctx0" brushRef="#br1" timeOffset="96491.22">11615 7104 0,'0'0'0,"0"-13"32,0 39-32,-13-12 0,13-1 15,0 13-15,-13-13 0,13 14 0,-13 13 16,13-14-16,-14 14 0,1-14 0,13 1 16,-13-1-16,13-13 0,-13 14 15,13-1-15,0-13 0,-14 1 0,14-1 16,0 0-16,-13 0 0,13 1 0,0-1 15,0 0-15,0 0 32</inkml:trace>
  <inkml:trace contextRef="#ctx0" brushRef="#br1" timeOffset="96807.93">11628 7250 0,'0'0'0,"14"-14"0,-1 1 16,0 13-16,0 0 0,1-13 16,-1 13-16,0 13 15,0-13-15,1 13 0,-1-13 16,-13 14-16,13-14 0,-13 13 0,0 0 15,0 0-15,0 0 16,0 1-16,-13-1 0,13 0 0,-13 0 16,-1-13-16,1 14 0,0-1 0,0 0 15,-1-13-15,1 13 0,0-13 16,0 14-16,-1-14 0,1 0 16,13 13-16,-13-13 0</inkml:trace>
  <inkml:trace contextRef="#ctx0" brushRef="#br1" timeOffset="97482.87">11959 7316 0,'0'0'16,"13"0"-16,-26-14 31,-13 28 0,12-14-31,14 13 0,-13-13 16,13 13-16,-13-13 15,13 13-15,0 1 16,0-1 0,13-13-1,0 0 1,1-13-16,-1-1 16,0 14-16,-13-13 15,13 13 1,1 0-16,-14 13 15,13-13 1,-13 14-16,13-14 16,0 13-1,14-26-15,-14-1 16,0 14-16,0-13 0,14 0 16,-14 0-16,0-14 0,1 14 15,-1 0-15,0-14 0,0 1 0,-13-1 16,14 14-16,-1-13 0,-13 13 15,13-1-15,-13 1 0,-13 40 32,13-14-17,-13 13-15,13-13 0,0 1 0,0 12 16,-14-13-16,14 1 0,14-1 16,-14 0-16,0 0 0,13 0 0,0 1 15,0-1-15,0-13 16,1 13-16,-1-13 0,0 0 15,0-13-15,1 13 0,-1 0 16,0 0-16</inkml:trace>
  <inkml:trace contextRef="#ctx0" brushRef="#br1" timeOffset="102190.04">12806 7263 0,'-13'0'0,"52"0"31,-25 0-31,12 0 16,0 0-16,-12 0 0,-1 0 15,0 0-15,0 13 0,1-13 0,-1 0 16,0 0-16,0 0 0,1 0 16,-1 0-16,0 0 15,0 0-15,0 0 16,1 0 0</inkml:trace>
  <inkml:trace contextRef="#ctx0" brushRef="#br1" timeOffset="102694">12978 7157 0,'13'26'31,"0"-26"-31,1 0 0,-14 14 16,13-14-16,0 13 0,0-13 15,-13 13-15,13-13 0,1 0 0,-1 13 16,0-13-16,0 14 0,1-1 15,-14 0-15,13-13 16,-13 13-16,0 0 0,0 1 16,-13-1-16,13 0 0,-14-13 0,1 13 15,0 14-15,-14-14 16,1 0-16,0 14 0,-1-14 0,1 0 16,12 0-16,1 1 0,0-1 0,0 0 15,-1 0-15,1-13 0,13 14 0</inkml:trace>
  <inkml:trace contextRef="#ctx0" brushRef="#br1" timeOffset="104933.97">13851 7117 0,'-13'27'47,"13"-14"-47,0 0 16,-14 0-16,14 1 0,-13 12 0,13 1 16,-13-14-16,13 13 0,-13-13 0,13 14 15,0-14-15,0 0 0,0 1 16,0-1-16,0 0 0,0 0 15,0 1-15,13-1 16,0-13-16,0 13 16,1-13-16,-1 0 15,0 0-15,0 0 0,1-13 16,-1 13-16,0 0 0,-13-13 16,13 13-16,1-14 15</inkml:trace>
  <inkml:trace contextRef="#ctx0" brushRef="#br1" timeOffset="105150.58">13666 7302 0,'26'-13'31,"-13"13"-31,1 0 0,-1-13 0,0 13 0,0 0 16,1 0-16,-1 0 0,13-13 16,-13 13-16,1 0 0,-1 0 0,13 0 15,-12 0-15,-1 0 0,0 0 0,0 13 16</inkml:trace>
  <inkml:trace contextRef="#ctx0" brushRef="#br1" timeOffset="105634.1">14036 7448 0,'0'-26'31,"13"12"-31,-13 1 16,14 13-16,-14-13 0,0 0 15,0-1-15,13 1 16,-13 0-16,-13 0 16,-14 13 15,27 13-31,-13 0 16,13 0-16,-13-13 15,13 14-15,0-1 0,0 0 16,13 0-16,-13 1 15,13-14-15,-13 13 16,13-13-16,1 0 0,-1 13 0,0-13 0,0 0 16,1 0-16,-1 0 0,0 0 15,0 0-15</inkml:trace>
  <inkml:trace contextRef="#ctx0" brushRef="#br1" timeOffset="105984.47">14248 7316 0,'0'0'15,"-13"0"1,13 13-16,0 0 15,0 0 1,13-13-16,-13 14 0,13-1 16,-13 0-16,0 0 15,0 1-15,13-14 0,-13 13 0,-13 0 16,13 0-16,0 0 16,-13 1-16,0-1 15,-1-13-15,1 13 16,0-13-16,0 0 15</inkml:trace>
  <inkml:trace contextRef="#ctx0" brushRef="#br1" timeOffset="106408.71">14473 7144 0,'0'-13'0,"0"26"0,-14 13 47,14-13-47,0 1 0,-13-1 0,13 13 16,0-12-16,-13-1 0,13 0 0,0 0 15,0 14-15,0-14 16,0 0-16,13 0 0,-13 1 15,13-14-15,-13 13 0,14-13 16,-1-13-16,0 13 16,0 0-16,-13-14 0,14 14 0,-14-13 15,13 13-15,-13-13 0,13 13 16,-13 13 15,0 0-31,13 1 16,-13-1-16,0 0 15,14-13-15,-14 13 16,13-13-16,-13 14 0,13-14 16,0 0-16,0 0 31</inkml:trace>
  <inkml:trace contextRef="#ctx0" brushRef="#br1" timeOffset="106658.11">14380 7276 0,'13'0'0,"67"-13"32,-67 13-32,0 0 0,0-13 15,1 13-15,12 0 0,-13 0 16,14 0-16,-14 0 0,0 0 16</inkml:trace>
  <inkml:trace contextRef="#ctx0" brushRef="#br1" timeOffset="107373.43">14936 7170 0,'0'-13'15,"-14"39"-15,1-12 16,13-1-16,0 0 16,-13 14-16,13-14 0,0 0 0,0 13 0,0-12 15,0-1-15,0 0 0,0 0 16,0 1-16,0-1 0,13 0 16,-13 0-16,0 1 15,-26-28 16,26 1-31,-13 13 16,-1 0-16,1-13 0,0 13 0,0 0 16,-1 0-16,-12 0 0,13 13 0,-14-13 15,14 13-15,0-13 0,0 14 16,-1-14-16,1 13 0,0-13 0,13 13 16,-13 0-16,26 0 15,0-13-15,0 14 16,1-14-16,12 0 0,-13 0 15,14 13-15,-14-13 0,13 0 0,1 0 16,-1-13-16,1 13 0,-1 0 0,1 0 16,-1-14-16</inkml:trace>
  <inkml:trace contextRef="#ctx0" brushRef="#br1" timeOffset="107534.76">15386 7448 0</inkml:trace>
  <inkml:trace contextRef="#ctx0" brushRef="#br1" timeOffset="130900.29">10808 4286 0,'27'-13'31,"-14"13"-31,0 0 0,0-13 0,1 13 16,-1-13-16,0 13 0,0 0 15,1-14-15,-41 14 47,14 14-47,0-14 16,-14 13-16,14-13 0,0 13 16,-14-13-16,14 13 0,0-13 0,-14 13 15,14 1-15,0-14 0,0 13 16,13 0-1,13 0-15,0-13 16,0 14-16,1-1 0,12-13 16,-13 13-16,0-13 0,1 0 15,-1 13-15,0-13 0,0 14 16,1-1-16,-14 0 16,0 0-16,-14 0 15,14 1-15,-13-14 0,0 13 16,0 0-16,-1-13 0,1 13 15,0 1-15,0-14 0,0 0 16,-1 13-16,1 0 0,0-13 16,0 0-1</inkml:trace>
  <inkml:trace contextRef="#ctx0" brushRef="#br1" timeOffset="131238.01">11060 4273 0,'-14'-13'16,"14"26"-16,0 0 16,0 0-16,0 1 0,0-1 0,0 0 15,0 0-15,0 1 0,14-1 0,-1 0 16,0-13-16,-13 13 15,13-13-15,0 0 0,14 0 0,-14 0 16,0 0-16,1 0 0,-1-13 16,0 13-16,0-13 0,1 13 0,-1-13 0,-13-1 15,13 14-15,-13-13 0,0 0 16,0 0-16,-13-1 0,13 1 16,-13 0-16,13 0 0,-14 0 15,1 13-15,13-14 0,-13 14 16,0-13-16,-1 13 0,1 0 0,-13 0 15,12 0-15,1 0 0,0 0 16,0 0-16,0 0 0</inkml:trace>
  <inkml:trace contextRef="#ctx0" brushRef="#br1" timeOffset="131741.76">10491 4101 0,'-27'27'0,"54"-54"0,-80 67 0,40-27 0,-1 0 15,14 14-15,-13-1 0,0 14 16,0-1-16,13 1 0,0 0 0,0 0 16,13-1-16,0 1 0,0 0 0,14-1 15,-14 1-15,27 0 0,-14-14 16,14-13-16,0 14 0,39-1 15,-39-13-15,-1-13 0,1 14 16,0-14-16,13-14 0,-14 14 16,14-13-16,0 0 0,-13 0 0,13 0 15,-14-1-15,14-12 0,-13 13 0,-14-14 16,14 14-16,-13-13 0,12-1 16,-12 1-16,-14-1 0,13 1 0,-12-1 15,12 1-15,-13-1 0,1 1 0,-14-14 16,13 14-16,0-14 0,-13 0 0,0 1 15,0-1-15,0 0 0,-13 1 16,0-1-16,13 0 0,-27 14 0,14-14 16,-14 14-16,-12 12 0,12-12 0,-12 13 15,-14-1-15,13 1 0,-13 13 16,13-13-16,-13 13 0,1 0 16,-1 0-16,0 13 0,0-13 0,0 13 15,0 1-15,0-1 0,0 0 0,13 0 16,1 14-16,-1-14 0,0 14 15,14-14-15,0 13 0,-14 1 0,27-1 16,-1-13-16,1 14 0,0-14 0,0 0 16</inkml:trace>
  <inkml:trace contextRef="#ctx0" brushRef="#br1" timeOffset="134119">11536 4643 0,'13'0'31,"14"0"-15,-1 0-16,-13 14 0,27-14 0,-14 0 16,27 0-16,-13 0 0,13 0 0,13 0 15,-13-14-15,13 14 16,0-13-16,0 13 0,14-13 0,-14 0 15,0 13-15,0-13 0,0-1 0,-13 14 0,0-13 16,-13 13-16,13-13 16,-27 13-16,1 0 0,-1-13 0,-13 13 15,14 0-15,-14 0 0,0 0 0,1 0 16,-1 0-16,0 0 16,0-14-16,0 14 15,1 0-15,-1 0 16,0 0 15,0 0-15</inkml:trace>
  <inkml:trace contextRef="#ctx0" brushRef="#br1" timeOffset="134651.9">13322 4313 0,'26'-14'0,"-13"14"15,1 0-15,-1 0 0,0 0 16,0 0-16,1 14 0,-1-14 15,0 0-15,0 13 0,-13 0 0,0 0 16,0 1-16,0-1 16,0 0-16,-13 0 0,0 1 0,0 12 0,-1-13 15,1 0-15,0 1 0,0-14 16,-1 13-16,14 0 0,-13-13 16,13 13-16,-13-13 0,13 14 0,0-1 31,26-13-31,-12 0 15,12 0-15,-13 0 0,1 0 16,-1-13-16,13 13 0,-12 0 0,-1 0 16,0-14-16,0 14 0,0 0 15,1-13-15,-1 13 0,0 0 0,0-13 16</inkml:trace>
  <inkml:trace contextRef="#ctx0" brushRef="#br1" timeOffset="134991.04">13772 4313 0,'0'0'0,"-27"0"0,14 0 0,0 0 15,-1 0-15,14 13 0,0 0 16,0 14-1,14-14 1,-14 0-16,13 0 0,-13 1 16,13-14-16,-13 13 0,13 0 15,-13 0-15,0 0 0,14 1 0,-14-1 16,0 0-16,-14 0 0,14 1 16,-13-1-16,13 0 15,-13-13-15,0 13 0,-1-13 16,14 14-16,-13-14 0,13 13 0,-13-13 15,0 0-15</inkml:trace>
  <inkml:trace contextRef="#ctx0" brushRef="#br1" timeOffset="135350.57">14168 4432 0,'53'0'31,"-39"0"-31,-1-13 0,0 13 16,14 0-16,-14 0 0,13 0 0,-13 0 16,14-14-16,-14 14 0,0 0 0,1 0 15,12 0-15,-13-13 0,0 13 16,1 0-16,-1 0 15,0-13-15</inkml:trace>
  <inkml:trace contextRef="#ctx0" brushRef="#br1" timeOffset="135590.04">14354 4247 0,'53'0'31,"-27"13"-31,-13-13 0,0 0 0,14 13 0,-1 0 16,1-13-16,-14 13 0,14 1 15,-1-1-15,-13 0 0,0 0 16,1 1-16,-14-1 0,13 0 0,-13 0 16,0 1-16,0-1 0,-13 13 0,13-13 15,-14 1-15,1 12 0,0-13 16,0 1-16,0-1 0,13 0 0,-14 0 15,1 1-15,0-14 0</inkml:trace>
  <inkml:trace contextRef="#ctx0" brushRef="#br1" timeOffset="137545.91">15161 4419 0,'39'-40'15,"-25"40"1,-1-27-16,0 14 0,0-13 15,0 12-15,-13 1 0,14 0 16,-14 0-16,13 0 0,-13-1 0,0 1 16,-13 0-16,13 0 15,-14 13-15,-12 13 16,13 0-16,0-13 0,-1 27 16,1-14-16,0 0 0,0 0 0,13 14 15,-14-14-15,14 0 0,0 0 16,0 1-16,0-1 0,0 0 15,14 0-15,-1 1 0,0-1 16,0 0-16,14-13 0,-1 0 16,-13 0-16,14 0 15,-14 0-15,14-13 0,-14 13 0,13 0 16,-12-13-16,-1 13 0,13-14 0,-13 14 16,1-13-16,12 13 0,-13-13 15,1 0-15,-1-1 0,0 1 16,-13 0-16,0 0 15,0-1 1,-13 14-16,0 14 16,-14-14-1,27 13-15,-13-13 0,0 13 16,-1-13-16,14 13 0,-13 1 16,13-1-16,0 0 15,13-13 1,1 0-1,-1 0-15,0 0 0,0-13 0,1 13 16,-14-13-16,13 13 0,0 0 0,0-14 16,1 14-16,-1 0 15,0 0-15,0 0 16,0 0 0,1 0-1,-1 0-15,0 0 16,0 0-16,1 0 0,-1-13 15,0 0-15,0 0 0,0-1 16,1 1-16,-1 0 0,0 0 16,0-27-16,1 14 0,-1-1 0,0-12 15,-13 12-15,13 14 0,-13-14 0,14 14 16,-14 0-16,0 0 0,0-1 16,0 1-16,0 40 15,0-14 1,0 13-16,-14-12 0,28 12 15,-14 1-15,0-1 0,0-13 16,13 14-16,-13-1 0,13-13 0,0 14 16,-13-14-16,13 0 0,1 0 0,-14 1 15,13-1-15,0-13 0,-13 13 16,13-13-16,1 0 0,-1 0 16,0-13-16</inkml:trace>
  <inkml:trace contextRef="#ctx0" brushRef="#br1" timeOffset="137749.87">15703 4141 0,'0'0'0,"26"0"31,1 0-31,-14 0 16,14 0-16,-1-13 0,1 13 15,-1 0-15,14-14 0,-1 1 0,1 13 16,0-13-16,-1 0 0,-12 13 0,-1 0 16,14 0-16,-14 0 0</inkml:trace>
  <inkml:trace contextRef="#ctx0" brushRef="#br1" timeOffset="138030.6">16761 4207 0,'27'-13'31,"-14"13"-31,0 0 0,1 0 0,12 0 15,-13 0-15,0-14 0,1 14 16,-1 0-16,13 0 0,-12 0 0,-1 0 16,0-13-16,0 13 0,0 0 15,1 0-15,-1-13 0,0 13 0,0 0 16,-13-13-16</inkml:trace>
  <inkml:trace contextRef="#ctx0" brushRef="#br1" timeOffset="138283.79">16907 3995 0,'26'0'0,"-12"0"0,12 13 16,-13-13-16,0 14 0,1-1 0,12 0 15,-13 0-15,14 1 0,-14 12 16,0-13-16,1 1 0,-1-1 0,0 0 15,-13 13-15,13-12 0,-13-1 0,0 0 16,0 14-16,-13-14 0,13 0 16,-13 0-16,13 14 0,-13-14 0,-1 0 15,1 0-15,0 1 0,0-1 0,-1-13 16,1 13-16,0-13 0</inkml:trace>
  <inkml:trace contextRef="#ctx0" brushRef="#br1" timeOffset="138985.99">17754 4128 0,'-14'13'31,"1"0"-15,13 0-1,-13-13-15,13 13 0,0 1 0,0-1 16,0 0-16,13-13 15,-13 13-15,13 1 16,1-14-16,-1 0 16,0 0-16,0-14 15,0 14-15,-13-13 16,14 13-16,-14-13 0,13 13 16,0 0 15,0 0-31,-13 13 15,14-13-15,-14 13 0,13-13 0,0 0 16,0 14 0,1-14-16,-1 0 15,-13-14-15,13 14 16,-13-13-16,13 0 0,-13 0 16,0-1-16,13 1 15,-13 0-15,0 0 16,0 0-1,14 13 17</inkml:trace>
  <inkml:trace contextRef="#ctx0" brushRef="#br1" timeOffset="139331.59">18058 4114 0,'-27'14'0,"67"-28"0,-53 14 0,53 0 16,-40 14-16,13-14 0,0 0 15,-13 13-15,13 0 0,0-13 16,1 13-16,-1 0 0,0-13 0,-13 14 15,13-1-15,-13 0 0,14 0 16,-14 1-16,13-1 16,-13 0-16,13-26 47,0 0-47,0-1 15,-13 1-15,14 13 0,-14-13 0,13 0 16,0 13-16,0 0 0,-13-14 0,14 14 15,-1 0-15,0 0 16,0 0-16,1 14 0,-1-14 16,-13 13-16,13 0 0,-13 0 15,13-13-15,-13 14 0,0-1 16,0 0 0,0 0-1</inkml:trace>
  <inkml:trace contextRef="#ctx0" brushRef="#br1" timeOffset="139456.2">18468 4061 0,'0'-13'0,"-13"13"15</inkml:trace>
  <inkml:trace contextRef="#ctx0" brushRef="#br1" timeOffset="139838.72">18627 3916 0,'13'0'15,"-26"0"-15,26 13 31,-13 0-31,0 14 0,0-14 0,0 13 16,13-12-16,-13 12 0,0-13 16,0 14-16,0-14 0,0 14 0,13-14 15,-13 13-15,0-13 0,14 1 0,-14-1 16,13-13-16,-13 13 0,13-13 0,-13 13 16,13-13-16,14 0 15,-14-13 1,0 0-16,0 0 15,1 13 1,-14-14-16,13 28 16,-13-1-1,13-13-15,0 13 16,-13 0-16,14-13 16,-14 14-16,13-14 0,0 0 15,0-14 1,0 14-16,-13-13 15</inkml:trace>
  <inkml:trace contextRef="#ctx0" brushRef="#br1" timeOffset="140038.68">18481 4075 0,'40'0'31,"-27"0"-31,14-14 15,12 14-15,1-13 0,0 0 0,-1 0 16,14 13-16,-13-14 0,13 1 0,-14 0 16,1 0-16,-13 13 0,-14-13 15,0 13-15,0-14 0,-39 14 16,-1 0 0,-26 14-16</inkml:trace>
  <inkml:trace contextRef="#ctx0" brushRef="#br1" timeOffset="140802.07">11695 4815 0,'26'14'0,"-13"-1"15,27 0-15,0 0 0,13 14 0,13-14 16,0 27-16,26-14 0,14 14 0,0 0 16,0-1-16,13 1 0,-13 0 15,0-14-15,0 14 0,-14-14 16,-12 1-16,-14-1 0,0 1 0,0-1 15,-13 1-15,0-14 0,-14 0 16,1 13-16,-13-26 0,12 27 16,-25-27-16,-1 13 0,0-13 15,0 0-15,0 0 16,-13-13-16,14 0 16,-14-1-16,13 14 15</inkml:trace>
  <inkml:trace contextRef="#ctx0" brushRef="#br1" timeOffset="141172">13772 5199 0,'0'0'15,"13"0"-15,0 0 0,0 13 0,0-13 0,-13 14 16,14-14-16,-14 13 0,13 0 16,-13 0-16,0 0 0,0 14 15,-13-14-15,13 14 0,-14-14 0,1 13 16,13-12-16,-13 12 0,0-13 16,13 0-16,-13-13 0,13 14 0,-14-1 15,14 0-15,-13-13 0,13 13 16,13-13 15,14-13-15,-14 13-16,0 0 0,0-13 0,1 13 15,-1-13-15,0 13 0,0-14 16,1 14-16,-1-13 0,0 13 16,0-13-16,1 13 0,-1-13 0</inkml:trace>
  <inkml:trace contextRef="#ctx0" brushRef="#br1" timeOffset="141455.06">14116 5226 0,'-27'0'32,"14"13"-32,13 13 15,0-13 1,0 1-16,13-1 0,-13 0 15,13-13-15,-13 13 0,14 1 16,-14-1-16,0 0 0,13 0 0,-13 1 16,0-1-16,0 0 15,0 0-15,0 0 0,-13 1 16,13-1-16,-14-13 0,1 13 16,13-39 15</inkml:trace>
  <inkml:trace contextRef="#ctx0" brushRef="#br1" timeOffset="141709.96">14790 5345 0,'27'0'31,"-1"-14"-31,-13 14 0,1 0 0,-1 0 16,0-13-16,0 13 0,0 0 15,40-26 1,-39 26-16,-1-14 15</inkml:trace>
  <inkml:trace contextRef="#ctx0" brushRef="#br1" timeOffset="141950.37">14870 5133 0,'26'13'0,"40"0"31,-39 1-31,-14-1 0,13 0 0,-12-13 16,12 27-16,0-14 0,-12 0 0,-1 0 15,0 0-15,-13 1 0,13 12 0,-26-13 16,13 1-16,0 12 0,-13-13 16,0 14-16,13-14 0,-14 13 0,1-12 15,0 12-15,0-13 0,0 1 0,-1-14 16,14 13-16</inkml:trace>
  <inkml:trace contextRef="#ctx0" brushRef="#br1" timeOffset="143294.91">15729 5159 0,'0'40'31,"0"-27"-15,0 1-16,0-1 0,0 0 0,14 0 0,-14 0 15,0 1-15,0-1 16,0 0-16,13 0 0,-13 1 15,0-1-15,0 0 32,13-26 30,-13 0-62,0-1 16,0 1-16,0 0 0,13 0 15,-13-1-15,0 1 16,0 0-16,0 0 16,0 0-16,0-1 0,0-12 15,0 13 1,0-1 0,14 28 30,-1-1-46,-13 0 16,13 0-16,-13 1 0,13-14 16,-13 13-16,14 0 0,-1-13 0,-13 13 15,13-13-15,-13 13 0,13-13 0,-13 14 16,13-14 0,1 0-1,-1-27 1,-13-65 15,0 78-15,0-52 15,13 66-31,0-13 16,1 13-16</inkml:trace>
  <inkml:trace contextRef="#ctx0" brushRef="#br1" timeOffset="143595.1">16087 5067 0,'0'13'0,"0"-26"0,0 39 0,-14-26 15,14 13-15,0 1 0,0-1 0,0 0 16,0 0-16,14 1 0,-14-1 16,13 0-16,0 0 0,0 1 15,1-1-15,-1-13 0,0 0 16,0 0-16,0 13 0,1-13 15,-1-13-15,0 13 0,0-13 16,-13-1 0,0-12-16,0 13 15,-13-1-15,13 1 0,-13 0 16,0 13-16,13-13 0,-14-1 0,1 14 16,13-13-16,-13 13 0,0 0 15,0 0-15,-1 13 16,1-13-16,13 14 15</inkml:trace>
  <inkml:trace contextRef="#ctx0" brushRef="#br1" timeOffset="144164.26">16007 5543 0,'0'40'0,"0"26"32,0-40-32,0-12 0,0-1 0,0 0 15,0 0-15,0 0 0,-13 1 16,13-1-16,0 0 15,13 0 1,-13-39 0,14 13-16,-14-1 15,13 1-15,0 13 0,-13-13 16,13 0-16,0 13 0,-13-13 0,14 13 16,-1 0-16,0 0 0,0 0 15,-13 13-15,14-13 0,-14 13 16,13 0-16,-26 14 15,-1-14 1,14 0-16,-13-13 0,13 13 16,-13-13-16,0 14 0,-1-1 15</inkml:trace>
  <inkml:trace contextRef="#ctx0" brushRef="#br1" timeOffset="144394.87">16325 5503 0,'0'27'31,"0"-14"-31,0 0 16,0 0-16,0 1 0,0-1 15,0 0-15,0 0 16,0 1-16,0-1 0,0 0 0,0 0 16,0 1-16,13-1 15</inkml:trace>
  <inkml:trace contextRef="#ctx0" brushRef="#br1" timeOffset="144587.21">16298 5543 0,'27'-26'32,"-27"12"-32,13 14 0,0 0 0,0-13 15,1 13-15,-1 0 0,0 0 16,0 0-16</inkml:trace>
  <inkml:trace contextRef="#ctx0" brushRef="#br1" timeOffset="144746.69">16325 5622 0,'-13'14'16,"39"-28"15,0 14-16,-12 0-15,-14-13 0,13 13 16,0-13-16,0 13 0,14-13 16,-14 13-16,0-14 0</inkml:trace>
  <inkml:trace contextRef="#ctx0" brushRef="#br1" timeOffset="145061.65">17079 5252 0,'26'0'16,"1"0"-16,-14 0 0,0-13 16,14 13-16,-1 0 0,-13 0 15,14-13-15,-14 13 0,14 0 16,-14 0-16,13-14 0,-13 14 0,14 0 16,-14-13-16,0 13 0,1 0 15,-1-13-15</inkml:trace>
  <inkml:trace contextRef="#ctx0" brushRef="#br1" timeOffset="145313.79">17251 5054 0,'0'0'0,"40"13"0,-27 0 15,13-13-15,-13 0 0,1 13 0,12 0 16,-13-13-16,14 14 0,-14-1 0,0 0 16,0 0-16,1 1 0,-1-1 15,0 0-15,-13 0 0,0 1 0,0-1 16,0 0-16,0 0 0,-13 14 0,13-14 16,-13 0-16,-1 0 0,14 1 15,-13-1-15,13 0 0,-13-13 0</inkml:trace>
  <inkml:trace contextRef="#ctx0" brushRef="#br1" timeOffset="146672.91">18177 5014 0,'-13'26'47,"13"-12"-47,0-1 15,0 0-15,0 0 0,0 0 16,13 1-16,-13-1 15,0 0-15,13-13 0,-13 13 16,13-13-16,-13 14 0,14-14 16,-1 0-1,0 0-15,0-14 0,0 1 16,-13 0-16,14 0 16,-14-1-16,0 1 0,13 13 15,-13-13-15,0 0 16,0 0-16,13 13 15,-13 13 17,13 0-32,1 0 15,-14 0 1,13-13-16,-13 14 0,13-14 16,0 13-16,1-13 15,-1 0 1,-13-13-16,13 13 0,-13-14 15,0 1-15,13 13 0,-13-13 16,0 0-16,0 0 0,0-1 16,0 1-16,0 0 0,0 0 15,-13-1-15,13 1 16,0 40 15,0-14-15,0 0-16,0 0 15,0 1-15,0-1 0,13 0 0,-13 0 16,13 0-16,1 1 16,-1-14-1,0 0 1,0 0-16,-13-14 0,14 14 16,-14-13-16,13 13 15,0 0-15,0 0 0,1 0 16,-1 0-1,0 13-15,0 1 16,-13-1 0,0 0-1,0 0-15,13-39 63,-13 13-63,14-1 15,-14 1-15,13 0 16,0 0-16,0 0 16,1 13-16,-1-14 15,0 14-15,0 0 16,0 0-16,1 0 16,-1 0-1,0 0 1,-13 14-16,13-1 15,-13 0 1,14 0 0,-14 0-1</inkml:trace>
  <inkml:trace contextRef="#ctx0" brushRef="#br1" timeOffset="147138.88">18944 4842 0,'0'13'0,"-13"40"31,13-40-31,0 0 16,-13 1-16,26-1 0,-13 0 15,0 0-15,13-13 0,-13 14 0,13-14 16,1 0-16,-1 13 0,13-26 31,-12 13-31,-1 0 0,0-14 16,0 14-16,0 0 16,1 0-1,-1 14 1,0-1-1,-13 0 1,13-13-16,14 0 31</inkml:trace>
  <inkml:trace contextRef="#ctx0" brushRef="#br1" timeOffset="147307.07">18931 4948 0,'26'0'31,"-12"0"-31,-1-14 16,0 14-16,0 0 0,1 0 15,-1-13-15</inkml:trace>
  <inkml:trace contextRef="#ctx0" brushRef="#br1" timeOffset="147765.67">19976 4101 0,'26'-13'16,"-12"13"-16,-1 0 0,0 0 15,0 0-15,14 0 0,-14-13 0,14 13 16,-1 0-16,-13-14 0,14 14 16,-14 0-16,13 0 0,-12-13 0,-1 13 15,13 0-15,-26-13 0</inkml:trace>
  <inkml:trace contextRef="#ctx0" brushRef="#br1" timeOffset="148002.15">20135 3916 0,'0'0'0,"0"-13"0,13 26 31,0-13-31,14 13 16,-14 0-16,0 1 0,14-14 0,-14 13 16,13 0-16,-12 0 0,-1 0 15,0 1-15,0-1 0,0 0 0,1 0 16,-14 1-16,13-14 0,-13 13 0,0 0 15,13 0-15,-13 1 0,0-1 16,-13 0-16,13 0 0,0 0 0,0 14 16,0-14-16,-13 0 0,13 14 15</inkml:trace>
  <inkml:trace contextRef="#ctx0" brushRef="#br1" timeOffset="148289.91">20029 4948 0,'0'0'0,"13"-14"0,0 14 15,1 0-15,-1-13 0,0 13 0,0 0 16,14-13-16,-14 13 0,13 0 16,-12-13-16,12 13 0,-13-13 0,14 13 15,-14 0-15,0-14 0,1 14 0,-1-13 16,0 13-16,0-13 0</inkml:trace>
  <inkml:trace contextRef="#ctx0" brushRef="#br1" timeOffset="148508.87">20333 4683 0,'40'13'31,"-27"1"-31,0-14 0,1 13 0,-1 0 16,0 0-16,0-13 0,1 13 15,-1 1-15,-13-1 0,13 0 16,-13 0-16,0 1 0,0-1 0,0 0 0,0 0 15,-13 1-15,0-1 0,13 0 16,-14 0-16,1 0 0,0 1 16,0-14-16,-1 13 0,1-13 15</inkml:trace>
  <inkml:trace contextRef="#ctx0" brushRef="#br1" timeOffset="150842.66">21484 3678 0,'0'0'0,"-13"13"47,0 0-32,-1 0-15,1 1 0,0-1 0,0 0 0,0 0 16,-1 14-16,-12-14 0,13 0 16,-1 0-16,14 1 0,-13-1 15,0 0-15,0 0 0,-1 1 16,14-1-1,14-13 1,-1 0-16,0 0 16,0 0-16,1-13 0,-1 13 15,13 0-15,-12-14 0,12 14 16,-13 0-16,14-13 0,-14 13 0,0 0 16,0-13-16,1 13 0,-1 0 0,0 0 15,-13-13-15,13 13 0,1 0 16,-14-14-1</inkml:trace>
  <inkml:trace contextRef="#ctx0" brushRef="#br1" timeOffset="151064.56">21537 3704 0,'0'-13'15,"-13"0"1,0 26-1,13 0-15,0 0 16,0 1-16,0-1 0,0 0 0,-14 0 16,14 1-16,0-1 0,0 13 15,0-13-15,0 1 0,0 12 16,0-13-16,0 1 0,-13-1 0,26 0 16,-13 0-16,0 1 0,14-14 15</inkml:trace>
  <inkml:trace contextRef="#ctx0" brushRef="#br1" timeOffset="151371.23">21775 3717 0,'-13'14'15,"13"-1"-15,-13 0 0,13 0 0,0 1 16,0-1-16,0 0 15,0 0-15,0 0 0,13-13 16,-13 14-16,13-14 0,0 13 0,1-13 16,-1 0-16,0 0 0,0 0 15,1-13-15,-1 13 0,0 0 0,0-14 16,1 1-16,-1 13 0,-13-13 0,0 0 16,13 0-16,-26-1 15,13 1-15,-13 0 16,-1 0-16,1 13 0,0-14 0,0 14 15,-1 0-15,1 0 0,0 0 16,0 0-16,-1 0 0,1 0 16,0 0-16</inkml:trace>
  <inkml:trace contextRef="#ctx0" brushRef="#br1" timeOffset="151844.6">22529 3334 0,'0'39'16,"0"-12"-16,-13-14 16,13 14-16,0-1 0,-13 14 15,13-1-15,-13 1 0,13 0 0,-14-14 16,1 14-16,13 0 0,-13-14 0,0 1 16,13-1-16,-14 0 0,14 1 15,0-14-15,-13 0 0,13 1 0,0-1 16,-13 0-16,13 0 15</inkml:trace>
  <inkml:trace contextRef="#ctx0" brushRef="#br1" timeOffset="152222.41">22834 3664 0,'0'0'0,"0"-13"0,-14 13 31,-12 13-31,13-13 16,-1 0-16,1 14 0,0-14 0,0 13 16,-1-13-16,14 13 0,-13-13 15,13 13 1,0 1-1,0-1-15,13-13 0,-13 13 16,14 0 0,-14 1-16,0-1 15,-14-13-15,14 13 0,0 0 16,-13-13-16,0 13 0,0 1 16,0-1-16,-1-13 0,1 13 15,13 0-15,-13-13 0,0 14 0,-1-14 16,14 13-16</inkml:trace>
  <inkml:trace contextRef="#ctx0" brushRef="#br1" timeOffset="152522.88">22873 3664 0,'13'0'16,"-13"14"-16,0-1 15,0 0-15,0 0 16,14 1-16,-14-1 16,13 0-16,0-13 15,-13 13-15,13-13 0,1 0 16,-1 0-16,0-13 0,0 13 16,1-13-16,-14 0 15,0-1 1,0 1-16,0 0 0,-14 0 15,14-1-15,-13 14 16,0 0-16,0-13 0,-1 13 16,1 0-16,-13 0 0,12 0 15,1 0-15,-13 0 0,13 0 0,-14 13 16,1-13-16</inkml:trace>
  <inkml:trace contextRef="#ctx0" brushRef="#br1" timeOffset="155019.04">21550 4723 0,'14'-13'0,"-28"26"0,41-26 16,-14 13-16,0 0 16,-13 26-16,0-13 15,-13 0-15,13 1 16,-13-1-16,0 0 0,-1 0 0,14 1 15,-13-1-15,0 0 16,13 0 0,13-13-1,0 0-15,1 0 0,-1 14 0,0-14 16,0 0-16,0 0 16,1 0-16,-14 13 0,13-13 0,-13 13 15,0 0 1,-13 0-16,-1-13 15,1 14-15,0-14 0,0 13 16,0-13-16,-1 0 16</inkml:trace>
  <inkml:trace contextRef="#ctx0" brushRef="#br1" timeOffset="155398.37">21788 4723 0,'0'0'0,"14"13"15,-1-13-15,0 13 16,-13 0-16,0 1 16,0-1-16,13 0 0,-13 0 15,-13 1-15,13-1 0,0 0 0,0 0 16,-13 1-16,13-1 0,-13 0 15,13 0-15,-14-13 16,41-26 15,-14 13-31,0-1 0,1 1 0,25-40 16,-25 40 0,-1-14-16,0 14 0,-13 0 0,13 0 15,-13 0-15,0-1 0,0 1 16,-13 0-16,0 0 15,0 13-15,-1-14 16,1 14-16,-13 0 16,12 14-16,1-14 15</inkml:trace>
  <inkml:trace contextRef="#ctx0" brushRef="#br1" timeOffset="155638.79">22172 4471 0,'0'0'0,"13"14"15,-13-1-15,0 0 16,0 14-16,0-14 0,0 13 16,0 14-16,0 0 0,0-1 0,0 1 15,-13 0-15,13-1 0,-13 1 0,13 0 16,-13-14-16,13 14 0,0-27 15,-14 14-15,14-14 0,0 0 0,0 0 16,0 1-16,0-1 0,0 0 16,27-26-1</inkml:trace>
  <inkml:trace contextRef="#ctx0" brushRef="#br1" timeOffset="156026.1">22595 4815 0,'0'0'0,"-13"-13"0,0 13 0,0 0 15,-14 0 1,14 13-16,0-13 0,0 0 16,-1 0-16,1 14 15,13-1-15,13 0 16,1-13 0,-14 13-16,13-13 0,-13 14 0,13-14 15,-13 13-15,13-13 0,-13 13 16,0 0-1,-13 0-15,0 1 0,0-1 16,-1-13-16,1 13 16,0-13-16,0 13 0,-1-13 15</inkml:trace>
  <inkml:trace contextRef="#ctx0" brushRef="#br1" timeOffset="156327.06">22714 4882 0,'27'39'31,"-14"-26"-31,0-13 0,1 14 16,-1-14-16,0 0 15,0 0-15,1 0 0,-1 0 0,0 0 16,0 0-16,0-14 0,1 14 15,-14-13-15,13 13 0,-13-13 16,0 0-16,0 0 16,-13 13-16,13-14 0,-14 14 0,1-13 15,0 13-15,0-13 0,0 13 16,-1 0-16,1 0 0,0 0 0,0 0 16,-1 0-16,-12 0 0,13 0 0,-1 0 15,1 13-15,0-13 0,0 0 16,0 0-16,-1 13 0</inkml:trace>
  <inkml:trace contextRef="#ctx0" brushRef="#br1" timeOffset="157819.04">23257 3717 0,'0'-13'15,"13"13"-15,-13 13 32,13-13-17,-13 14-15,0-1 0,0 0 0,0 0 16,14 1-16,-14 12 0,0-13 0,0 0 16,13 1-16,-13-1 0,0 0 15,13-13-15,-13 13 0,0 1 0,13-14 16,-13 13-16,13-13 0,1 0 15,-1 0-15,0 0 16,0 0-16,1-13 0,12-1 0,1 1 16,12 0-16,-12-14 0,12 1 0,1 13 15,13-14-15,-13 1 16,-1-1-16,1 14 0,0-13 0,-1 12 16,-12 1-16,13-13 0,-14 13 0,0-1 15,1 1-15,-14 13 0,0-13 0,1 0 16,-1 13-16,0 0 0,0-14 15,1 14-15,-14-13 0,13 13 16,0 0-16,-13-13 16,13 13-16</inkml:trace>
  <inkml:trace contextRef="#ctx0" brushRef="#br1" timeOffset="164614.81">5662 6879 0,'40'0'15,"-14"13"1,-13-13-16,14 0 0,26 14 0,-27-14 16,14 0-16,13 13 0,13-13 15,-40 13-15,14-13 0,-13 0 16,12 0-16,-12 0 0,-1 13 0,1-13 15,-14 0-15,13 0 0,-12 0 0,-1 0 16,0 0-16</inkml:trace>
  <inkml:trace contextRef="#ctx0" brushRef="#br1" timeOffset="164995.26">5953 6959 0,'0'0'0,"40"0"32,-14 0-32,1 0 0,-1 0 0,1 0 15,12 0-15,-12 0 0,52 0 0,-39 0 16,0 0-16,-1-14 0,-12 14 16,12 0-16,-12 0 0,-1 0 0,1-13 15,-14 13-15,13 0 0,-12 0 16,-1 0-16,0 0 0,0 0 0,1 0 15,-1 0-15,0 0 16,0 0 0,1 0-16,-1 0 15,0 0 1</inkml:trace>
  <inkml:trace contextRef="#ctx0" brushRef="#br1" timeOffset="177411.07">21775 10372 0,'93'0'16,"-53"0"-16,-14 0 0,199 0 31,-159 0-31,0 0 0,0 0 0,0 0 15,-13 0-15,0 0 0,13 0 0,-13 0 16,13 0-16,-13 0 0,0 0 16,-13-14-16,0 14 0,-1 0 0,-12 0 15,-1 0-15,1 0 0,-14 0 0,0 0 16,0 0-16,1 0 0,-1 0 16</inkml:trace>
  <inkml:trace contextRef="#ctx0" brushRef="#br1" timeOffset="177639.78">22622 10385 0,'26'0'0,"-12"0"0,-1 0 16,146 13-1,-133-13 1,14 0-16,-1 0 0,-12 0 0,13 0 15,-14 0-15,0 0 16,-12 0-16,12 0 0,-13 13 0,1-13 0,-1 0 16,0 0-16</inkml:trace>
  <inkml:trace contextRef="#ctx0" brushRef="#br1" timeOffset="179448.91">7885 11126 0,'66'-14'32,"-53"14"-32,0 0 0,14-13 15,-1 13-15,1 0 0,-1 0 0,14 0 16,-1 0-16,14 0 0,-13 0 0,26 0 15,-13 0-15,0 0 0,13-13 16,-13 13-16,13 0 0,-13 0 0,13 0 16,14-13-16,-14 13 0,13 0 0,1-13 15,-14 13-15,0-14 0,0 14 16,-13 0-16,0 0 0,0-13 0,0 13 16,0 0-16,-1-13 0,1 13 15,-13 0-15,13 0 0,-13 0 0,13 0 16,-1 0-16</inkml:trace>
  <inkml:trace contextRef="#ctx0" brushRef="#br1" timeOffset="180159.96">13242 11192 0,'199'0'16,"-146"0"-16,370-13 31,-344 13-31,1 0 0,-1-14 0,1 14 16,12 0-16,-12 0 0,-1-13 16,0 13-16,1 0 0,-1-13 0,0 13 15,1-13-15,-1 13 0,-13-14 16,0 14-16,-13-13 0,0 13 0,0-13 15,0 13-15,-26 0 0,12-13 0,-12 13 16,-14 0-16,13 0 0,-12 0 0,-1 0 16,0-13-16,0 13 0,1 0 0,-1 0 15,0 0 1,0 0-16</inkml:trace>
  <inkml:trace contextRef="#ctx0" brushRef="#br1" timeOffset="182303.33">19910 10821 0,'0'-13'0,"0"40"47,0-14-47,0 0 16,0 0-16,0 1 15,0-1-15,13-13 0,-13 13 16,13-13-16,1 0 16,-1 0-16,13 0 0,1 0 0,-1-13 15,14 0-15,0-1 0,12 1 16,15-13-16,-14-1 0,-1 14 0,1-13 16,-13 12-16,13 1 0,-27 0 15,14 0-15</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6.829"/>
    </inkml:context>
    <inkml:brush xml:id="br0">
      <inkml:brushProperty name="width" value="0.025" units="cm"/>
      <inkml:brushProperty name="height" value="0.025" units="cm"/>
      <inkml:brushProperty name="ignorePressure" value="1"/>
    </inkml:brush>
  </inkml:definitions>
  <inkml:trace contextRef="#ctx0" brushRef="#br0">78 1,'-3'6,"-2"6,1 5,1 1,-3 2,0 1,1 0,1-1,-2-3,1-1,0-1,2 1,-3 1,0 1,2 1,0 0,2-3</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244"/>
    </inkml:context>
    <inkml:brush xml:id="br0">
      <inkml:brushProperty name="width" value="0.025" units="cm"/>
      <inkml:brushProperty name="height" value="0.025" units="cm"/>
      <inkml:brushProperty name="ignorePressure" value="1"/>
    </inkml:brush>
  </inkml:definitions>
  <inkml:trace contextRef="#ctx0" brushRef="#br0">1 1,'6'0,"6"0,5 0,1 0,2 0,1 0,-1 0,1 0,-1 0,0 0,0 0,0 0,-4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987"/>
    </inkml:context>
    <inkml:brush xml:id="br0">
      <inkml:brushProperty name="width" value="0.025" units="cm"/>
      <inkml:brushProperty name="height" value="0.025" units="cm"/>
      <inkml:brushProperty name="ignorePressure" value="1"/>
    </inkml:brush>
  </inkml:definitions>
  <inkml:trace contextRef="#ctx0" brushRef="#br0">58 29,'-6'7,"0"0,1 0,-1 1,1 0,1 0,0 0,0 0,0 1,1-1,1 1,-1 0,2 0,-1 0,1 1,0 10,1-16,0 0,0 0,0 0,1 0,-1 0,1 0,0 0,0 0,1-1,-1 1,1 0,0-1,0 1,0-1,0 0,1 0,-1 1,1-2,0 1,-1 0,2 0,-1-1,0 0,0 0,1 1,-1-2,1 1,0 0,-1-1,1 0,0 0,0 0,0 0,0-1,0 1,4-1,-2 0,0 1,1-1,-1-1,0 1,0-1,1 0,-1 0,0-1,0 0,0 0,-1-1,1 1,0-1,-1 0,7-6,-8 6,0-1,-1 0,1 0,-1 0,0-1,0 1,-1-1,1 1,-1-1,0 0,0 0,-1 0,0 0,0-1,0 1,0 0,-1 0,0-8,1 6,-1 0,-1 0,0 0,0 1,0-1,0 0,-1 0,0 1,-1-1,0 1,0-1,0 1,-1 0,1 0,-1 1,-1-1,1 1,-1 0,-11-9,1 3</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8.325"/>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9.107"/>
    </inkml:context>
    <inkml:brush xml:id="br0">
      <inkml:brushProperty name="width" value="0.025" units="cm"/>
      <inkml:brushProperty name="height" value="0.025" units="cm"/>
      <inkml:brushProperty name="ignorePressure" value="1"/>
    </inkml:brush>
  </inkml:definitions>
  <inkml:trace contextRef="#ctx0" brushRef="#br0">26 29,'2'-3,"0"1,1-1,0 1,-1 0,1 0,0 0,0 0,0 1,0-1,0 1,0-1,1 1,-1 0,0 0,1 1,-1-1,1 1,-1 0,0 0,1 0,-1 0,1 0,-1 1,1-1,-1 1,0 0,1 0,-1 1,0-1,0 0,0 1,0 0,0 0,0 0,-1 0,1 0,0 1,-1-1,0 1,0-1,0 1,0 0,0 0,0 0,-1 0,1 0,-1 1,0-1,0 0,0 1,0-1,-1 0,0 1,1-1,-1 1,0-1,-1 1,1-1,0 0,-1 1,0-1,0 0,0 1,0-1,-3 4,-1 2,0 0,-1 0,0-1,-1 0,1 0,-2 0,1-1,-1 0,0 0,-10 5,7-4,0 1,0 0,1 0,-14 18,24-27,0 1,-1-1,1 1,-1 0,1-1,0 1,-1-1,1 1,0 0,0-1,-1 1,1 0,0-1,0 1,0 0,0-1,0 1,0 0,0 0,0-1,0 1,0 0,1-1,-1 1,0 0,0-1,1 1,-1 0,0-1,1 2,21 11,32-1,-41-11,1-1,-1-1,0 0,1 0,13-5,38-3,-48 9</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153"/>
    </inkml:context>
    <inkml:brush xml:id="br0">
      <inkml:brushProperty name="width" value="0.025" units="cm"/>
      <inkml:brushProperty name="height" value="0.025" units="cm"/>
      <inkml:brushProperty name="ignorePressure" value="1"/>
    </inkml:brush>
  </inkml:definitions>
  <inkml:trace contextRef="#ctx0" brushRef="#br0">250 1,'22'8,"-8"0,-37 3,-26 4,32-12,0 2,1 0,0 1,0 0,0 2,1 0,0 0,-27 22,41-30,0 1,1 0,-1-1,1 1,-1 0,1 0,-1-1,1 1,0 0,-1 0,1 0,0 0,0 0,-1-1,1 1,0 0,0 0,0 0,0 0,0 0,0 0,1 0,-1 0,0 0,0-1,1 1,-1 0,0 0,1 0,-1 0,1-1,-1 1,1 0,-1 0,1-1,0 1,-1 0,1-1,0 1,-1-1,1 1,0-1,0 1,0-1,-1 0,1 1,1-1,55 27,-38-20,-15-5,0 0,0 1,0-1,0 1,-1 0,1 0,-1 0,0 0,0 1,0-1,0 1,2 4,-4-7,-1 1,1-1,-1 1,0 0,0-1,0 1,0 0,0-1,0 1,0 0,0-1,0 1,-1 0,1-1,-1 1,0-1,1 1,-1-1,0 1,0-1,0 1,0-1,0 0,0 0,0 1,0-1,0 0,-1 0,1 0,0 0,-1 0,1-1,-1 1,1 0,-1-1,-1 1,-8 4,1 0,-1-1,0 0,-1-1,1 0,0-1,-1-1,0 1,-20-2,15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660"/>
    </inkml:context>
    <inkml:brush xml:id="br0">
      <inkml:brushProperty name="width" value="0.025" units="cm"/>
      <inkml:brushProperty name="height" value="0.025" units="cm"/>
      <inkml:brushProperty name="ignorePressure" value="1"/>
    </inkml:brush>
  </inkml:definitions>
  <inkml:trace contextRef="#ctx0" brushRef="#br0">56 1,'0'3,"-3"5,-2 4,1 3,1 2,1 2,-3-2,0-1,0 0,2 1,0 0,-1 1,-1 1,0 0,2-3</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990"/>
    </inkml:context>
    <inkml:brush xml:id="br0">
      <inkml:brushProperty name="width" value="0.025" units="cm"/>
      <inkml:brushProperty name="height" value="0.025" units="cm"/>
      <inkml:brushProperty name="ignorePressure" value="1"/>
    </inkml:brush>
  </inkml:definitions>
  <inkml:trace contextRef="#ctx0" brushRef="#br0">0 36,'10'0,"7"0,3 0,2 0,0-3,1-1,-2-1,0 2,-1 0,0 2,0 0,-1 1,0 0,0 0,1-3,-1-2,0 1,-2 1</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8.852"/>
    </inkml:context>
    <inkml:brush xml:id="br0">
      <inkml:brushProperty name="width" value="0.025" units="cm"/>
      <inkml:brushProperty name="height" value="0.025" units="cm"/>
      <inkml:brushProperty name="ignorePressure" value="1"/>
    </inkml:brush>
  </inkml:definitions>
  <inkml:trace contextRef="#ctx0" brushRef="#br0">77 23,'-3'0,"0"0,0 0,0 0,0 0,0 1,0-1,0 1,0 0,0 0,0 0,1 0,-1 1,0-1,1 1,-1-1,1 1,-1 0,1 0,0 0,0 0,0 0,0 1,0-1,1 1,-4 4,4-2,-1 0,1-1,0 1,0 0,0 0,1 0,0 0,0 0,0 0,0 0,1-1,0 1,0 0,3 8,-3-8,1 0,0 0,1-1,-1 1,1-1,0 1,0-1,0 0,0 0,1 0,0-1,-1 1,1-1,6 4,-7-5,0-1,0 0,1 1,-1-1,0 0,1-1,-1 1,0-1,1 1,-1-1,1 0,-1 0,1 0,-1-1,0 1,1-1,-1 0,0 0,1 0,-1 0,0-1,0 1,5-4,-4 2,-1 1,1 0,-1-1,0 1,0-1,0 0,-1 0,1 0,0 0,-1-1,0 1,0-1,0 0,0 1,-1-1,0 0,1 0,-1 0,-1 0,1 0,0 0,-1 0,0 0,0 0,0 0,-1 0,1 0,-1 0,0 0,0 0,-3-7,2 5,-1 1,1 0,-1 0,0 0,0 1,0-1,-1 1,0-1,0 1,0 1,0-1,-1 0,1 1,-1 0,0 0,0 0,0 1,0 0,-1 0,1 0,-1 0,-8-1,-3 2</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201"/>
    </inkml:context>
    <inkml:brush xml:id="br0">
      <inkml:brushProperty name="width" value="0.025" units="cm"/>
      <inkml:brushProperty name="height" value="0.025" units="cm"/>
      <inkml:brushProperty name="ignorePressure" value="1"/>
    </inkml:brush>
  </inkml:definitions>
  <inkml:trace contextRef="#ctx0" brushRef="#br0">1 0,'0'4,"0"0</inkml:trace>
</inkml:ink>
</file>

<file path=ppt/ink/ink1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5:31.361"/>
    </inkml:context>
    <inkml:brush xml:id="br0">
      <inkml:brushProperty name="width" value="0.05292" units="cm"/>
      <inkml:brushProperty name="height" value="0.05292" units="cm"/>
      <inkml:brushProperty name="color" value="#0070C0"/>
    </inkml:brush>
  </inkml:definitions>
  <inkml:trace contextRef="#ctx0" brushRef="#br0">754 3056 0,'27'0'16,"-14"13"-16,13-13 0,14 0 0,13 0 0,0 0 16,26 0-16,14 0 0,-14 0 0,14 0 15,13 13-15,-14-13 0,40 0 16,-26 14-16,0-14 0,0 0 15,-13 13-15,12-13 0,-12 0 0,13 13 0,-27-13 16,14 0-16,-14 13 0,1-13 16,-14 0-16,-13 0 0,39 0 15,-52 0-15,-14 14 0,1-28 16,-1 14-16,1 0 0,-14 0 0,13 0 16,-12 0-16,-1 0 15</inkml:trace>
  <inkml:trace contextRef="#ctx0" brushRef="#br0" timeOffset="299.62">2236 3215 0,'66'13'0,"-132"-26"0,158 26 0,-52-13 16,0 0-16,13 0 0,13 0 16,-13-13-16,13 13 0,-13 0 0,13 0 15,-13 0-15,0 0 0,0 0 0,0-14 16,-1 14-16,-12 0 0,-13 0 16,-1 0-16,1 0 0,-14 0 0,0 0 15,13 0-15,-12 0 0,-1 0 16,-13-13-16,13 26 0,0-13 15</inkml:trace>
  <inkml:trace contextRef="#ctx0" brushRef="#br0" timeOffset="1271.83">6813 3082 0,'132'-13'16,"-79"13"-16,27 0 0,-1 0 0,0-13 0,14 13 16,0 0-16,-1 0 0,1 0 0,13 0 15,-14 0-15,-12 0 0,-1 0 16,0 0-16,1 0 0,-14 0 16,-13 0-16,0 0 0,-14-13 0,1 13 0,-13 0 15,-1 0-15,-13-14 0,0 14 16,1 0-16</inkml:trace>
  <inkml:trace contextRef="#ctx0" brushRef="#br0" timeOffset="1549.23">7223 3135 0,'66'27'15,"-39"-27"1,-1 0-16,27 0 0,-13 13 0,13-13 16,0 0-16,26 0 0,-26 0 0,26 0 15,-13 0-15,-13 0 0,14 13 16,-15-13-16,1-13 0,-13 13 0,13 0 16,-27 0-16,1 0 0,-1 0 0,1 0 15,-1 0-15,-13 0 0,1 0 16,-1 0-16,0 0 0,0 0 0,1 13 15</inkml:trace>
  <inkml:trace contextRef="#ctx0" brushRef="#br0" timeOffset="2348.02">11576 3149 0,'0'0'0,"79"0"0,-39 0 16,13 0-16,13-14 0,13 14 0,0 0 15,1 0-15,12 0 0,14 0 16,-13 0-16,-1 0 0,1 0 15,0 0-15,-1 0 0,-12 0 0,-1 0 16,0-13-16,-12 13 0,-15 0 0,1 0 16,-13 0-16,0 0 0,-1 0 15,-25-13-15,12 13 0,-13 0 0,1 0 16</inkml:trace>
  <inkml:trace contextRef="#ctx0" brushRef="#br0" timeOffset="2614.46">11800 3228 0,'40'13'0,"-13"-13"0,171 13 15,-119-13 1,14 0-16,-14 0 0,14 0 0,0 0 15,-1 0-15,-12 0 0,-1 0 0,0 0 16,-26 0-16,13 0 0,-13 0 16,0 0-16,-13 0 0,-14 0 15,1 0-15,-1 0 0,-13 0 0,1 0 0,-1 0 16,0 0-16,0 0 16</inkml:trace>
  <inkml:trace contextRef="#ctx0" brushRef="#br0" timeOffset="5973.18">1931 3850 0,'40'13'63,"-27"-13"-63,1 0 0,-1 0 15,0 0-15,14 0 16,-1 0-16,-13 0 0,27 0 0,-14 0 16,14 0-16,13 13 0,0-13 0,145 0 15,-132 0 1,14 0-16,-1 0 0,1 0 0,-1 0 15,0 0-15,14 0 0,-14 0 0,1 0 16,12 0-16,-12 0 0,-1 0 16,0 0-16,14 0 0,-14 0 0,14 0 15,-14 0-15,1 0 0,12-13 0,-12 13 16,12 0-16,-12 0 16,-1 0-16,0 0 0,1 0 0,-1 0 0,1 0 15,-14 0-15,13 0 0,-13 0 16,-13 0-16,13 13 0,-13-13 15,0 0-15,0 0 0,0 0 0,0 0 16,-13 0-16,-14 0 0,14 0 0,-14 0 16,-13 0-16,14 0 0,-1 0 15,-12 0-15,-1 0 0,13 0 0,-13 0 16,1 0-16,-1 0 0,0 0 16,0 0-16,1 0 15,-1 0-15,0 0 16,0 0 15</inkml:trace>
  <inkml:trace contextRef="#ctx0" brushRef="#br0" timeOffset="8138.24">20320 3942 0,'40'-13'0,"105"13"32,-92 0-32,0 0 0,13 0 0,-13 0 15,26 0-15,1 0 0,-14 0 16,0 0-16,-13 0 0,13 0 0,-13 0 16,0 0-16,0 0 0,-13 0 15,-14 0-15,27 0 16,-27 0-16</inkml:trace>
  <inkml:trace contextRef="#ctx0" brushRef="#br0" timeOffset="8405.66">20558 3942 0,'66'14'15,"-39"-14"1,-1 0-16,14 13 0,0-13 0,12 13 16,-12-13-16,13 0 0,0 13 0,-13-13 15,13 0-15,-14 13 0,-12-13 16,-1 0-16,14 0 0,-14 0 0,1 0 16,-14 0-16,13 0 0,-12 0 0,12 0 15,-13 0-15,1 0 0,-1 0 0,0 0 16,0 0-16,1-13 15</inkml:trace>
  <inkml:trace contextRef="#ctx0" brushRef="#br0" timeOffset="8922.94">23244 3757 0,'105'0'32,"-78"0"-32,-1 0 15,27 13-15,-13-13 0,13 0 0,-13 14 16,13-14-16,-1 0 0,-12 13 0,13-13 15,-13 0-15,-14 0 0,1 0 16,-1 0-16</inkml:trace>
  <inkml:trace contextRef="#ctx0" brushRef="#br0" timeOffset="9139.75">23588 3850 0,'53'0'0,"-27"0"15,0 0-15,1 0 0,-1 0 0,1 13 16,-1-13-16,1 0 16,-1 0-16,1 0 0,-1 0 0,-13 0 15,14 0-15,-14 0 0,0 0 0,0 0 16</inkml:trace>
  <inkml:trace contextRef="#ctx0" brushRef="#br0" timeOffset="11935.78">833 4802 0,'0'0'0,"67"-13"0,-28 13 0,1 0 15,26 0-15,13-13 0,1 13 0,12 0 16,1-14-16,0 14 0,-1 0 16,1-13-16,13 13 0,-14 0 0,1-13 15,-14 13-15,14 0 0,-14-13 0,1 13 16,-14 0-16,-13 0 0,0 0 16,-14 0-16,1 0 0,-27-13 0,14 13 15,-1 0-15,-13 0 0,1 0 0,-1 0 16,0 0-16,0 0 0,1 13 15</inkml:trace>
  <inkml:trace contextRef="#ctx0" brushRef="#br0" timeOffset="12860.1">6839 4802 0,'0'0'0,"67"0"0,144-13 16,-118 13-16,-14 0 16,14 0-16,13 0 0,0 0 15,-1 0-15,1 0 0,0 0 0,40 0 16,-14 13-16,0-13 0,-26 0 0,-13 0 16,12 0-16,1 13 0,-13-13 15,-1 0-15,1 0 0,-14 0 0,1 0 16,-14 0-16,-13 0 0,-13 0 15,-1 0-15,-12 0 0,-1 0 0,1 0 16,-14 0-16,0 0 0,0 0 16,1 0-16</inkml:trace>
  <inkml:trace contextRef="#ctx0" brushRef="#br0" timeOffset="14044.34">13785 4710 0,'26'0'0,"-13"0"16,1 0-16,-1 0 0,0 0 0,14 13 16,-14-13-16,13 0 0,14 0 15,-14 0-15,27 0 0,0 0 0,13 0 16,1 0-16,-1 0 0,13 0 0,0 0 15,1 13-15,-1-13 0,93 0 16,-79 0-16,-14 0 16,1 0-16,-1 0 0,-13 0 0,0 13 15,-13-13-15,0 0 0,-13 0 16,-1 0-16,1 0 0,-13 13 0,-14-13 16,13 0-16,-12 0 0,-1 0 0,0 0 15,0 0-15,0 0 0,-13 14 16,14-14-16,-1 0 15,-13 13-15,13-13 0</inkml:trace>
  <inkml:trace contextRef="#ctx0" brushRef="#br0" timeOffset="14720.04">19685 4815 0,'79'14'0,"279"-1"32,-266-13-32,1 0 0,13 0 15,13 13-15,13-13 0,-26 13 0,26-13 16,-13 14-16,13-1 0,-26-13 16,0 0-16,13 13 0,-13-13 0,-13 13 15,-1-13-15,1 13 0,-14-13 0,1 14 16,-14-14-16,0 13 0,26-13 15,-65 0-15,-1 13 0,1-13 16,-14 0-16,0 0 0,1 0 0,-1 13 16</inkml:trace>
  <inkml:trace contextRef="#ctx0" brushRef="#br0" timeOffset="21643.21">4247 6297 0,'0'-13'31,"-14"13"-15,1 0-16,0 0 15,0 0 1,13 13-16,-14 0 0,1 1 0,-13-1 16,13 0-16,-1 13 0,-12 1 15,13-1-15,-1 1 0,14-14 0,-13 0 16,0 14-16,13-14 0,-13 0 16,13 0-16,0 1 0,13-14 15,-13 13-15,13-13 0,0 0 16,14 0-16,-14 0 15,0 0-15,1-13 0,-1 13 16,0 0-16,0 0 0,0 0 16,1 0-16,-14 13 0,13-13 15,-13 13-15,13-13 16,-13 13-16,0 1 0,13-1 16,-13 0-16,0 0 0,0 1 15,0-1-15,14 0 16,-14 0-16</inkml:trace>
  <inkml:trace contextRef="#ctx0" brushRef="#br0" timeOffset="22035.86">4419 6482 0,'0'27'16,"0"-14"0,0 0-16,0 0 0,0 1 15,-14-1-15,14 13 0,0-12 0,0-1 16,-13-13-16,13 13 0,0 0 0,0 1 15,-13-1 1,13-40 15,0 14-15,0 0-16,13-14 0,-13 14 0,13 0 16,1 0-16,-1-1 0,0 1 0,0 13 15,0-13-15,1 0 0,-1 13 0,0-13 16,0 13-16,1-14 0,-1 14 15,0 0-15,0 0 0</inkml:trace>
  <inkml:trace contextRef="#ctx0" brushRef="#br0" timeOffset="22267.97">4604 6496 0,'0'52'16,"13"-38"0,-13-1-1,13-13-15,0 13 0,1-13 16,-1 0-16,0 0 0,0 0 0,1 0 15,-1 0-15,0 0 16,-13-13-16,13 13 0,0-13 0,-13-1 16,0 1-1,0 0-15,0 0 0,-13 13 16,13-13-16,-13 13 0,0-14 16,0 14-16,-14 0 15</inkml:trace>
  <inkml:trace contextRef="#ctx0" brushRef="#br0" timeOffset="22756.85">4921 6456 0,'0'0'0,"0"-13"0,-13 39 63,13-13-48,0 1-15,0-1 0,0 0 16,0 0-16,0 0 0,13 1 16,-13-1-16,0 0 0,0 0 0,13 1 15,-13-1-15,14-13 16,-1 0-16,13 0 15,-12 0-15,-14-13 0,13 13 16,0-14-16,0 1 0,-13 0 16,14 13-16,-14-13 0,0-1 15,13 1-15,-13 0 16,0 0-16,13 13 16</inkml:trace>
  <inkml:trace contextRef="#ctx0" brushRef="#br0" timeOffset="23158.01">5199 6482 0,'-13'66'15,"0"-39"-15,13-14 16,0 14-16,0-1 0,-14-13 15,14 14-15,0-14 0,0 13 0,0-12 0,0-1 16,0 0-16,0 0 0,0 1 16,0-1-16,0 0 15,0-39 1,0 12 0,14-12-16,-1-14 0,-13 1 15,13-1-15,0 0 0,1 0 0,-1 1 16,0 12-16,0 1 0,0-1 0,1 14 15,-1 0-15,0 13 0,-13-13 16,13 13-16,1 0 0,-1 13 16,-13 0-16,0 0 15,0 1-15,-13-1 16,13 0-16,-14 0 0,1 1 16,0-1-16,0 0 0,-1 13 0,1-12 15,0-1-15,13 0 0,-13-13 16</inkml:trace>
  <inkml:trace contextRef="#ctx0" brushRef="#br0" timeOffset="23543.41">6072 6297 0,'-26'106'32,"26"-80"-32,0 1 0,-14-1 0,14 1 15,0-14-15,0 13 0,0-12 0,0 12 16,-13-13-16,13 1 0,13-1 16,-13 0-16,14-39 31,-14 12-31,0-12 0,13-1 15,-13 1-15,13-14 0,0 1 0,-13-1 16,14 0-16,-1 14 0,0-1 16,-13 14-16,13 0 0,-13 0 0,14 13 15,12 0 1,-26 13-16,13 0 0,0 0 0,1 1 16,-14 12-16,13 0 0,-13-12 0,13 12 15,-13 1-15,13-14 0,-13 13 16,0-12-16,14-1 0,-14 0 0,0 0 15,13 0-15,-13 1 0,0-1 16</inkml:trace>
  <inkml:trace contextRef="#ctx0" brushRef="#br0" timeOffset="23759.88">5940 6482 0,'26'0'31,"1"0"-31,-14 0 16,27-13-16,-14 13 0,27 0 0,-13 0 15,13-13-15,-14 13 0,1 0 16,-13 0-16,-1-13 0,0 13 0,14 0 16,-27 0-16,14 0 0,-1 0 0,1 0 15,-14 0-15,13 0 16</inkml:trace>
  <inkml:trace contextRef="#ctx0" brushRef="#br0" timeOffset="24451.81">11311 6125 0,'0'0'0,"-27"27"0,14-14 0,0 0 0,-13 0 15,12 0-15,1 14 0,-13-1 16,12 1-16,14-14 0,-13 14 15,0-14-15,13 13 0,-13-13 0,13 1 16,0-1-16,0 0 0,13-13 0,-13 13 16,13-13-16,0 0 0,1 0 15,-1 0-15,13 0 0,-12-13 0,12 13 16,0-13-16,-12 13 0,-1-13 0,13 13 16,-12 0-16,-1-14 0,0 14 15,0 0-15,1 14 0,-1-14 16,-13 13-16,13-13 0,-13 13 15,13 0-15,-13 1 16,0-1-16,0 0 16,0 0-16,13-13 0,-13 14 15</inkml:trace>
  <inkml:trace contextRef="#ctx0" brushRef="#br0" timeOffset="24748.01">11536 6310 0,'13'14'15,"0"-1"-15,-13 0 16,0 0-16,14 0 16,-14 1-16,0-1 0,0 0 15,13-13-15,-13 13 16,13-26 15,-13 0-31,13 0 16,-13-1-16,13 1 0,1 0 15,-1 0 1,0 0-16,0 13 16,1-14-16,-1 14 0,0 0 15</inkml:trace>
  <inkml:trace contextRef="#ctx0" brushRef="#br0" timeOffset="24982.85">11787 6297 0,'0'0'0,"13"0"0,-13 13 16,0 1 0,0-1-16,0 0 15,0 0-15,14 0 16,-1 1-16,0-14 16,0 0-1,1 0-15,-1-14 16,-13 1-1,0 0-15,0 0 16,0 0 0,-13 13-16,13-14 15,-14 28 1</inkml:trace>
  <inkml:trace contextRef="#ctx0" brushRef="#br0" timeOffset="25500.98">12039 6297 0,'0'13'47,"0"1"-47,0-1 15,0 0 1,0 0-16,13-13 0,-13 13 15,13-13 1,0 0-16,0 0 0,1 0 16,-14-13-16,13 13 15,0-13-15,-13 0 16,13 0-16,-13-1 0,14 1 16,-14 0-16,13 0 15,-13-1 1,0 54 15,0-27-15,-13-13-16,13 14 0,0-1 15,0 0-15,0 0 16,0 0-16,-14-13 16,14 14-16,0-1 15,0 0 1,0 0-1</inkml:trace>
  <inkml:trace contextRef="#ctx0" brushRef="#br0" timeOffset="25896.03">12343 6257 0,'0'27'31,"0"-14"-31,-13 0 0,13 1 0,0 12 16,-14-13-16,14 14 0,-13-1 0,13 1 15,-13-1-15,0 1 0,13-1 16,-14-13-16,14 14 0,-13-14 0,13 0 16,-13 0-16,13 1 0,0-1 15,-13-13-15,26-13 32,0-14-32,-13 14 0,13-27 15,1 14-15,12-14 0,-13 14 16,1-14-16,-1 13 0,0 1 15,0 13-15,0 0 0,1-1 0,-1 1 16,0 13-16,0-13 0,1 26 16,-1 0-1,-26 1-15,13-1 16,-14 0-16,1 0 0,0 0 0,0 1 16,-1-1-16,1 0 0,0 0 15,0-13-15,13 14 0</inkml:trace>
  <inkml:trace contextRef="#ctx0" brushRef="#br0" timeOffset="26166.87">13401 6178 0,'-53'53'16,"40"-27"-16,0-12 16,0-1-16,-1 13 0,14 1 15,-13-14-15,0 13 0,0 1 0,13-14 16,-14 14-16,1-14 0,0 0 16,13 14-16,-13-14 0,13 0 15,0 0-15,-14-13 0,14 13 16,0 1-1</inkml:trace>
  <inkml:trace contextRef="#ctx0" brushRef="#br0" timeOffset="27395.99">13401 6204 0,'93'-13'31,"-80"13"-31,0 0 0,-13 13 16,13-13-16,-13 14 0,14-14 16,-14 13-16,-14 0 0,14 0 15,-13 1-15,0-1 0,0-13 16,13 13-16,-13 0 0,13 1 15,0-1-15,0 0 16,13 0-16,-13 0 0,13 1 0,0-14 16,-13 13-16,0 0 0,13 0 0,-13 1 15,0-1-15,-13-13 0,0 13 16,0 0-16,0 1 0,-14-1 0,1 0 16,-1 0-16,1 0 0,-1 1 0,1-14 15,-1 13-15,1-13 0,-1 13 16,1-13-16,-1 0 0</inkml:trace>
  <inkml:trace contextRef="#ctx0" brushRef="#br0" timeOffset="28094.82">9512 5741 0,'0'27'0,"13"-1"16,-13 14-16,0 13 0,0 13 15,0 13-15,0 14 0,0 39 16,0-13-16,0 27 0,0 0 0,0-1 0,0 14 16,-13 13-16,13 0 15,-13 0-15,-1 53 0,1 0 0,-13-54 16,-1 54-16,1 0 0,-14-13 0,14 13 16,-14-13-16,13-1 0,14-39 15,-13-13-15,13 13 0,-1 0 0,1-13 16,0-1-16,13-12 0,-13-1 0,13-12 15,-14-1-15,14-13 0,-13 0 0,13-40 16,0 1-16,-13-1 0,13 1 16,0-14-16,-13 0 0,13-26 0,-14-1 15,14 1-15,0-27 0,-13 14 0,13-14 16</inkml:trace>
  <inkml:trace contextRef="#ctx0" brushRef="#br0" timeOffset="30147.72">265 7580 0,'0'-13'16,"13"40"0,0-14-1,-13 13-15,0-13 0,13 14 16,-13-1-16,14 1 0,-14-1 16,0 1-16,0-1 0,0 1 0,13-14 15,-13 13-15,0-12 0,0-1 16,0 0-16,0 0 0,13-13 0</inkml:trace>
  <inkml:trace contextRef="#ctx0" brushRef="#br0" timeOffset="30456.98">450 7580 0,'0'-13'15,"0"53"16,13-40-31,-13 13 0,13 0 0,0 0 16,-13 1-16,14-1 0,-1 0 0,0 0 16,0-13-16,1 0 0,-1 14 15,0-14-15,0 0 0,1 0 0,-1-14 16,0 14-16,-13-13 0,13 13 16,-13-13-16,0 0 15,0-1-15,-13 1 0,13 0 0,-13 0 16,13 0-16,-13-1 0,-1 1 15,1 0-15,13 0 0,-13-1 0,0 14 0,-1-13 16,1 13 0,0 0-16,0 0 15</inkml:trace>
  <inkml:trace contextRef="#ctx0" brushRef="#br0" timeOffset="30855.46">622 7408 0,'13'14'0,"0"-1"0,-13 0 16,0 0-16,13 0 0,-13 14 15,14 13-15,-1-1 0,0 1 0,0 0 16,-13-1-16,14 1 0,-1 0 16,0-1-16,14-12 0,-14 13 15,-13-27-15,13 13 0,0-12 0,-13-1 16,13 0-16,-13 0 0,0 0 0,14-13 15,-28-26 17,1 13-32,13-14 0,-13 1 0,0-14 15,13 0-15,-13 14 0,13 0 16,0 12-16,0-12 0,13-1 0,-13 14 16,0 0-16,13 0 0,0-1 15,-13 1-15,13 13 0,1-13 16,-1 26-16,0-13 15,-13 13-15,0 1 0,0-1 16,0 0-16,-13 0 0,13 1 16,0-1-16,-13-13 0,-1 13 15,14 0-15,-13-13 0,13 14 0,-13-14 16</inkml:trace>
  <inkml:trace contextRef="#ctx0" brushRef="#br0" timeOffset="31220.08">1019 7541 0,'0'0'15,"-14"0"-15,1 13 16,0-13-16,13 13 0,-13 0 15,13 1-15,0-1 0,0 0 16,0 0 0,0 0-16,13-13 15,0 0-15,0 0 16,1 0-16,-14-13 16,13 13-16,0-13 15,0 13 1,1 0-1,-1 0 1,0 13 0,0-13-1</inkml:trace>
  <inkml:trace contextRef="#ctx0" brushRef="#br0" timeOffset="31659.58">1204 7355 0,'13'27'31,"-13"-14"-31,0 0 0,0 14 16,13-14-16,-13 0 0,0 14 16,0-14-16,0 13 0,0-12 0,0-1 15,0 0-15,0 0 0,0 1 16,0-1-16,0 0 0,0 0 0,-13-13 16,13 13-16,-26-26 31,26 0-16,13-13-15,-13 12 16,13 1-16,-13 0 0,13 0 16,1-1-16,-1 1 15,0 13-15,13 0 16,-12 13 0,-1-13-16,0 14 0,0-1 15,-13 0-15,14-13 16,-14 13-16,0 1 15</inkml:trace>
  <inkml:trace contextRef="#ctx0" brushRef="#br0" timeOffset="32074.82">1402 7527 0,'27'0'16,"-27"-13"-16,13 13 16,-13-13-16,13 0 0,-13-1 15,0 1-15,13 13 0,-13-13 16,0 0 0,0 39 15,14-13-31,-14 1 15,13-14-15,0 13 16,0-13-16,1 0 16,-1-13-16,0 13 15</inkml:trace>
  <inkml:trace contextRef="#ctx0" brushRef="#br0" timeOffset="32408.79">489 8176 0,'0'26'16,"0"1"-16,27-1 16,-27 0-16,13 1 15,-13-1-15,13-12 0,-13 12 0,14 1 16,-14-1-16,0-13 0,13 14 0,-13-14 15,0 0-15</inkml:trace>
  <inkml:trace contextRef="#ctx0" brushRef="#br0" timeOffset="32679.15">463 8414 0,'0'26'16,"13"40"0,0-52-16,-13-1 0,14 13 15,-1-13-15,-13 1 0,13-14 0,0 13 16,1 0-16,-1-13 0,0 0 16,0 0-16,1 0 15,-1-13-15,13 0 0,-13-1 16,1-12-16,-1 0 0,0 12 15,-13-12-15,13 13 0,-13-1 16,14 1-16,-14 0 0</inkml:trace>
  <inkml:trace contextRef="#ctx0" brushRef="#br0" timeOffset="35401.05">423 8877 0,'-13'-13'0,"26"26"0,-39-26 16,26 39 15,0-13-31,13 14 0,-13-1 16,13 1-16,1 12 0,-1-12 15,-13 12-15,13 1 0,0-13 0,0 12 16,-13-12-16,14-14 0,-14 13 0,0 1 15,13-14-15,-13 14 0,0-14 16,0 0-16,0 0 0,0 0 16,0 1-16,0-1 0,0 0 15,-13 0-15,-1-13 16,-12-13 0,13 13-16,0-13 15,13 0-15,-14-1 16,14 1-16,0 0 15,0 0-15,0 0 0,0-1 16,14 1-16,-14 0 0,13-14 0,0 14 16,0-13-16,0 13 0,-13-14 15,14 14-15,-1-14 0,0 14 0,-13 0 16,13-14-16,-13 14 0,14 0 0,-14 0 16,0 0-16,0-1 15,-14 1 1,1 26 15,13 1-31,0-1 0,0 0 16,13 0-16,-13 0 0,14 1 15,-1-1 1,-13 0-16,13-13 0,0 0 16,-13 13-16,14-13 0,-1 0 0,0 0 15,13 0-15,-26-13 16,14 13-16,-1 0 0</inkml:trace>
  <inkml:trace contextRef="#ctx0" brushRef="#br0" timeOffset="35835.78">728 8983 0,'0'0'0,"13"26"47,0-13-47,0 1 16,1-1-16,-14 0 16,13-13-16,-13 13 15,13-13-15,0 0 16,-13-13 15,0 0-31,0 0 16,0-1-16,0-12 15,0 13 1,0-1-16,13 14 16,-13-13-1,14 13 1,-1-13-1,0 13-15,-13-13 0,13 13 16,1 0-16,-14-14 0,13 14 16,0-13-16,0 13 0,-13-13 0,13 13 15,1-13-15</inkml:trace>
  <inkml:trace contextRef="#ctx0" brushRef="#br0" timeOffset="36315.72">992 8811 0,'-13'0'16,"0"0"-1,13 13-15,-14 0 16,14 0 0,0 1-16,14-14 15,-14 13-15,0 0 0,13 0 16,-13 0-16,13-13 0,-13 14 15,13-14-15,-13 13 16,14-13-16,-14 13 0,13-13 16,0-13 15,-13 0-15,13 13-16,-13-14 0,0 1 15,14 13-15,-14-13 16,13 13-1,0 0-15,0 0 16,-13 13 0,13-13-16,1 13 15,-1-26 17,-13 0-32,13 0 15,-13 0 1,0-54-1,0 54-15,0 0 16,0 0-16,13-1 0,-13 1 16,14 0-16</inkml:trace>
  <inkml:trace contextRef="#ctx0" brushRef="#br0" timeOffset="37315.98">5212 7236 0,'14'0'0,"-1"0"31,-40 14 1,14-14-32,0 13 15,0-13-15,-1 0 0,1 13 0,0-13 16,0 0-16,13 13 15,-14-13-15,14 13 0,0 1 16,14-1-16,-14 0 16,13-13-16,0 13 15,-13 1-15,13-1 0,-13 0 16,0 0-16,0 1 16,0-1-16,-13-13 15,13 13-15,-13 0 0,0-13 0,-1 13 16,1-13-16,0 0 0,0 14 0,0-14 15,-1 13-15,1-13 16,0 0-16,0 0 0,-1 0 0,1 0 16,13-13-16</inkml:trace>
  <inkml:trace contextRef="#ctx0" brushRef="#br0" timeOffset="37559.75">4736 7117 0,'-106'159'31,"106"-119"-31,-13-14 0,13 14 16,0-14-16,13 14 0,-13 0 16,13-14-16,1 14 0,-1-14 0,13 1 15,-12-1-15,12 1 0,0-14 0,-12 0 16,12 0-16,-13-13 0,14 14 15,-1-14-15,-12 0 0,12 0 0,0 0 16,-12-14-16,12 14 0,1-13 0,-1 13 16</inkml:trace>
  <inkml:trace contextRef="#ctx0" brushRef="#br0" timeOffset="37887.72">5173 7038 0,'185'93'31,"-159"-67"-31,1 0 0,-1 1 16,1-1-16,-14 1 0,13 12 0,-12-12 16,-1-1-16,-13 14 0,0-27 15,0 14-15,0 12 0,-13-12 0,-1 13 16,-12-1-16,-1 1 0,1 0 0,-14-1 16,1 1-16,-1-13 15,0 12-15,14-12 0,-1-14 0,1 13 0,-1-26 16</inkml:trace>
  <inkml:trace contextRef="#ctx0" brushRef="#br0" timeOffset="38763.97">12343 7025 0,'13'-14'0,"13"1"31,-52 13-15,13 0 0,0 13-16,-1-13 0,-12 0 15,13 14-15,-1-14 0,1 13 16,0-13-16,0 13 16,26 0-1,-13 1-15,13-14 16,0 13-16,1 0 0,-1-13 15,-13 13-15,13-13 0,0 0 0,-13 14 16,14-1-16,-28 0 16,14 0-16,-13 0 15,0-13-15,0 14 0,-1-1 0,1-13 16,-13 13-16,-1-13 0,1 13 16,13-13-16,-14 0 0,14 0 15,0 0-15,-1 0 0,1 0 0,0 0 0</inkml:trace>
  <inkml:trace contextRef="#ctx0" brushRef="#br0" timeOffset="38999.75">11946 6879 0,'-27'27'0,"14"-14"16,0-13-16,-27 159 31,40-133-31,0-13 0,0 14 0,14 12 16,-1-12-16,0-1 0,0 1 15,14-1-15,-1-13 0,-13 1 0,14-1 16,-1-13-16,-12 13 0,12-13 16,0 0-16,1 0 0,-1-13 0,1 13 15,-1-13-15</inkml:trace>
  <inkml:trace contextRef="#ctx0" brushRef="#br0" timeOffset="39258.96">12462 6694 0,'40'26'16,"-27"1"-16,13-14 15,1 27-15,12-14 0,-12 14 16,13 0-16,-14-1 0,0 1 0,-12 0 16,12-1-16,-26 1 0,13 0 0,-13-1 15,0 1-15,-13 0 0,0-1 16,-14 14-16,14-26 0,-13 26 0,-1-27 16,1 1-16,-1-1 0,1 1 0,-1-1 15,1 1-15,13-14 16</inkml:trace>
  <inkml:trace contextRef="#ctx0" brushRef="#br0" timeOffset="41367.3">4974 8109 0,'-13'27'16,"13"-14"-16,-13 14 0,13-1 0,-14 14 15,14-14-15,-13 14 0,0 0 16,0 13-16,0-14 0,-1 1 0,-12 66 16,13-80-16,-1-13 15,14 14-15,-13-14 0,13 0 16,0 1-16,0-1 0,-13-13 0,13 13 16</inkml:trace>
  <inkml:trace contextRef="#ctx0" brushRef="#br0" timeOffset="41659.3">4948 8083 0,'-14'0'16,"1"0"0,0 13-16,0 0 0,13 1 15,-13-1-15,-1 0 0,1 14 0,0-1 16,0 1-16,-1-1 0,1 0 16,0 1-16,0-14 0,13 0 15,-14 14-15,1-14 0,13 0 0,-13 1 16,13-1-16,0 0 0,-13-13 15</inkml:trace>
  <inkml:trace contextRef="#ctx0" brushRef="#br0" timeOffset="41906.85">4842 8136 0,'79'26'16,"-52"-12"0,-14-14-16,13 13 0,-12 0 0,12 0 15,1 1-15,-14-14 0,13 13 16,-13 0-16,1 0 0,12-13 0,-13 13 16,1 1-16,-1-14 0,0 0 15,-13 13-15,13-13 0,1 13 16,-1-13-1</inkml:trace>
  <inkml:trace contextRef="#ctx0" brushRef="#br0" timeOffset="43088.75">4524 9327 0,'-13'26'16,"0"-26"-16,13 13 15,0 0-15,-13 1 0,13-1 0,0 0 16,0 0-16,0 14 0,-14-14 16,14 0-16,0 1 0,0-1 0,0 0 15,0 0-15,0 0 16,14-39 15,-14 13-31,0-14 0,13 14 16,-13-13-16,0 12 15,13-12-15,-13 13 0,13-14 0,-13 14 16,14 0-16,-1 0 0,-13-1 0,13 14 16,0-13-16,1 13 15,-1 0-15,0 0 0,0 13 16,0 1-16,-13-1 0,14 0 16,-1 0-16,-13 0 15,0 1-15,0-1 0,13 0 0,-13 0 16,0 1-1,0-41 17,13 14-32,-13 0 15,14-1-15,-14 1 0,13 0 0,0 13 16,0-13-16,0 0 0,1 13 16,-1-14-16,0 14 0,0 14 15,1-14-15,-1 13 0,0 0 16,-13 0-16,13 0 0,-13 1 15,0-1-15,14 0 0,-14 0 0,0 1 16,0-1-16,0 0 0,0 0 16,13 1-16,0-14 15</inkml:trace>
  <inkml:trace contextRef="#ctx0" brushRef="#br0" timeOffset="43427.13">5054 9485 0,'39'-39'31,"-39"25"-31,0 1 16,13 0-16,-13 0 0,0-1 15,0 1-15,0 0 16,-26 13 15,26 13-31,-13-13 0,13 13 0,-13 1 16,13-1-16,-14-13 0,14 13 16,0 0-16,0 1 0,0-1 15,14 0-15,-1 0 0,13-13 16,-13 0-16,1 0 15,-1 0-15,0 0 0,0 0 16,14-13-16,-14 13 0</inkml:trace>
  <inkml:trace contextRef="#ctx0" brushRef="#br0" timeOffset="43999.85">5490 9340 0,'-53'0'31,"40"13"-31,0 0 16,0-13-16,13 13 0,-14 1 15,14-1-15,-13 0 0,13 0 0,-13 1 16,13-1-16,0 0 16,0 0-16,13-13 0,-13 14 0,13-1 15,1-13-15,12 0 16,-13 0-1,0-13-15,1 13 16,-1-14-16,13-39 16,-12 40-16,-14 0 0,13-14 15,-13 14-15,13 0 0,-13-13 0,0 12 16,0-12-16,0 13 0,13-14 0,-13 14 16,0 0-16,0 0 0,0-1 15,0 1-15,0 0 16,-13 39 15,13-12-31,0-1 16,0 0-16,13 0 0,-13 0 0,0 1 15,13 12-15,-13-13 0,14 1 0,-14-1 16,13 0-16,0 0 0,-13 0 16,13 1-16,1-14 0,-1 0 15,0 0-15,0 0 0,1 0 16,-1 0-16,0 0 15,0 0-15,0 0 16,1 0-16,-14 13 16,13 0-16,-13 0 15,13 1 1</inkml:trace>
  <inkml:trace contextRef="#ctx0" brushRef="#br0" timeOffset="44547.93">6112 9274 0,'0'0'15,"-13"0"-15,-1 13 0,1-13 0,13 13 16,-13-13-16,0 13 0,-1 1 16,14-1-16,0 0 0,0 0 15,0 0-15,0 1 16,14-14-16,-1 0 0,-13 13 15,13-13-15,0 0 0,1 0 0,-1 0 16,0-13-16,0 13 16,1 0-16,-1 0 0,0 0 15,0 0-15,0 0 0,1 0 16,-1 0-16,-13 13 16,13-13-16,0 13 0,1 0 15,-1 1 1,0-14-16,0 13 15</inkml:trace>
  <inkml:trace contextRef="#ctx0" brushRef="#br0" timeOffset="44687.7">6324 9234 0,'0'0'0,"-14"0"0,1 13 32</inkml:trace>
  <inkml:trace contextRef="#ctx0" brushRef="#br0" timeOffset="45131.75">6443 9327 0,'13'39'31,"0"-26"-31,-13 1 16,13-1-1,1-13 16,-1-13-15,0 13 0,0 0-1,0 0-15,1 0 0,-1-14 16,0 14-16,14-13 16,-14 0-16,0 0 15,0 13-15,1-13 0,-1-1 16,0 14-1,-26 14 17,13-1-17,0 0-15,0 0 32,13-13-17,0 0-15</inkml:trace>
  <inkml:trace contextRef="#ctx0" brushRef="#br0" timeOffset="47231.77">12343 7792 0,'0'0'0,"-13"26"31,13-12-31,-14-1 0,14 13 16,0-12-16,0 12 0,-13 1 0,13 12 15,-13 1-15,13-14 0,0 14 16,-13-27-16,13 14 0,0-1 16,-14 1-16,14-14 0,0 13 0,-13-12 15,13-1-15,0 0 0,0 0 16,-13 0-16</inkml:trace>
  <inkml:trace contextRef="#ctx0" brushRef="#br0" timeOffset="47459.85">12382 7805 0,'-79'80'46,"53"-67"-46,-14 40 16,27-40-16,-14 13 0,14-12 0,0 12 16,0-13-16,-1 1 0,1-1 0,0-13 15,13 13-15,-13 0 0</inkml:trace>
  <inkml:trace contextRef="#ctx0" brushRef="#br0" timeOffset="47655.78">12343 7766 0,'0'39'0,"26"27"16,-13-39 0,-13-14-16,14 0 0,-14 14 0,13-14 15,0 0-15,-13 0 0,13 1 0,1-1 16,-14 0-16,13 0 0,0 1 15,0-14-15</inkml:trace>
  <inkml:trace contextRef="#ctx0" brushRef="#br0" timeOffset="48308.27">11906 9168 0,'0'-13'0,"0"26"0,-13 0 32,0 0-32,13 1 0,0 12 15,-13-13-15,13 14 0,-14-1 0,14 1 16,-13-1-16,13 0 0,0 1 15,-13-1-15,13-12 0,0-1 0,0 13 16,0-12-16,0-1 0,0 0 16</inkml:trace>
  <inkml:trace contextRef="#ctx0" brushRef="#br0" timeOffset="48575.12">11880 9102 0,'13'-27'0,"-26"54"0,39-54 0,-13 27 16,1 13-16,-1-13 16,0 14-16,0-1 0,-13 0 0,0 0 15,0 1-15,14 12 0,-28-13 16,14 14-16,-13-14 0,13 13 0,-13 1 15,0-14-15,-1 0 0,1 14 0,0-14 16,13 0-16,-13-13 0,0 13 16,-1 1-16</inkml:trace>
  <inkml:trace contextRef="#ctx0" brushRef="#br0" timeOffset="48779.18">12105 8996 0,'0'92'31,"0"-65"-31,-14-1 16,14 14-16,-13 0 0,13-14 0,-13 14 0,13-14 15,0 1-15,-13-1 0,13 1 0,0-1 16,0-13-16,0 1 15,0-1-15</inkml:trace>
  <inkml:trace contextRef="#ctx0" brushRef="#br0" timeOffset="49175.86">12303 9300 0,'-26'-13'15,"52"26"-15,-66-26 0,27 13 16,0 0-16,0 13 16,0 0-16,-1 1 0,1-1 15,0 0-15,13 0 0,-13 0 16,-1 1-16,14-1 0,0 0 0,0 0 16,0 1-16,14-14 0,-14 13 15,13-13-15,0 0 0,14 0 16,-14-13-16,0-1 15,0 14-15,0-13 0,1 0 0,-14 0 16,13-1-16,0 1 0,0 0 16,-13 0-1,14 13-15,-14 13 32,0 0-32,0 0 15,0 1-15,0-1 0,13 0 16,-13 0-16,0 1 0,13-1 15,0 0-15,0-13 16,1 0-16</inkml:trace>
  <inkml:trace contextRef="#ctx0" brushRef="#br0" timeOffset="49577.03">12660 9274 0,'0'0'0,"-13"-14"0,-27 28 32,27-1-32,0-13 0,13 13 15,-13 0-15,-1 1 0,14 12 0,-13-13 16,13 0-16,-13 1 0,13 12 16,0-13-16,0 1 0,0-1 0,0 0 15,13-13-15,-13 13 0,13 1 0,1-14 16,-1 13-16,0-13 0,0 0 15,1 0-15,-1 0 0,0 0 0,0-13 16,14 13-16,-14-14 0,0 1 16,0 13-16,1-13 0,-1 0 15,-13-1-15,13 1 0,0 0 16,-39 26 15,26 0-31,-13 1 16,13-1-16,-14 0 0,14 0 15,0 1-15,0-1 0,0 0 16,14 0-16,-1-13 16,0 0-16</inkml:trace>
  <inkml:trace contextRef="#ctx0" brushRef="#br0" timeOffset="49979.67">13110 9075 0,'0'0'0,"-26"13"0,26 1 16,-14-1-16,14 0 0,0 0 0,-13 1 16,13 12-16,-13-13 0,13 14 15,0-1-15,0 1 0,-13-1 16,13 1-16,0-14 0,0 13 0,0-13 15,0 1-15,0-1 0,13 0 16,-13 0 0,26-26-16,-12 13 15,-14-13-15,13 13 0,0-13 0,0 13 16,1-14-16,-1 14 16,0 0-16,0 0 0,0 0 15,1 0-15,-14 14 0,13-14 0,-13 13 16,0 0-16,0 0 15,-13 1-15,13-1 0,-14 0 0,1 0 16,0 1-16,0-1 16,0 0-16,-1 0 15,1-13-15,26-26 16,-13 13 0</inkml:trace>
  <inkml:trace contextRef="#ctx0" brushRef="#br0" timeOffset="50250.93">13388 9234 0,'-27'40'15,"27"-27"1,0 0-16,0 0 0,0 1 0,0-1 16,0 0-16,0 0 0,14 0 0,-1 1 15,0-14-15,0 13 16,1-13-16,-1-13 0,13 13 15,-12-14-15,-1 14 0,-13-13 0,13 0 16,0 0-16,-13 0 0,0-1 16,0 1-16,-13 0 0,13 0 0,-13-1 15,0 1-15,-1 0 0,-12 0 0,13 13 16,-14-13-16,14 13 0,-14-14 0,1 14 16,0 0-16,12 0 0,-12 0 15,-1 0-15</inkml:trace>
  <inkml:trace contextRef="#ctx0" brushRef="#br0" timeOffset="51541.06">6006 6773 0,'26'0'16,"-12"0"-1,-1 0-15,13 0 0,-12 0 0,12 0 16,1 0-16,-14 0 0,13 0 0,1 0 16,-1 0-16,-13 0 0,14 0 15,-1 0-15,-12 14 0,-1-14 0,0 0 16,0 0-16,0 13 0</inkml:trace>
  <inkml:trace contextRef="#ctx0" brushRef="#br0" timeOffset="52387.25">5900 6853 0,'40'0'15,"-27"0"-15,0 0 0,1 0 16,-1 0-16,13 0 0,1-14 16,-14 14-16,13 0 0,1 0 0,-14 0 15,14 0-15,-1 0 0,-13 0 16,14 0-16,-14 0 0,0 0 0,0 0 16,1 0-16,-1 0 0,0 0 15,0 0-15,1 0 0,-1 0 16,0-13-16,0 13 15,0 0 1,1 0 0,-1 0 46,0 0 313,-39 13-250,12-13-125,1 0 0</inkml:trace>
  <inkml:trace contextRef="#ctx0" brushRef="#br0" timeOffset="54259.68">13322 6720 0,'79'-26'31,"-66"26"-31,1 0 0,12 0 0,-13 0 16,1 0-16,-1 0 0,0 0 0,0 0 16,0 0-16,1 0 0,-1 0 15,0 0-15</inkml:trace>
  <inkml:trace contextRef="#ctx0" brushRef="#br0" timeOffset="54499.96">13375 6760 0,'39'0'31,"-12"0"-31,-14 0 0,0 0 15,1-13-15,-1 13 0,0 0 0,13 0 16,-12 0-16,-1 0 0,0 0 16,0 0-16,1 0 15,-1 0-15,0 0 0,0 0 16,0 0-16,-13 13 16</inkml:trace>
  <inkml:trace contextRef="#ctx0" brushRef="#br0" timeOffset="58138.38">10425 12158 0,'0'39'15,"0"-12"-15,-14-14 16,14 13-16,0 1 0,0-14 0,-13 14 16,13-1-16,0 0 0,0-12 0,0 12 15,0-13-15,0 14 0,-13-14 16,13 0-16,0 1 0,0-1 0,0 0 15,0 0-15,0-52 47,13 12-47,-13 1 0,0-14 0,13 0 16,-13 1-16,14-1 0,-1 0 16,-13 14-16,13-14 0,0 27 0,1-14 15,12 1-15,-26 13 0,13 13 16,0 0-16,14 0 15,-27 13-15,13 0 0,-13 14 16,13-1-16,-13-13 0,14 14 0,-14-1 16,0 1-16,0-1 0,0 1 15,0-1-15,0 0 0,0-12 0,0 12 16,0-13-16,0 1 0,0-1 16,0 0-16,0 0 0,0 1 15,0-1-15</inkml:trace>
  <inkml:trace contextRef="#ctx0" brushRef="#br0" timeOffset="58347.92">10425 12422 0,'26'0'46,"-13"0"-46,1 0 0,-1 0 16,0 13-16,13-13 0,1 0 16,-14 0-16,14 0 0,-14 0 0,13 0 15,1 0-15,-14 0 0,13 0 16,-12 0-16</inkml:trace>
  <inkml:trace contextRef="#ctx0" brushRef="#br0" timeOffset="58590.47">10980 12303 0,'0'0'0,"27"13"31,-14-13-31,0 0 16,0 0-16,1 0 0,-1 0 16,0 14-16,13-14 15,-12-14-15,-1 14 0,0 0 0,0 0 16</inkml:trace>
  <inkml:trace contextRef="#ctx0" brushRef="#br0" timeOffset="58868.18">11099 12144 0,'13'14'32,"1"-1"-32,-1 0 0,0 0 15,0-13-15,-13 14 0,14-1 16,-1 0-16,0 13 0,0-12 15,1-1-15,-1 13 0,0-12 0,-13-1 16,13 0-16,-13 0 0,0 14 0,0-14 16,-13 0-16,13 0 0,-13 14 15,0-14-15,-1 14 0,1-14 16,0 0-16,13 0 0,-13-13 16</inkml:trace>
  <inkml:trace contextRef="#ctx0" brushRef="#br0" timeOffset="59643.11">12091 12105 0,'0'26'31,"0"-13"-31,0 1 0,-13-1 0,13 0 16,0 0-16,0 1 0,0-1 16,-13 0-16,13 0 0,0 0 15,0 1-15,0-1 0,0 0 16,0 0-16,0-39 31,13 13-31,-13-1 16,0 1-16,13 0 0,1-13 0,-14 12 15,13 1-15,-13 0 0,13 0 16,0-1-16,-13 1 0,14 13 0,-1-13 16,0 13-16,0 0 15,1 0-15,-1 13 16,0 0-16,0 1 0,-13-1 15,13 0-15,-13 0 0,0 1 16,0-1 0,0 0-1,0-39 17,14 12-32,-14 1 0,0 0 15,13 0-15,0-1 0,0 1 16,1 13-16,-14-13 0,13 13 15,0 0-15,0 0 0,0 13 16,1-13-16,-14 13 0,13-13 16,-13 14-16,0-1 0,0 0 15,13 0-15,-13 1 0,0-1 16,13-13-16,-13 13 0,0 0 16,14 0-16,-1-13 15,0 0 1,0 0-16,1 0 0</inkml:trace>
  <inkml:trace contextRef="#ctx0" brushRef="#br0" timeOffset="59967.03">12594 12303 0,'0'0'0,"13"-26"16,1 26-16,-14-14 0,13 14 16,-13-13-16,13 0 0,0 0 0,-13 0 15,14-1-15,-14 1 16,0 0 0,0 0-1,-27 26 1,27 0-16,-13-13 0,13 13 0,-13 1 15,13-1-15,0 0 0,13-13 16,-13 13-16,13-13 0,-13 13 16,13 1-16,1-14 0,12 13 15,-13-13-15,14 0 0,-14 0 0,0 0 16,14 0-16</inkml:trace>
  <inkml:trace contextRef="#ctx0" brushRef="#br0" timeOffset="60687.87">13018 12158 0,'0'-14'0,"0"28"0,-14-28 0,1 14 16,0 0-16,0 0 15,-1 14-15,1-1 16,0 0-16,0 0 15,-1 1-15,1-1 0,13 0 0,-13 0 16,13 0-16,-13 1 0,13-1 0,0 0 16,0 0-16,13 1 15,0-1-15,0-13 16,1 0-16,-1-13 16,0 13-16,0-14 0,1 1 0,-1 13 15,0-26-15,0 12 0,1-12 16,-1 0-16,0-1 0,0 1 0,-13-1 15,13 1-15,-13 12 0,14-12 0,-14 13 16,0-14-16,13 14 0,-13 0 16,0 0-16,0-1 0,0 1 15,-13 40 1,-1-14 0,14 0-16,0 14 0,-13-14 15,13 0-15,0 13 0,0-12 0,0-1 16,0 0-16,0 14 0,0-14 15,0 0-15,13 0 0,-13 1 0,14-1 16,-1-13-16,0 13 0,0-13 16,1 0-16,-1 0 15,0 0-15,0 0 0,0 0 16,1 0-16,-1 0 16,-13 13-16,13-13 0,-13 13 15,13-13-15,-13 14 0,0-1 16,14 0-16,-14 0 15</inkml:trace>
  <inkml:trace contextRef="#ctx0" brushRef="#br0" timeOffset="60811.93">13348 12118 0,'0'-13'0,"0"26"15,0-40-15,-13 14 31</inkml:trace>
  <inkml:trace contextRef="#ctx0" brushRef="#br0" timeOffset="61271.08">13388 12184 0,'13'27'16,"-13"-14"-16,-13-13 16,13 13-16,0 0 0,0 0 15,13-13-15,-13 14 16,13-14-16,1 0 0,-1-14 16,0 14-16,0 0 15,1-13-15,-1 13 16,0-13-16,0 13 15,0 0 1,1 13 0,-14 0-16,26 40 47</inkml:trace>
  <inkml:trace contextRef="#ctx0" brushRef="#br0" timeOffset="61348.88">13613 12158 0,'-27'-27'31</inkml:trace>
  <inkml:trace contextRef="#ctx0" brushRef="#br0" timeOffset="61755.01">13666 12250 0,'0'13'16,"0"-26"-16,0 40 15,0-14 32,13-13-16,0 0-31,0 0 16,1-13 0,-1 13-16,0 0 15,0-14-15,1 1 0,-1 13 16,0-13-16,0 13 15,-13-13-15,13 13 0,-13 13 47,0 0-47,0 0 16,14 1-16,-1-14 16,0 0-16,0 0 15,1 0-15</inkml:trace>
  <inkml:trace contextRef="#ctx0" brushRef="#br0" timeOffset="62436.94">14459 12118 0,'0'-13'15,"-26"26"1,13 0-16,0 0 15,13 1 1,0-1-16,0 13 16,0-12-16,13-14 15,-13 13-15,13-13 16,0 0 0,0 0-16,1 0 15,-1 0-15,-13-13 0,13-1 16,-13 1-16,0 0 0,0 0 15,0-1-15,0 1 0,0 0 16,-13 13-16,13-13 16,0-1-16,0 1 15,13 13 17,0 0-32,1 13 15,-1-13-15,0 14 16,0-1-16,-13 0 15,14-13-15,-1 13 0,-13 1 0,13-1 16,-13 0-16,0 0 16,0 1-16,0-1 15,13-26 32,0 13-47,-13-14 16,14 14-16,-14-13 0,13 0 15,0 13-15,0-13 0,1-1 16,-1 14-16,0-13 0,0 13 16</inkml:trace>
  <inkml:trace contextRef="#ctx0" brushRef="#br0" timeOffset="62927.63">15174 11919 0,'0'40'16,"0"-27"-1,0 1-15,0-1 0,0 0 0,0 0 16,0 1-16,0-1 0,0 0 0,0 0 16,-13 0-16,13 1 0,0-1 15,-14-13-15,14 13 0,-13-26 32,13 0-32,0-1 15,0-12-15,13 13 16,1-27-16,-1 14 0,0-1 15,14 1-15,-14-1 0,13 14 0,-13 0 16,1 0-16,-1-1 0,0 14 16,0 0-16,1 14 15,-14-1-15,0 0 16,-14 0-16,14 0 0,-13 14 0,0-14 16,0 0-16,-1 14 0,1-14 15,0 0-15,0 1 0,0-1 0,-1 0 16,1-13-16,13 13 0,13-13 31</inkml:trace>
  <inkml:trace contextRef="#ctx0" brushRef="#br0" timeOffset="63115.68">15558 11748 0,'0'-14'0,"-14"94"31,14-54-31,-13 1 16,13-1-16,-13 0 0,0 14 16,-1-13-16,14 12 0,-13-25 15,13 12-15,0 0 0,0 1 0,-13-1 16,13-12-16,0-1 0,0 0 16,13 0-16,-13 1 0,0-1 0</inkml:trace>
  <inkml:trace contextRef="#ctx0" brushRef="#br0" timeOffset="64311.06">15743 12039 0,'-14'0'0,"28"0"0,-41-14 16,14 28-16,0-14 15,0 0-15,13 13 0,-14-13 0,1 13 16,13 0-16,-13-13 0,13 13 0,-13 1 16,13-1-16,0 0 15,13 0 1,0-13-1,0 0-15,1-13 16,-1 13-16,-13-13 0,13 13 16,0-13-16,0 13 15,-13 13 17,14 0-32,-14 0 15,13 1 1,0-1-16,0-13 15,1 0-15,-1 0 16,0 0-16,0 0 0,1 0 0,-1 0 16,0 0-16,0-13 0,0 13 0,1-14 15,-1 1-15,0 13 0,-13-13 16,13 13-16,-13-13 0,-26 13 47,26 13-47,-13-13 15,13 13-15,-14 0 16,14 14-16,14-27 16,-14 13-16,13 0 0,0-13 15,0 0-15,1 14 0,-1-14 16,0 0-16,0 0 0,1-14 16,-1 14-16,0 0 0,0-13 0,0 13 15,1-13-15,-1 0 16,0-1-16,-13 1 0,13 0 0,-13 0 15,14-1-15,-14-12 0,0 13 16,13 0-16,-13-14 0,0 14 16,13 0-16,-13-1 0,0 1 0,0 0 15,0 0-15,13 13 0,-13-14 0,0 1 16,0 0 0,-26 39-1,26-12 1,-13-1-16,13 0 15,-14 0-15,14 1 0,-13 12 0,13-13 16,-13 1-16,13-1 0,0 13 0,-13-13 16,13 1-16,0-1 0,0 0 15,0 0-15,0 1 0,-14-1 16,28 0 0,12-26 15,-13 13-16,1 0-15,-14-13 0,13 13 16,0 0 0,0 13-16,0-13 15,-13 13-15,0 0 16,-13 1 0,0-1-16,0-13 15,0 13-15,-1-13 0,1 13 16,0-13-1,26-26 1,0 13 0</inkml:trace>
  <inkml:trace contextRef="#ctx0" brushRef="#br0" timeOffset="64551.94">16298 12105 0,'14'13'31,"-14"0"-31,0 0 15,13 1 1,0-1 0,0-13-16,14-13 15,-14-1 1,0 1-16,-13 0 16,0 0-16,0-1 15,-13 14-15,0-13 16,-1 13-16,1 0 0,0 0 15,0 13-15,-14-13 0,1 0 0,-14 14 16,0-1-16</inkml:trace>
  <inkml:trace contextRef="#ctx0" brushRef="#br0" timeOffset="65123.68">10372 13176 0,'0'-13'0,"0"39"16,0-12-1,0-1-15,-14 0 0,14 14 16,0-14-16,0 0 0,0 14 0,0-14 16,0 0-16,0 13 0,0-12 0,0-1 15,0 0-15,0 0 0,0 1 16,14-1-16,-14 0 0,0 0 16,0 1-16</inkml:trace>
  <inkml:trace contextRef="#ctx0" brushRef="#br0" timeOffset="65706.97">10385 13282 0,'0'-13'0,"13"-40"31,0 53-31,-13-13 0,14 13 16,-1 0-16,0 0 15,0 0-15,1 13 16,-1 0 0,-13 0-16,0 1 0,0-1 15,0 0 1,0 0-16,0 1 16,0-1-16,0 0 0,0 0 0,0 0 15,0 1-15,-13-1 0,-1 0 0,14 0 16,-13 1-16,0-1 0,0 0 15,13 0-15,-14 1 0,1-1 0,0-13 16,0 13-16,-1 0 0,1-13 16,0 13-1</inkml:trace>
  <inkml:trace contextRef="#ctx0" brushRef="#br0" timeOffset="66102.86">11179 13309 0,'13'-14'15,"0"14"1,0 0-16,1 0 0,-1 0 16,0 0-16,0 0 0,0-13 0,1 13 15,-1 0-15,0 0 0,0 0 16,1-13-16,-1 13 16</inkml:trace>
  <inkml:trace contextRef="#ctx0" brushRef="#br0" timeOffset="66368.08">11351 13110 0,'53'13'31,"-40"1"-15,0-14-16,13 13 0,-12 0 0,-1 0 15,13 0-15,-12 1 0,-1-1 0,0 0 16,0 0-16,-13 1 0,14-1 16,-14 0-16,0 0 0,0 1 0,0-1 15,0 0-15,-14 0 0,14 0 0,0 1 16,0-1-16</inkml:trace>
  <inkml:trace contextRef="#ctx0" brushRef="#br0" timeOffset="67094.67">12687 13176 0,'0'27'16,"0"-14"0,0 0-16,0 0 0,0 1 15,0-1-15,0 0 16,0 0-16,0 1 15,13-14-15,0-14 32,0 14-32,1-13 15,-14 0-15,13 13 0,0-13 16,0 13-16,-13-14 16,14 14-16,-1 0 0,0 0 15,0 14-15,1-1 16,-14 0-16,13-13 15,-13 13 1,0 1-16,13-1 16,0-40 15,0 27-15,-13-13-16,14 0 0,-1 13 15,-13-13-15,13 13 0,0-14 16,1 14-16,-1 14 15,0-14-15,0 13 16,1-13-16,-14 13 16,13-13-16,-13 13 0,13-13 0,0 14 15,0-14-15,-13 13 0,14-13 16</inkml:trace>
  <inkml:trace contextRef="#ctx0" brushRef="#br0" timeOffset="67379.69">13229 13335 0,'0'-26'16,"0"12"-16,0 1 15,13 0-15,-26 0 16,-13 26 15,12 0-15,14 0-16,-13 1 15,13-1-15,0 0 16,0 0-16,13-13 0,-13 13 0,14-13 16,-1 0-16,0 14 0,0-14 15,1 0-15,12 0 0</inkml:trace>
  <inkml:trace contextRef="#ctx0" brushRef="#br0" timeOffset="68052.87">13666 13203 0,'-14'-14'15,"28"28"-15,-28-41 0,1 27 16,0 0-1,0 13-15,0 1 0,-1-14 16,14 13-16,-13 0 0,0 0 16,13 1-16,-13-1 0,13 0 0,-14 0 15,14 1-15,0-1 0,-13 0 0,26-13 16,-13 13-16,0 0 16,14-13-16,-1 14 15,0-28-15,14 14 16,-14-13-16,0 0 15,-13 0-15,13 0 0,0-1 0,-13 1 16,14 0-16,-1-14 0,-13 1 0,0 13 16,13-1-16,-13-12 0,13 13 15,-13 0-15,0-1 0,0 1 0,0 0 16,14 0-16,-14-1 16,-14 41 15,14-14-31,0 14 0,-13-14 0,13 0 15,0 13-15,0-12 0,0 12 16,0-13-16,0 14 0,13-14 0,-13 0 16,0 1-16,0-1 15,14-13-15,-14 13 0,13-13 0,0 0 16,0 0-16,1 0 16,-1 0-16,0 0 0,0 0 15,0 0-15,-13 13 31,14 0-31,-14 1 16</inkml:trace>
  <inkml:trace contextRef="#ctx0" brushRef="#br0" timeOffset="68169.77">13944 13176 0,'-14'-13'16</inkml:trace>
  <inkml:trace contextRef="#ctx0" brushRef="#br0" timeOffset="68824.53">14116 13216 0,'-14'13'16,"14"0"-16,-13 1 0,13-1 15,0 0-15,0 0 0,0 1 16,0-1-16,13-13 16,-13 13-16,14-13 15,-1 0-15,0 0 16,0-13-16,0 13 0,1 0 16,-1-13-16,0 13 15,0 0-15,1 0 16,-14 13-1,13 0-15,-13 0 16,0 0-16,0 1 16</inkml:trace>
  <inkml:trace contextRef="#ctx0" brushRef="#br0" timeOffset="69357.83">14367 13295 0,'0'14'0,"0"-1"31,0 0-31,13-13 0,0 0 16,1 0 15,-1 0 0,0 0-15,0-13-16,0 13 16,1-13-16,-1 13 15,0 0 1,0 0-1,-13 13 1,0 0-16,0 0 16,0 0-1,14 1 1,-1-14-16,0 0 16</inkml:trace>
  <inkml:trace contextRef="#ctx0" brushRef="#br0" timeOffset="70209.1">15042 13176 0,'0'-13'15,"-14"13"1,1 0-1,0 0 1,0 13 31,-1-13-31,1 0 30,0 0-30,13 13 0,0 1-16,0-1 15,0 0-15,0 0 16,0 1-16,0-1 0,0 0 16,13 0-16,-13 1 15,13-14-15,-13 13 0,14-13 0,-1 13 16,0-13-1,0 0 1,1-13-16,-1 0 16,-13-1-16,0 1 15,-13 0-15,13 0 16,0-1 0,0 1-1,26 13 16,-13 13-31,0 1 16,1-14-16,-14 13 0,13-13 16,-13 13-16,13-13 0,-13 13 0,13 1 15,1-1 17,-14-26-1,13-1-31,-13 1 0,13 13 15,-13-13-15,13 0 0,1-1 16,-1 1-16,0 0 0,0 0 16,0-1-16,1 14 0,12-13 0,-13 13 15,14-13-15</inkml:trace>
  <inkml:trace contextRef="#ctx0" brushRef="#br0" timeOffset="70770.13">16219 13057 0,'0'40'15,"0"-80"-15,-13 93 0,13-40 0,0 1 0,0 12 16,-14-13-16,14 14 0,0-1 16,-13 1-16,13-1 0,0 1 0,0-1 15,0 0-15,0 1 0,0-1 0,0-12 16,0 12-16,0-13 0,0 1 15,0-1-15,0 0 0,0 0 0,0 0 16,-13-13-16,13-26 31,0 13-31,0-14 0,0 1 16,0-1-16,13-12 0,-13-1 16,13 0-16,1 1 0,-1 12 15,0-13-15,0 27 0,-13 0 0,14 0 16,-1 0-16,-13-1 0,13 1 0,0 13 15,1 13 1,-14 1-16,0-1 16,0 0-16,-14 0 0,14 14 0,-13-14 15,0 0-15,0 14 0,-1-14 16,14 0-16,-13 0 0,0 1 0,0-1 16,-1 0-16</inkml:trace>
  <inkml:trace contextRef="#ctx0" brushRef="#br0" timeOffset="70972.11">16470 12991 0,'14'-13'16,"-28"26"-16,28 0 31,-14 1-31,-14-1 0,14 0 0,0 0 16,-13 14-16,13-14 0,0 13 15,-13 1-15,13-1 0,-13-13 16,13 1-16,0 12 0,0-13 0,-14 1 16,14-1-16,0 0 0,14 0 15,-14 1-15,13-14 0,0 13 16,0 0-16</inkml:trace>
  <inkml:trace contextRef="#ctx0" brushRef="#br0" timeOffset="71800.73">16775 13216 0,'0'-13'0,"-14"13"16,1 0-16,0 0 15,0 13-15,-1-13 0,1 13 16,0 0-16,0 1 0,0-1 16,13 0-16,-14 0 15,14 1 1,14-1-1,-1-13-15,0-13 16,0 13-16,-13-14 0,13 1 16,1 0-16,-1 13 0,-13-13 0,26-14 15,-26 14-15,14 0 16,-14-1-16,13 14 16,-13 14 15,0-1-31,0 0 15,0 0-15,0 1 16,13-14-16,-13 13 0,13-13 16,1 13-16,-1-13 15,0 0-15,13 0 16,-12 0-16,-1-13 0,0 13 16,0-13-16,1-1 15,-14 1-15,13 13 16,-13-13-16,-13 26 47,13 0-32,-14 1 1,28-1 0,-14 0-16,13-13 15,0 0 1,0 0-16,0 0 15,1-13-15,-1 13 0,-13-13 0,13 13 16,0-14-16,-13 1 16,14 13-16,-14-13 0,13 13 15,-13 26 17,0-12-32,0-1 15,0 0-15,13-13 16,-13 13-16,13-13 15,-13 14-15,14-14 0,-1 0 16,0 0-16,0 0 0</inkml:trace>
  <inkml:trace contextRef="#ctx0" brushRef="#br0" timeOffset="72548.08">17370 13044 0,'-27'40'32,"27"-27"-32,0 0 0,-13 0 0,13 14 15,0-14-15,-13 13 0,13-12 0,0 12 16,0-13-16,0 1 0,-13-1 16,13 0-16,0 0 0,0 1 15,0-1-15,13-13 16,0 0-1,0 0-15,-13-13 16,14 13-16,-1-14 0,0 14 16,0 0-1,1 0 1,-28 14 0,14-1-16,-13 0 15,0 0-15,0 0 16,-1 1-16,1-14 15,53-14 17,-27 1-17,14 13-15,-27-13 0,13 13 16,0-13-16,0 13 0,0-13 0,1 13 16,-14-14-16,13 14 15,0 14 1,-13-1-16,13 0 15,1-13 1,-1 13 0,0-13-16,0 0 15,-13-13-15,14 13 16,-1-13-16,-26 0 16,13-1-1,-14 1-15,1 0 0,13 0 16,-13 13-16,13-14 0,-13 1 15,13 0-15,-14 0 0,14-1 16,0 1-16,0 0 0</inkml:trace>
  <inkml:trace contextRef="#ctx0" brushRef="#br0" timeOffset="73159.37">17767 12224 0,'39'-13'16,"-78"26"-16,105-26 0,-53 13 0,14 0 15,-1 0-15,-13-14 0,14 14 0,-14 0 16,13 0-16,-12 0 0,-1-13 0,0 13 15,0 0-15,1 0 0,-1 0 16,0 0-16,-13 13 0,13-13 16,1 14-16,-14-1 0,13 0 0,0 0 15,-13 14-15,13-1 0,0 1 0,-13 12 16,0 1-16,14 0 0,-14 13 16,0-14-16,13 14 0,-13-13 0,0 13 15,0 0-15,0-14 0,0 14 16,0-13-16,13 13 0,-13-13 0,0-1 15,0 1-15,0-14 0,0 1 16,0-1-16,0 1 0,0-14 0,0 0 16,-13 14-16,13-14 0,-13 0 0,-1 0 0,14 1 15,-13-1-15,-26 13 16,25-26-16,1 14 0,-13-14 16,12 13-16,-12-13 0,13 0 0,-14 0 15,14 13-15,0-13 0,-14 0 16,14 0-16,0 0 0,0-13 0,-1 13 15,1 0-15</inkml:trace>
  <inkml:trace contextRef="#ctx0" brushRef="#br0" timeOffset="75863.89">4128 1416 0,'-27'39'0,"1"-26"15,12 14-15,-12-1 0,-1 14 16,-12-13-16,-1 12 0,14 1 0,-14 0 16,0-1-16,14-12 0,-1 12 0,14-12 15,-13-1-15,12-12 0,1-1 16,0 0-16,13 0 0,-13 0 0</inkml:trace>
  <inkml:trace contextRef="#ctx0" brushRef="#br0" timeOffset="76052.73">4299 1416 0,'-79'105'31,"53"-65"-31,-14 0 16,0-1-16,-52 67 15,39-53-15,-13 0 0,-27 53 0,40-66 16,0-1-16</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729"/>
    </inkml:context>
    <inkml:brush xml:id="br0">
      <inkml:brushProperty name="width" value="0.025" units="cm"/>
      <inkml:brushProperty name="height" value="0.025" units="cm"/>
      <inkml:brushProperty name="ignorePressure" value="1"/>
    </inkml:brush>
  </inkml:definitions>
  <inkml:trace contextRef="#ctx0" brushRef="#br0">21 0,'-3'7,"-2"5,1 3,0 4,2 1,0 0,2 1,-1 0,1-1,0 0,1 0,-1-1,0 1,0-4</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0.449"/>
    </inkml:context>
    <inkml:brush xml:id="br0">
      <inkml:brushProperty name="width" value="0.025" units="cm"/>
      <inkml:brushProperty name="height" value="0.025" units="cm"/>
      <inkml:brushProperty name="ignorePressure" value="1"/>
    </inkml:brush>
  </inkml:definitions>
  <inkml:trace contextRef="#ctx0" brushRef="#br0">7 1,'3'0,"0"0,0 0,0 0,-1 0,1 0,0 1,0-1,0 1,-1 0,1 0,0 0,-1 0,1 0,-1 0,1 1,-1 0,1-1,-1 1,0 0,0 0,0 0,3 4,-4-3,0-1,0 1,-1 1,1-1,-1 0,1 0,-1 0,0 0,0 0,0 0,-1 0,1 0,-1 0,1 1,-1-2,0 1,0 0,-1 0,1 0,-3 4,-22 29,22-32,0 1,0 0,1 0,-1 0,1 0,0 0,0 1,1-1,0 1,-2 6,4-11,0 0,1 0,-1 0,0 1,1-1,-1 0,1 0,-1 0,1 0,0 0,-1 0,1 0,0 0,0 0,0-1,-1 1,1 0,0 0,0-1,0 1,0 0,0-1,0 1,1-1,-1 0,0 1,0-1,0 0,0 0,1 1,-1-1,0 0,0 0,0 0,0 0,2-1,45-2,33-14,-63 15</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182"/>
    </inkml:context>
    <inkml:brush xml:id="br0">
      <inkml:brushProperty name="width" value="0.025" units="cm"/>
      <inkml:brushProperty name="height" value="0.025" units="cm"/>
      <inkml:brushProperty name="ignorePressure" value="1"/>
    </inkml:brush>
  </inkml:definitions>
  <inkml:trace contextRef="#ctx0" brushRef="#br0">121 7,'5'-1,"-10"-2,-17 0,19 4,-49 10,49-11,0 1,0 0,0 0,0 0,0 1,0-1,0 1,0-1,1 1,-1 0,1 0,-1 0,-2 4,5-5,0 0,-1 0,1 0,0 0,0 0,0 0,0 0,0 0,0 0,0 0,0 0,0 0,0 0,1 0,-1 0,0 0,1 0,-1 0,1 0,-1 0,1 0,-1 0,1-1,0 1,-1 0,1 0,0-1,0 1,0 0,0-1,-1 1,3 0,33 20,-31-18,10 4,-5-2,0 0,0 0,0 1,-1 0,15 13,-22-18,-1 1,1 0,0 0,-1 0,0 1,1-1,-1 0,0 0,0 1,0-1,0 0,-1 1,1-1,-1 1,1-1,-1 1,0-1,0 1,0 0,0-1,-1 1,1-1,-1 1,1-1,-1 0,0 1,0-1,0 1,0-1,0 0,-2 2,-1 2,0 0,0-1,0 0,-1 0,0 0,0 0,-1-1,1 0,-1 0,1 0,-13 5,3-2</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630"/>
    </inkml:context>
    <inkml:brush xml:id="br0">
      <inkml:brushProperty name="width" value="0.025" units="cm"/>
      <inkml:brushProperty name="height" value="0.025" units="cm"/>
      <inkml:brushProperty name="ignorePressure" value="1"/>
    </inkml:brush>
  </inkml:definitions>
  <inkml:trace contextRef="#ctx0" brushRef="#br0">21 0,'0'7,"0"5,-4 4,0 2,0 2,0 1,2 0,0-1,1 0,1 0,0 0,0 0,0-1,1-3</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945"/>
    </inkml:context>
    <inkml:brush xml:id="br0">
      <inkml:brushProperty name="width" value="0.025" units="cm"/>
      <inkml:brushProperty name="height" value="0.025" units="cm"/>
      <inkml:brushProperty name="ignorePressure" value="1"/>
    </inkml:brush>
  </inkml:definitions>
  <inkml:trace contextRef="#ctx0" brushRef="#br0">0 39,'7'0,"5"0,4-3,3-2,1 1,0 0,1 2,0-3,-1 0,0 0,0 2,-4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273"/>
    </inkml:context>
    <inkml:brush xml:id="br0">
      <inkml:brushProperty name="width" value="0.025" units="cm"/>
      <inkml:brushProperty name="height" value="0.025" units="cm"/>
      <inkml:brushProperty name="ignorePressure" value="1"/>
    </inkml:brush>
  </inkml:definitions>
  <inkml:trace contextRef="#ctx0" brushRef="#br0">53 37,'-2'1,"-1"-1,1 0,-1 1,1 0,0-1,-1 1,1 0,0 0,0 1,0-1,0 0,0 1,0-1,0 1,0 0,0-1,1 1,-1 0,1 0,-1 0,1 0,0 0,0 1,0-1,0 0,0 0,0 1,1-1,-1 1,1-1,0 0,0 1,0 3,-1 1,0-1,1 1,1-1,-1 1,1-1,0 1,0-1,1 0,-1 1,2-1,4 11,-3-13,0 1,0-1,1 0,-1 0,1 0,0-1,0 0,0 0,1 0,-1 0,1-1,0 0,-1 0,1 0,0-1,0 0,0 0,0-1,0 1,0-1,9-1,-9 1,0-1,0 1,-1-1,1 0,0-1,-1 1,1-1,-1 0,1 0,-1-1,0 0,0 0,0 0,-1 0,1-1,-1 1,1-1,-1-1,0 1,-1 0,1-1,4-7,-7 8,0 0,-1 0,1 0,0 0,-1 0,0 0,0 0,0 0,-1 1,1-1,-1 0,0 0,0 0,0 0,-1 1,1-1,-1 0,0 1,0 0,0-1,0 1,-1 0,1 0,-1 0,0 0,-4-3,-3-2,1-1,-1 2,-1 0,1 0,-1 0,0 2,-14-6,7 5</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609"/>
    </inkml:context>
    <inkml:brush xml:id="br0">
      <inkml:brushProperty name="width" value="0.025" units="cm"/>
      <inkml:brushProperty name="height" value="0.025" units="cm"/>
      <inkml:brushProperty name="ignorePressure" value="1"/>
    </inkml:brush>
  </inkml:definitions>
  <inkml:trace contextRef="#ctx0" brushRef="#br0">0 1,'0'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1.477"/>
    </inkml:context>
    <inkml:brush xml:id="br0">
      <inkml:brushProperty name="width" value="0.025" units="cm"/>
      <inkml:brushProperty name="height" value="0.025" units="cm"/>
      <inkml:brushProperty name="ignorePressure" value="1"/>
    </inkml:brush>
  </inkml:definitions>
  <inkml:trace contextRef="#ctx0" brushRef="#br0">54 0,'-5'7,"-1"-1,1 1,0-1,1 1,0 1,0-1,0 1,1-1,0 1,1 0,0 0,0 1,-1 10,2-13,1-1,-1 1,1-1,0 1,1-1,-1 1,1-1,0 0,0 1,1-1,0 0,0 0,0 1,0-2,1 1,0 0,0 0,0-1,1 0,-1 1,6 3,-7-6,0 0,1-1,0 1,-1-1,1 1,0-1,0 0,-1 0,1 0,0 0,0-1,0 1,0-1,0 0,0 0,0 0,1 0,-1 0,0-1,0 1,0-1,-1 0,1 0,0 0,0 0,0 0,-1-1,1 1,0-1,-1 0,3-2,-1 1,-1 0,0 0,0-1,0 1,-1-1,1 1,-1-1,0 0,0 0,0 0,0 0,-1 0,0 0,0-1,0 1,0 0,0-1,-1 1,0-1,0 1,-1-5,-1 0,0 1,-1 0,0 0,-1 0,0 1,0-1,0 1,-1 0,0 0,-1 1,1-1,-1 1,-1 0,1 1,-1-1,0 1,0 1,-11-6,6 5</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2.124"/>
    </inkml:context>
    <inkml:brush xml:id="br0">
      <inkml:brushProperty name="width" value="0.025" units="cm"/>
      <inkml:brushProperty name="height" value="0.025" units="cm"/>
      <inkml:brushProperty name="ignorePressure" value="1"/>
    </inkml:brush>
  </inkml:definitions>
  <inkml:trace contextRef="#ctx0" brushRef="#br0">16 2,'2'0,"0"-1,0 1,-1 0,1 0,0 0,0 0,0 0,-1 0,1 1,0-1,0 0,-1 1,1 0,0-1,0 1,-1 0,1 0,-1 0,1 0,-1 0,1 0,-1 0,0 1,0-1,1 0,-1 1,0-1,0 1,0-1,-1 1,1 0,0-1,0 1,-1 0,1-1,-1 1,0 0,1 0,-1 0,0-1,0 1,0 0,0 0,-1 0,1-1,0 1,-1 0,1 0,-1-1,-1 4,-3 8,0-1,0 0,-2-1,1 1,-14 16,6-3,14-24,0-1,0 1,-1 0,1-1,0 1,0 0,0-1,0 1,0 0,0-1,0 1,1 0,-1-1,0 1,0-1,0 1,1 0,-1-1,0 1,1-1,-1 1,1 0,2 1,-1-1,1 0,0 1,0-1,-1 0,1-1,0 1,0 0,0-1,0 0,0 0,0 0,6 0,9 0,0-1,0-1,29-6,-29 4</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4.702"/>
    </inkml:context>
    <inkml:brush xml:id="br0">
      <inkml:brushProperty name="width" value="0.025" units="cm"/>
      <inkml:brushProperty name="height" value="0.025" units="cm"/>
      <inkml:brushProperty name="ignorePressure" value="1"/>
    </inkml:brush>
  </inkml:definitions>
  <inkml:trace contextRef="#ctx0" brushRef="#br0">1 1,'6'0,"7"0,3 0,2 0,2 0,1 0,0 0,-1 0,0 0,4 0,0 0,-1 0,-3 0</inkml:trace>
</inkml:ink>
</file>

<file path=ppt/ink/ink1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27:06.444"/>
    </inkml:context>
    <inkml:brush xml:id="br0">
      <inkml:brushProperty name="width" value="0.05292" units="cm"/>
      <inkml:brushProperty name="height" value="0.05292" units="cm"/>
      <inkml:brushProperty name="color" value="#0070C0"/>
    </inkml:brush>
  </inkml:definitions>
  <inkml:trace contextRef="#ctx0" brushRef="#br0">14803 2844 0,'-13'0'93,"26"0"-61,40 0-32,93 0 15,26 0-15,40 0 16,224 0-16,-52-39 16,145-67-16,-53 66 15,-92-26-15,-80 26 16,-132 14-16,-93 13 15,-65-1-15</inkml:trace>
  <inkml:trace contextRef="#ctx0" brushRef="#br0" timeOffset="1432.96">1759 3836 0,'14'14'47,"25"-1"-32,67-13-15,66 0 16,0 0-16,40 0 16,52 13-16,-39-13 15,13 40-15,-66-40 16,-26 26-16,-27-12 16,-53-1-16</inkml:trace>
  <inkml:trace contextRef="#ctx0" brushRef="#br0" timeOffset="3336.29">13944 3797 0,'39'0'62,"41"13"-46,39 0-16,39-13 16,14 0-1,14 0-15,52 0 16,26 0-16,27 0 15,-39 0-15,39 0 16,-80 0-16,-39 0 16,-39 0-16,-14 0 15,-93 0-15,-13 0 16</inkml:trace>
  <inkml:trace contextRef="#ctx0" brushRef="#br0" timeOffset="5880.85">6429 4458 0,'0'-13'0,"0"0"0,-13 39 31,13-13-15,0 14-16,-13-1 0,13 1 16,-13-1-16,13 14 0,0-14 0,-14 1 15,14-1-15,-13 1 0,13-1 0,-13 1 16,13-14-16,0 13 0,-13-12 15,13-1-15,0 0 0,-13 0 0,13 1 16,0-1-16</inkml:trace>
  <inkml:trace contextRef="#ctx0" brushRef="#br0" timeOffset="6166.91">6376 4471 0,'27'-13'0,"-54"26"0,67-39 0,-27 26 0,1-13 15,12 13-15,-13 0 0,1 0 0,-1 0 16,0 0-16,0 13 0,0-13 15,1 13-15,-1-13 0,-13 13 0,13 1 16,-13-1-16,-13 0 0,13 0 16,-13 1-16,13-1 0,-27 13 15,14-12-15,0-1 0,0-13 16,-1 13-16,1 0 0,0-13 0,0 13 16,-1 1-1</inkml:trace>
  <inkml:trace contextRef="#ctx0" brushRef="#br0" timeOffset="6464.44">6641 4789 0,'13'-13'15,"-26"26"-15,40-40 0,-27 14 16,13 0-16,-13 0 0,0-14 15,0 14-15,0 0 16,0 0 0,-13 13-16,-1 13 15,1-13-15,13 13 0,-13 0 16,13 1-16,-13-14 0,13 13 0,0 0 16,-14 0-16,14 0 0,14-13 15,-14 14-15,0-1 0,13-13 0,0 13 16,0 0-16,1-13 0,-1 0 15,0 0-15,13 0 0,-12 0 16,-1 0-16</inkml:trace>
  <inkml:trace contextRef="#ctx0" brushRef="#br0" timeOffset="6868.01">6919 4577 0,'-13'-13'16,"26"26"-16,-40 1 15,27-1 1,0 0-16,0 0 0,0 14 0,-13-14 16,13 13-16,0 14 0,0-14 0,0 14 15,0 0-15,-13-14 0,13 1 16,0-1-16,0 1 0,0-1 0,0-13 16,0 14-16,0-14 0,0 0 0,-13 1 15,13-1-15,-14-13 16,1-27-1,13 14-15,-13 0 0,13-14 16,0-12-16,0-14 0,0 13 0,0 14 16,0-1-16,0 1 0,13-1 15,-13 14-15,13-13 0,1 12 16,-1 14-16,-13-13 0,13 13 0,0 0 16,1 13-1,-1 1-15,-13-1 0,0 0 16,0 0-16,0 0 15,0 1-15,-13-1 0,13 0 16,-14 0-16,14 1 0,-13-1 16,13 0-16</inkml:trace>
  <inkml:trace contextRef="#ctx0" brushRef="#br0" timeOffset="7129.09">7144 4683 0,'0'-13'16,"0"39"15,13-12-31,-13-1 0,0 0 16,0 0-16,13 0 0,-13 1 15,0-1-15,0 0 0,0 0 16,0 1-16,-13-1 0,0 0 15,13 0-15,-13-13 0,13 14 16,-14-14-16,1 13 0,0-13 16</inkml:trace>
  <inkml:trace contextRef="#ctx0" brushRef="#br0" timeOffset="7271.38">7263 4762 0,'26'-13'16,"-52"26"-16,79-26 0,-40 13 15,0 0-15,-13 13 16,13-13-16,-13 14 16,14-1-16,-14 0 0,0 0 15,0 1-15,-14-1 0,14 0 16,0 0-16</inkml:trace>
  <inkml:trace contextRef="#ctx0" brushRef="#br0" timeOffset="7407.85">7461 4564 0</inkml:trace>
  <inkml:trace contextRef="#ctx0" brushRef="#br0" timeOffset="8605.08">11536 4419 0,'-27'0'31,"14"13"-31,0 0 0,-14 0 0,14 14 16,-13-1-16,-1 1 0,1-1 16,-1 1-16,14-1 0,0-13 0,0 0 15,13 1-15,-14-1 0,14 0 0,0 0 16,0 1-16,0-1 15,14-13-15,-1 13 0,0-13 16,14 0-16,-14-13 0,13 13 16,1-13-16,-14 13 0,13-14 0,-12 1 15,-1 13-15,13-13 0,-26 0 16,14 13-16,-1-14 0,0 14 0,-13-13 16,13 13-16,-13 13 31,0 1-16,14-14-15,-14 13 0,13 0 16,0-13-16,-13 13 0,13-13 16,0 0-16,14 0 0,-14 0 0,0 0 15,1 0-15,-1 0 0,0 0 0,-13-13 16,13 13-16,-13-13 16,0 0-16,0-1 15,0 1-15,-13 0 0,0 0 16,0 13-16,-1 0 15,-12 0-15,13 0 16,-1 0-16</inkml:trace>
  <inkml:trace contextRef="#ctx0" brushRef="#br0" timeOffset="8787.99">11933 4445 0,'0'0'15,"13"-13"1,-13 39 0,0-13-16,0 1 15,0-1-15,0 0 0,-13 0 0,13 14 16,-14-14-16,14 14 0,-13-14 16,0 13-16,13-13 0,0 1 0,0-1 15</inkml:trace>
  <inkml:trace contextRef="#ctx0" brushRef="#br0" timeOffset="9060.95">12184 4524 0,'-79'14'31,"52"-1"-31,1 0 0,13 0 16,-27 1-16,27-1 0,-14 0 15,14 0-15,0 0 0,-1-13 16,1 14-16,13-1 0,-13-13 0,13 13 0,0 0 16,13 1-1,0-14 1,1 0-16,-1 0 0,0 0 0,14 0 16,-14 0-16,0 0 0,14 0 15,-14 0-15,13 0 0,1 0 16,-14-14-16,0 14 0</inkml:trace>
  <inkml:trace contextRef="#ctx0" brushRef="#br0" timeOffset="9335.74">12435 4564 0,'-13'-13'0,"0"39"32,0-12-32,13-1 0,0 0 15,0 0-15,-14 0 0,14 1 16,0-1-16,14 0 16,-14 0-16,13 1 0,0-1 15,0-13-15,1 0 16,-14 13-16,13-13 0,0 0 0,0 0 15,1 0-15,-1 0 0,0 0 16</inkml:trace>
  <inkml:trace contextRef="#ctx0" brushRef="#br0" timeOffset="9588.53">12435 4683 0,'14'-13'0,"-1"13"16,0-13-16,0 13 0,1-14 16,-14 1-1,0 0 1,0 0 0,0 0-16,0-1 15,13 14-15,-13-13 0,13 13 16,0 0-16,-13-13 0,27 13 0,-14-13 15,13 13-15,-12-14 0,12 14 16,1 0-16</inkml:trace>
  <inkml:trace contextRef="#ctx0" brushRef="#br0" timeOffset="13592.46">9644 4471 0,'0'-13'0,"0"53"31,0-27-15,-13 27-16,13 13 0,-13 0 0,13 13 15,-14 13-15,1 1 0,13 25 16,-13 1-16,0 0 0,-1 13 0,1 13 15,0-13-15,-13 14 0,-1 12 0,1-12 16,-1 12-16,1 1 0,-1 12 16,-12-12-16,12-1 0,1 1 0,-1-1 15,1-12-15,-1-1 0,14-13 0,0 0 16,0 0-16,13-39 16,-14-1-16,14-13 0,-13 14 0,13-28 15,0 1-15,-13-13 0,13 0 0,0-1 16,0-25-16,-13 12 0,13-13 0,0 1 15,-14-1-15</inkml:trace>
  <inkml:trace contextRef="#ctx0" brushRef="#br0" timeOffset="14674.2">992 6496 0,'0'26'31,"0"-13"-31,0 0 0,0 14 16,0-14-16,0 14 0,0-1 15,13-13-15,-13 14 0,0-1 0,0-13 16,0 1-16,0 12 0,0-13 0,0 1 16,0-1-16,0 0 15,14 0-15,-14 0 0</inkml:trace>
  <inkml:trace contextRef="#ctx0" brushRef="#br0" timeOffset="15295.85">1138 6535 0,'0'27'15,"0"-14"1,0 0-16,0 0 0,0 14 16,13-14-16,-13 0 0,13 1 0,-13-1 15,13 0-15,1 0 0,-14 0 0,13 1 16,0-14-16,0 0 0,-13 13 16,14-13-16,-1 0 0,0-13 15,0 13-15,0 0 0,-13-14 0,14 14 16,-14-13-16,13 0 0,-13 0 15,0 0-15,0-1 0,0 1 0,0 0 16,-13 0-16,13-1 0,-14 1 0,14 0 16,-13 0-16,0-1 0,0 14 15,13-13-15,-13 13 0,-1 0 0,1 0 16,0 0-16,0 0 0,13 13 16,-14-13-16,1 0 15</inkml:trace>
  <inkml:trace contextRef="#ctx0" brushRef="#br0" timeOffset="15587.46">1310 6482 0,'13'14'16,"-13"-1"-16,13 0 16,-13 0-16,13-13 0,-13 13 0,14 1 15,-1-1-15,0 0 0,0 0 16,1-13-16,-1 0 0,0 14 0,0-14 15,0 0-15,14-14 0,-14 14 16,0 0-16,1-13 0,-1 13 0,0-13 16,0 13-16,-13-13 0,14-1 0,-14 1 15,0 0-15,-14 0 16,14 0-16,-13-1 0,0 1 16,0 0-16,-1 0 0,1 13 0,0-14 15,0 14-15,-14 0 0,14 0 0,0 0 16,0 14-16,-1-14 15,1 13-15,0-13 0,13 13 0,-13 0 16</inkml:trace>
  <inkml:trace contextRef="#ctx0" brushRef="#br0" timeOffset="18674.9">1786 6257 0,'13'27'32,"-13"-14"-17,13 14-15,-13-1 0,0-13 16,0 14-16,14-1 0,-14-13 16,0 14-16,13-1 0,-13-12 15,0-1-15,0 13 0,13-13 0,-13 1 0</inkml:trace>
  <inkml:trace contextRef="#ctx0" brushRef="#br0" timeOffset="18986.18">1812 6271 0,'14'-27'15,"-1"14"1,0 13-16,0 13 16,1-13-16,-14 13 0,0 1 15,0-1-15,0 0 16,0 0-16,-14-13 15,14 14-15,0-1 0,-13 0 0,13 0 16,-13 0-16,13 1 16</inkml:trace>
  <inkml:trace contextRef="#ctx0" brushRef="#br0" timeOffset="19544.82">1984 6350 0,'0'0'0,"0"-13"15,14 0-15,-14-1 16,-14 1 0,14 0-1,-13 39 16,13-12-15,13-1-16,1 0 16,-1-13-16,0 0 15,0 0-15,1 0 0,-1 0 16,0 0-16,0-13 0,0 13 0,1-13 16,-1 13-16,0-14 0,0 14 15,1-13-15,-14 0 0,13 13 0,-13-13 16,0-1-16,0 1 0,0 0 15,-13 0 1,-1 26 0,14 0-1,0 0-15,-13 1 16,13-1-16,13 0 0,-13 0 16,14-13-16,-14 14 0,13-14 15,0 0-15,0 0 16,0 0-16,1-14 0,-1 1 15,0 0-15,-13 0 16,0-1 0,0 1-16,0 0 0,0 0 15,-13-1-15,0 14 16,-1 0 0,1 14-16,0-14 15,0 13-15</inkml:trace>
  <inkml:trace contextRef="#ctx0" brushRef="#br0" timeOffset="19971.74">2275 6046 0,'0'-14'0,"0"28"0,14-1 31,-1 13-31,-13-12 16,0 12-16,0 1 0,13 12 0,-13 1 15,0 0-15,13-1 0,-13 1 16,14-14-16,-14 1 0,13-1 0,-13 1 16,0-14-16,13 14 0,-13-14 0,0 0 15,0 0-15,0 0 0,13-13 16,-13 14-16,0-1 0,-26-40 31,26 14-15,0-13-16,0 13 0,-13-120 31,13 107-31,0 13 0,0-1 16,13 1-16,-13 0 0,13 0 15,0 13 1,0 0-16,-13 13 16,14-13-16,-14 13 0,0 0 0,13-13 15,-13 14-15,0-1 0,0 0 0,0 0 16,0 0-16,0 1 15,-13-1-15</inkml:trace>
  <inkml:trace contextRef="#ctx0" brushRef="#br0" timeOffset="20286.82">2461 5940 0,'13'26'31,"-13"-12"-31,0-1 16,0 0-16,0 0 0,13 0 0,-13 14 15,0-14-15,13 0 0,-13 14 0,14-14 16,-14 0-16,13-13 0,-13 14 16,13-1-16,0-13 0,0 0 15,-13-13-15,14 13 0,-14-14 16,13 1-16,0 13 15,-13-13-15,13 13 16,1-13-16,-1 26 16,0-13-1,-13 13-15,0 0 16,13-13-16,-13 14 0,0-1 16,0 0-16</inkml:trace>
  <inkml:trace contextRef="#ctx0" brushRef="#br0" timeOffset="20569.04">1177 6998 0,'40'-26'0,"291"-120"31,-265 120-31,27-14 0,-1 0 16,-26 1-16,14 12 0,-14 1 15,13-1-15,-26 1 0,13-1 0,-13 1 16,0 13-16,-13 0 0,-14-1 0,1 1 16,-14 13-16,0 0 0,-39 13 31,-1 1-16</inkml:trace>
  <inkml:trace contextRef="#ctx0" brushRef="#br0" timeOffset="20936">1310 7011 0,'66'-13'15,"212"-79"1,-225 65-16,-1 1 16,1 12-16,0-12 0,-13 13 15,0 0-15,-1-1 0,-12 1 0,26 0 16,-40 13-16,0 0 0,0-13 16,1 13-16,-1 0 0,-13-14 15,13 14-15,0 0 0,1 0 16,-14-13-16,13 13 15,0 0 17,-39 0 30,12 13-62,1-13 16,0 14-16</inkml:trace>
  <inkml:trace contextRef="#ctx0" brushRef="#br0" timeOffset="28045.16">8149 5252 0,'-13'26'32,"13"-12"-32,0 12 15,-13-13-15,13 14 0,-14-14 0,14 14 16,-13-1-16,13-13 0,-13 14 16,13-14-16,0 0 0,-13 0 0,13 1 15,0-1-15,0 0 0,-13-13 16,13 13-16,0 0 0,0 1 15,13-14 1,-13 13-16,13-13 16,0 0-16,0 0 15,1 0-15,-1 0 0,0 0 16,0 0-16,1 0 0,-1 13 16,13-13-16,-12 0 0,-1 0 15,0 13-15,0-13 0,0 0 16,1 0-16,-1 14 0,0-14 0,0 0 15,1 0-15,-14 13 16,13-13-16,0 0 0,0 0 16,1 0-16,-1-13 15,0 13-15,0-14 16,0 14-16,-13-13 16,0 0-16,14 13 0,-14-13 0,13-1 15,-13 1-15,0 0 0,13 0 16,-13 0-16,0-14 0,13 14 0,-13-14 15,0 14-15,0 0 0,14 0 0,-14 0 16,0-1-16,0 1 0,0 0 16,0 0-16,0-1 0,13 1 15,-13 0-15,0 0 32,0-1-32,0 1 15</inkml:trace>
  <inkml:trace contextRef="#ctx0" brushRef="#br0" timeOffset="28387.34">8189 5239 0,'26'0'0,"-12"0"0,-1 13 15,0-13-15,0 0 0,0 0 16,1-13-16,12 13 0,-13 0 16,1 0-16,-1 0 0,13 0 0,-12 0 15,-1 0-15,0 0 0,0 0 0,0 0 16,1 0-16</inkml:trace>
  <inkml:trace contextRef="#ctx0" brushRef="#br0" timeOffset="29102.88">7580 5424 0,'0'-13'16,"-13"39"0,13-13-1,0 1-15,0-1 0,0 0 16,0 0-16,0 1 0,0-1 0,0 0 15,-13-13-15,13 13 0,0 0 16,0 1-16,13-1 16</inkml:trace>
  <inkml:trace contextRef="#ctx0" brushRef="#br0" timeOffset="29364.34">7541 5384 0,'13'-13'15,"0"-13"1,0 26-16,1 13 16,-14 0-1,0 0 1,0 1-16,0-1 15,-14-13-15,14 13 0,-13 0 0,13 0 16,-13-13-16,0 14 16,-1-1-1</inkml:trace>
  <inkml:trace contextRef="#ctx0" brushRef="#br0" timeOffset="29641.12">7408 5252 0,'-26'26'0,"52"-52"0,-52 79 0,13-40 16,13 14-16,0-1 0,-14 1 0,14-1 15,0 14-15,0-1 16,0 1-16,0-14 0,14 14 0,-14-13 0,13-14 16,-13 13-16,13-12 0,0 12 15,1-13-15,-1 0 0,0 1 0,0-14 16,0 0-16,1 0 0</inkml:trace>
  <inkml:trace contextRef="#ctx0" brushRef="#br0" timeOffset="29884.26">7673 5199 0,'106'79'31,"-93"-52"-31,13-1 15,-12 1-15,12-1 0,-13 1 0,-13-1 16,14-13-16,-14 14 0,0-1 16,0 1-16,-14 12 0,1 1 0,0-13 15,0-1-15,-14 14 0,14-14 0,0-13 16,0 1-16</inkml:trace>
  <inkml:trace contextRef="#ctx0" brushRef="#br0" timeOffset="30917.74">13772 5226 0,'0'-14'16,"0"80"15,0-39-31,-14-1 0,14 1 0,0-1 0,-13 1 16,13-1-16,0 1 0,0-14 15,-13 13-15,13-12 0,0 12 16,0-13-16,0 0 0,0 1 0,0-1 16,13 0-1</inkml:trace>
  <inkml:trace contextRef="#ctx0" brushRef="#br0" timeOffset="31526.18">13824 5212 0,'27'-13'0,"39"13"31,-53 0-31,14 0 0,-14-13 0,13 13 16,1 0-16,-14 0 0,14 0 0,-14 0 16,0 0-16,14 0 0,-14 0 15,0 0-15,0 0 0,0 0 16,1 0-16,-1 13 0,0-13 16,-13 13-16,0 1 15,13-14-15,-13 13 0,0 0 16,0 0-16,0 0 0,0 14 0,0-14 15,0 0-15,14 14 0,-14-1 16,0-12-16,0-1 0,0 13 0,0-13 16,0 14-16,13-14 0,-13 0 15,0 1-15,0-1 0,0 0 16,0 0-16,0 0 0,0 1 16,-13-1-16,13 0 0,-14-13 15,1 13-15,0 1 16,0-14-16,-1 0 0,-12 13 0,13-13 15,-14 0-15,14 0 0,-13 0 0,12 0 16,-12 0-16,13 0 0,-14 0 16,14 0-16,0 0 0,-14 0 15,14 0-15,0-13 0,0 13 0,-1 0 0,1 0 16,0-14-16,0 14 0,13-13 16</inkml:trace>
  <inkml:trace contextRef="#ctx0" brushRef="#br0" timeOffset="32187.82">13811 5292 0,'27'0'16,"-14"0"-16,0 0 15,0 0-15,14-14 0,-14 14 16,14 0-16,-14 0 0,13 0 16,1 0-16,-14 0 0,13 0 0,1-13 15,-14 13-15,0 0 0,14 0 0,-14 0 16,0 0-16</inkml:trace>
  <inkml:trace contextRef="#ctx0" brushRef="#br0" timeOffset="32752.87">13600 5345 0,'-14'-14'16,"-25"14"-1,25 0-15,1 14 16,0-14-16,0 13 0,-14 0 0,14 0 16,0 1-16,0-14 15,13 13-15,-14 0 0,14 0 0,-13-13 16,13 13-16,13 14 0,1-27 15,-1 13 1,0-13-16,0 0 0,1 0 0,-1 0 16,0 0-16,0 0 0,14 0 0,-14 0 15,13 0-15,-12 0 0</inkml:trace>
  <inkml:trace contextRef="#ctx0" brushRef="#br0" timeOffset="33237.85">13600 5199 0,'13'40'16,"-13"-27"0,13 0-16,-13 0 0,13 14 0,0 13 15,-13-14-15,0-13 0,0 14 16,0-14-16,0 13 0,-13 14 15,13-27-15,0 1 0,-13-1 16,13 13-16,-13-13 0,0 1 0,13-1 16,-14 0-16,1-13 0</inkml:trace>
  <inkml:trace contextRef="#ctx0" brushRef="#br0" timeOffset="33512.68">13295 5239 0,'-13'39'0,"26"-78"0,-39 92 0,26-27 16,-13 1-16,-1-1 0,14 14 15,-13-14-15,13 1 0,-13 12 0,13-12 0,13-1 16,-13 1-16,0-14 16,27 40-16,-27-40 0,13 14 15,0-27-15,14 13 0,-14 0 0,0 0 16,0-13-16</inkml:trace>
  <inkml:trace contextRef="#ctx0" brushRef="#br0" timeOffset="43069">8255 4934 0,'-26'14'16,"12"12"-1,1-26-15,13 13 0,0 1 16,-13-1-16,13 0 0,0 0 16,0 1-16,0-1 0,13-13 15,-13 13-15,0 0 16,13-13-16,1 13 15,-1-13-15,0-13 0,0 13 16,0 0-16,-13-13 0,14 13 16,-1-13-16,0 13 0,-13-13 15,13 13-15,-13-14 0,14 1 16,-1 26 31,0 1-16,0-14-15,1-14-1,-1 14-15,0-13 16,0 0-16,-13 0 16,13-1-1,-13 1 1,14 13-16,-14-13 15</inkml:trace>
  <inkml:trace contextRef="#ctx0" brushRef="#br0" timeOffset="43371.98">8559 4934 0,'0'14'16,"0"-1"-16,-13 0 0,13 0 15,0 27 16,0-27-31,0 1 16,0-41 15,13 14-31,-13 0 16,13-1-16,1 1 0,-1 13 16,-13-13-1,13 26 1,-13 0-16,-13 1 15,13-1-15,-13 0 16,13 0 0</inkml:trace>
  <inkml:trace contextRef="#ctx0" brushRef="#br0" timeOffset="43517.06">8771 4815 0,'13'0'0,"0"27"32,1-14-32,-14 0 0,0 1 0,0-1 15,0 0-15,-14 0 0,14 0 16,0 1-16,0-1 0</inkml:trace>
  <inkml:trace contextRef="#ctx0" brushRef="#br0" timeOffset="44596.86">14552 4802 0,'0'-13'31,"-26"26"-31,12 0 0,14 1 0,-13-1 16,13 0-16,0 0 15,-13 1-15,13-1 0,0 0 0,0 0 16,0 0-16,0 1 15,0-1-15,13 0 16,0-13-16,-13 13 16,27-13-16,-14-13 15,0 13-15,1-13 0,-1 13 0,0-13 16,0 13-16,0-14 0,1 1 16,-1 0-16,0 13 0,-13-13 15,13 13-15,1 13 47,-14 0-31,13-13-1,0 13-15,0-13 16,1-13 0,-1 0-1,-13 0 16,0 0-15,0-1-16</inkml:trace>
  <inkml:trace contextRef="#ctx0" brushRef="#br0" timeOffset="44940.85">14870 4815 0,'0'14'0,"0"-1"0,0 0 15,13-13-15,-13 13 0,0 1 0,0-1 16,0 0-16,-13 0 16,13 0-16,0 14 15,0-14-15,0 0 16,13-26 15,-13-13-15,13 12-16,-13-25 0,40-67 47,-40 93-47,-40 79 47,27-53-47,13 0 15,0 1-15</inkml:trace>
  <inkml:trace contextRef="#ctx0" brushRef="#br0" timeOffset="45185.07">15174 4736 0,'13'13'31,"-13"0"-31,0 1 16,-13-1-16,13 0 16,0 0-16,0 1 15,0-1-15,0 0 16,-13-13-16</inkml:trace>
  <inkml:trace contextRef="#ctx0" brushRef="#br0" timeOffset="47095.54">8559 4167 0,'0'27'31,"0"-14"-31,-13 13 16,13-12-16,0-1 0,0 13 15,-13-13-15,13 1 0,0-1 16,0 0-16,0 0 0,-13 14 0,13-14 16,0 0-16,0 1 0,-14-1 15,14 0-15,0 0 16,-13-13-16,13 13 0,0 1 15</inkml:trace>
  <inkml:trace contextRef="#ctx0" brushRef="#br0" timeOffset="47683.15">8480 4445 0,'26'13'15,"-12"-13"1,-1 0-16,0 0 0,0 0 0,0 0 16,14 0-16,-14 0 0,0 0 15,1 0-15,-1 0 0,0 0 0,0 0 16,14 0-16,-14 0 16,-13-13-16,13 13 15</inkml:trace>
  <inkml:trace contextRef="#ctx0" brushRef="#br0" timeOffset="47945.8">8387 4061 0,'-26'27'0,"52"-54"0,-65 67 16,25-27-16,1 1 0,0-1 0,0 0 16,-1 13-16,1 1 0,0 13 15,0-14-15,0 40 0,13-13 16,0-26-16,0-1 0,0 0 16,13 1-16,-13-14 0,13 14 15,13-1-15,-12-13 0,-1-13 16,13 14-16,-12-14 0,-1 0 0,13 0 15</inkml:trace>
  <inkml:trace contextRef="#ctx0" brushRef="#br0" timeOffset="48262.59">8731 4088 0,'27'0'0,"-54"0"0,67 0 0,-27 13 16,0-13-16,14 13 0,-1 14 0,27 12 15,-26-12-15,-14-1 16,27 40-16,-14-39 0,-26-1 15,13 1-15,-13-1 0,0 1 16,-13 12-16,0-12 0,0 13 0,-14-1 16,1 1-16,-1 0 0,-12-1 0,12-12 15,1-1-15,-1 1 0,1-1 16,-1-13-16</inkml:trace>
  <inkml:trace contextRef="#ctx0" brushRef="#br0" timeOffset="48774.02">13917 4299 0,'0'14'16,"-13"-1"-16,13 0 0,-13 0 0,13 1 16,-14-1-16,14 13 0,-13-12 0,13-1 15,-13 0-15,13 13 0,0-12 16,-13-1-16,13 0 0,0 0 16,0 1-16</inkml:trace>
  <inkml:trace contextRef="#ctx0" brushRef="#br0" timeOffset="49116.85">13996 4273 0,'14'-13'0,"-28"26"0,41-26 0,-14 0 15,0 13-15,14 13 16,-14 0-1,-26 13-15,13-12 16,-13-1-16,-1 0 0,-12 0 0,13 1 16,-1-1-16,1 0 0,0 0 15,-13 1-15,12-1 16,1 0-16,13 0 0,-13-13 16,13 13-16,13 1 15,-13-1 1,13-13-16,1 0 0,-1 0 15,0 13-15,0-13 0,0 0 0,1 0 16,-1-13 0,0 13-16,0 0 0</inkml:trace>
  <inkml:trace contextRef="#ctx0" brushRef="#br0" timeOffset="49367.85">13573 4220 0,'-26'27'0,"52"-54"0,-66 80 16,40-40-16,-13 14 0,13-1 16,-13 1-16,13-1 0,0 14 15,-13-1-15,26-12 0,-13 13 0,13-14 16,-13 14-16,13-14 0,1-13 0,12 27 15,-13-27-15,14 1 0,-14-1 16,13-13-16,-12 13 0,12-13 16,-13 0-16,14 0 0,-1-13 0,27 0 15</inkml:trace>
  <inkml:trace contextRef="#ctx0" brushRef="#br0" timeOffset="49630.09">14116 4114 0,'13'0'16,"0"14"-16,13-1 0,80 159 31,-92-133-31,-1-12 16,-13 13-16,0-14 0,0 14 0,-13-1 15,-1-12-15,1 13 0,0 12 16,-14-12-16,-12 0 0,12-14 16,1 14-16,-1-14 0,-12 1 0,12-1 0,1-12 15,-1-1-15,1 0 0</inkml:trace>
  <inkml:trace contextRef="#ctx0" brushRef="#br0" timeOffset="59135.42">8109 6244 0,'0'-13'31,"0"53"0,14-40-31,-14 13 0,0 0 16,0 0-16,0 1 15,0-1-15,0 0 0,0 0 0,0 0 16,0 1-16,0-1 0,0 0 16,0 0-16,0 1 0,0-1 15</inkml:trace>
  <inkml:trace contextRef="#ctx0" brushRef="#br0" timeOffset="59420.63">8123 6191 0,'0'0'0,"13"-26"0,-13 13 16,13 13-16,0 0 0,-13-14 0,14 14 15,12 0-15,-26 14 16,13-14-16,1 13 16,-1 0-16,-13 0 15,0 0-15,-13-13 0,13 14 16,0-1-16,-14 0 0,14 0 16,-13-13-16,13 14 0,-13-1 0,0-13 15,13 13-15,-14-13 0</inkml:trace>
  <inkml:trace contextRef="#ctx0" brushRef="#br0" timeOffset="59684.92">7964 6046 0,'-93'106'31,"93"-80"-31,-13 0 0,13 1 16,0-1-16,-13 1 0,13-1 0,0 1 15,13-1-15,-13 1 0,0-1 0,13-13 16,1 14-16,-14-14 0,13 14 16,0-14-16,14 0 0,-14-13 0,0 13 15,0-13-15,0 0 0,1 0 16,12-13-16</inkml:trace>
  <inkml:trace contextRef="#ctx0" brushRef="#br0" timeOffset="59939.75">8268 5913 0,'0'0'0,"13"0"0,93 67 32,-79-41-32,-1 0 0,1 1 15,-14 13-15,0-14 0,14 14 16,-14-14-16,-13 14 0,0-14 0,0 14 16,-13 0-16,-1-1 0,1 1 0,-13 0 15,12-14-15,-12 14 0,0 0 16,12-14-16,1 1 0,0-14 0</inkml:trace>
  <inkml:trace contextRef="#ctx0" brushRef="#br0" timeOffset="60512.27">12925 6218 0,'0'39'31,"-13"-12"-31,13-14 0,0 0 0,-14 14 15,14-14-15,-13 13 0,13-12 0,0 12 16,-13-13-16,13 1 0,0-1 16,0 13-16,0-12 0,0-1 15,0 0-15,0 0 16</inkml:trace>
  <inkml:trace contextRef="#ctx0" brushRef="#br0" timeOffset="60751.99">12925 6257 0,'40'14'31,"-27"-14"-31,0 13 16,-13 0-16,0 14 15,0-14-15,-26 26 16,12-25-16,14-1 16,-13 0-16,0 0 0,0-13 0,-1 14 15,1-1-15</inkml:trace>
  <inkml:trace contextRef="#ctx0" brushRef="#br0" timeOffset="61008.28">12713 6138 0,'-39'40'0,"25"-27"0,-12 14 16,-1 39-16,14-40 0,13 1 15,-13-1-15,13 1 0,26 118 31,-12-118-31,-1-1 0,0 1 0,0-14 16,1 0-16,12 0 0,-13-13 16,0 14-16,1-14 0,-1 0 15,13 0-15,-12 0 0,-1 0 0,0 0 0,0-14 16</inkml:trace>
  <inkml:trace contextRef="#ctx0" brushRef="#br0" timeOffset="61275.89">13084 6085 0,'13'0'16,"-26"0"-16,39 14 0,1-1 15,-14 0-15,0 0 0,13 14 0,1-1 16,-14 1-16,14-1 0,-14 1 15,0-1-15,0 14 0,-13-14 0,14 1 16,-14-1-16,-14 1 0,14 12 0,-13-12 16,0 12-16,0-12 0,-14 13 15,14-14-15,-14 1 0,14-1 0,0-13 16,0 0-16,0 1 0,-14-1 0,14-13 16,0 13-16</inkml:trace>
  <inkml:trace contextRef="#ctx0" brushRef="#br0" timeOffset="73527.14">14989 6363 0,'-14'66'31,"1"-52"-31,13 12 0,-13 1 16,13-14-16,-13 13 0,13-13 0,-14 1 16,14 12-16,0-13 0,0 1 15,-13-1-15,13 0 0,0 0 16,0 1-16,13-14 16</inkml:trace>
  <inkml:trace contextRef="#ctx0" brushRef="#br0" timeOffset="73981.13">15002 6403 0,'0'0'0,"13"0"0,-13-13 0,13 13 0,1 0 16,-1 13-16,0-13 15,0 0-15,0 0 0,-13 13 0,0 40 31,0-40-31,0 1 16,0-1-16,0 0 31,0 0-31,14-13 0,-14 13 16,13 1 0,-13-1-16,-13 0 0,13 0 15,-14-13-15,1 14 0,0-14 16,0 13-16,0-13 15,-1 0-15,1 0 0,0 0 16,0 0 0</inkml:trace>
  <inkml:trace contextRef="#ctx0" brushRef="#br0" timeOffset="74304.09">15266 6324 0,'14'-14'16,"-28"28"-16,41-41 0,-27 54 31,-13-14-31,13 13 16,0-13-16,-14 14 0,14-14 0,-13 14 15,13-1-15,0-13 0,-13 14 0,13-14 16,0 0-16,0 0 0,0 1 16,13-14-16,-13 13 0,0 0 15,13-13-15,1 0 0,12 0 16,-13 0-16,1-13 0,-1 13 15,0-13-15,0 13 16,-13-14-16,14 14 0,-1 0 16,0 0-1,-13 14-15,0-1 0,0 0 16,0 0-16,0 1 16,0-1-16,0 0 0,0 0 15,0 1 1</inkml:trace>
  <inkml:trace contextRef="#ctx0" brushRef="#br0" timeOffset="74447.27">15518 6403 0,'-13'0'0,"-1"13"31</inkml:trace>
  <inkml:trace contextRef="#ctx0" brushRef="#br0" timeOffset="74887.78">15729 6496 0,'-13'13'31,"13"0"-31,0 0 0,0 0 15,0 1 1,-13-14-16,13 13 16,26-26 46,-12 13-46,-1 13-16,0-13 15,-13 13-15,13-13 16,-13 13-16,14-13 0,-14 14 16,13-14-16,0 0 15,0 0-15,14 0 16,-14 0-16</inkml:trace>
  <inkml:trace contextRef="#ctx0" brushRef="#br0" timeOffset="75304">16192 6310 0,'0'-13'16,"0"40"-1,0-14-15,-13 0 0,13 13 0,-13-12 16,13 12-16,-13 1 0,0-14 0,13 13 16,0-12-16,-14-1 0,14 0 15,0 13-15,0-12 0,0-1 16,0 0-16,-13-13 47,0 0-47,0 0 15,-14 13 1,14-13-16,13 14 16,-13-14-16,0 13 0,39-13 31,-13 0-31,0 0 15,1-13-15,-1 13 16,0 0-16,0 0 0,1 0 0,-1 0 16,0 0-16,0 0 0,0 0 15,1 13 1,-1-13 0,-13 13-16,13-13 15</inkml:trace>
  <inkml:trace contextRef="#ctx0" brushRef="#br0" timeOffset="75428.05">16378 6469 0,'-14'-13'0,"1"13"15</inkml:trace>
  <inkml:trace contextRef="#ctx0" brushRef="#br0" timeOffset="75743.98">16364 6509 0,'14'0'0,"-14"13"16,13 0-1,-13 0-15,0 1 0,0-1 16,13 0 0,-13 0-1,13-13 1,1 0 0,-14-13-1,13 13-15,0-13 0,0 13 16,1-13-1,-1 13-15,0 0 16,-13-14-16,13 14 0,0 0 16,1 0-16,-1 0 15,-13-13-15</inkml:trace>
  <inkml:trace contextRef="#ctx0" brushRef="#br0" timeOffset="76020.33">16669 6496 0,'0'-14'16,"0"41"-1,0-14 1,0 0-16,0 0 16,0 1-1,0-1-15,0 0 0,0 0 16,-13 1-16,13-1 0,-14 0 16,28-39 30,-1 26-46,-13-14 0,13 14 16,0-13-16,0 0 0,1 0 16,-1-1-16,0 14 15,-13-13-15,-13 0 32</inkml:trace>
  <inkml:trace contextRef="#ctx0" brushRef="#br0" timeOffset="76496.92">14790 6284 0,'-26'40'0,"13"-27"16,13 0-16,-14 199 31,28-173-31,-1 1 0,0-13 15,13 12-15,1-12 0,-1-1 16,27 1-16,0-1 0,0-13 0,0-13 16,0 13-16,13-13 0,0-13 0,14 0 15,-1 0-15</inkml:trace>
  <inkml:trace contextRef="#ctx0" brushRef="#br0" timeOffset="76837.93">16775 6112 0,'13'13'16,"0"0"-16,0 14 0,-13-14 0,14 27 15,-1-14-15,0 14 0,0 0 0,-13-1 16,13 1-16,-13-14 0,0 1 16,0 13-16,-13-1 0,13 1 0,-13 0 15,-27 26-15,27-40 0,0 1 16,-14-1-16,1-13 0,13 14 15,-14-14-15,1 0 0,-1 0 16,1 1-16</inkml:trace>
  <inkml:trace contextRef="#ctx0" brushRef="#br0" timeOffset="77524.19">15002 7474 0,'-13'27'31,"13"-14"-31,0 0 0,0 14 16,-14-1-16,14-12 0,0 12 16,-13 0-16,13 1 0,0-14 0,-13 14 15,13-14-15,0 0 0,0 0 0,0 1 16,0-1-16,0 0 0,0 0 0</inkml:trace>
  <inkml:trace contextRef="#ctx0" brushRef="#br0" timeOffset="77795.93">15002 7474 0,'26'-13'15,"-52"26"-15,66-26 0,-27 13 0,0 0 0,0 0 16,0 13-16,1 1 0,-1-14 15,0 13-15,-13 13 0,13-12 0,-13-1 16,0 13-16,0-12 0,-13 12 16,0 0-16,0 14 0,-1-27 0,1 14 15,-13-14-15,13 14 0,-1-14 0,1 0 16,0 0-16,0-13 0,-1 13 0,1-13 16</inkml:trace>
  <inkml:trace contextRef="#ctx0" brushRef="#br0" timeOffset="78795.93">15293 7554 0,'0'0'0,"-27"13"32,14 0-32,13 1 0,-13-1 15,13 0-15,-13 0 16,13 0-16,0 1 0,0-1 0,13 40 15,0-53 1,0 13-16,1-13 0,-1 0 0,0 0 16,0 0-16,1 0 0,-1 0 0,0-13 15,0 0-15,1-1 0,-14 1 16,13 0-16,-13-14 16,0 14-16,0 0 0,-13 0 0,13 0 15,-14-1-15,1 1 0,0 13 16,0-13-16,-1 13 0,1 0 15,0 0-15,0 13 0,-14-13 0,14 0 16,0 13-16,0 1 0,-1-1 16,14 0-16,0 0 15,0 0-15,14-13 0,-1 14 16,0-14-16,0 0 0,0 0 0,14 0 16,-14 0-16,0 0 0,14 0 15,-14-14-15,0 14 0,14-13 16,-14 13-16,0-13 0,0 13 0,1-13 15,-1 13-15,0-13 0,0 13 16,-13-14 0,14 14-16,-14 14 31,13-1-15,-13 0-1,13-13 1,0 0-16,1-13 15,-1 13-15,0 0 16,0-13 0,0 13-1,-13 13 1,14 0-16,-1-13 16,-13 13-16,13-13 15,-13 13-15,13-13 0,1 0 16,-1 0-16,0 0 15,0-13-15,0 13 0,1-13 16,-1 0-16,0 0 0,-13-1 16,13 1-16,-13 0 0,0-14 15,14 14-15,-14-13 0,0 12 16,0 1-16,0 0 0,0 0 0,0 0 16,13-1-16,-26 41 31,-1-14-31,14 13 0,-13-12 15,0 25-15,0-12 0,13-1 0,-14 1 16,1-14-16,13 13 0,0-12 16,0-1-16,-13 0 0,13 0 15,0 1-15,13-14 16,14-14 0,-14 14-16,0-13 0,0 13 15,1-13-15,-1 13 0,0 0 0,0 0 16,1-13-16,-1 13 0,0 13 0,0-13 15,0 0-15,-13 13 0,14-13 16,-14 13-16,0 1 0,0-1 0,-14 0 16,1 0-16,13 1 0,-13-1 15,0 0-15,0 0 0,13 0 16,-14-13-16,1 0 0,13 14 0,-13-28 31</inkml:trace>
  <inkml:trace contextRef="#ctx0" brushRef="#br0" timeOffset="79112.11">16047 7329 0,'0'0'16,"0"40"0,0-27-16,-13 0 0,13 0 15,0 14-15,0-1 0,-13-13 0,13 14 16,0-1-16,0-12 0,0 12 15,0-13-15,13 14 0,-13-14 0,13 0 16,0 0-16,0-13 16,1 0-16,-1 0 0,0-13 0,0 13 15,1-13-15,-1 0 0,0 0 16,0-1-16,0 14 16,-13-13-16,0 40 46,0-14-46,0 0 16,14 0 0,-1-13-16</inkml:trace>
  <inkml:trace contextRef="#ctx0" brushRef="#br0" timeOffset="79515.73">15650 8149 0,'0'53'16,"0"-40"-16,0 14 15,-13-14-15,13 13 16,0 1-16,0-1 0,0 1 0,0-14 16,0 14-16,0-14 0,0 13 0,0-13 0,0 1 15,0-1-15,0 0 16,0 0-16</inkml:trace>
  <inkml:trace contextRef="#ctx0" brushRef="#br0" timeOffset="80195.2">15610 8348 0,'27'0'94,"-27"-14"-94,0 1 15,0 0-15,0 0 16,13-1-16,0 1 15,-13 0-15,14 0 0,-1 0 16,0 13-16,0-14 0,0 14 0,1 0 16,-1 0-16,0 0 0,0 0 15,1 14-15,-14-1 16,0 13 0,0-13-1,13 1-15,-13-1 16,13-13-16,0 13 0,1-13 15,-14 13-15,13-13 0,0 14 16,-13-1-16,13-13 0,-13 13 0,13-13 16,-13 13-16,0 1 0,-13-1 15,13 0-15,-13 0 0,0 0 16,0 1-16,-1-14 0,1 13 16,0-13-16,0 13 0,-1-13 15,1 0-15,0 0 0,0 0 0,13-13 16,-14 13-16,14-13 15,0-1-15</inkml:trace>
  <inkml:trace contextRef="#ctx0" brushRef="#br0" timeOffset="80497.9">15928 8189 0,'13'-13'0,"-26"26"0,39-40 16,-12 54 15,-14-14-31,-14 0 16,14 1-16,0-1 0,0 0 0,0 0 15,0 0-15,0 1 0,0-1 16,14 0-16,-14 0 0,13-13 16,-13 14-16,13-14 0,0 0 15,14 0-15,-14-14 16,0 14-16,0 0 16,1-13-16,-1 13 0,0 0 31,0 13-31,-13 1 15,0-1-15,0 0 16,0 0-16,0 1 0,-13-1 16,13 0-16</inkml:trace>
  <inkml:trace contextRef="#ctx0" brushRef="#br0" timeOffset="80620.11">16179 8229 0,'0'-14'16</inkml:trace>
  <inkml:trace contextRef="#ctx0" brushRef="#br0" timeOffset="80987.89">16338 8268 0,'0'40'31,"-13"-40"-31,13 13 0,0 0 0,0 1 15,-13-1-15,13 0 16,0 0-16,26-26 47,-13 0-31,0 13-16,1-13 15,-1 13 1,0 13-16,0 0 15,1-13 1,-14 13-16,13-13 0,0 14 16,0-14-16</inkml:trace>
  <inkml:trace contextRef="#ctx0" brushRef="#br0" timeOffset="81419.17">16761 8123 0,'0'0'0,"-13"26"32,13-13-17,0 1-15,-13-1 0,13 13 0,-13-12 16,13-1-16,0 13 0,0-13 16,-14 1-16,14-1 0,0 0 0,0 0 15,0 1-15,-13-1 16,0-13 15,0 0-31,13 13 0,-13-13 16,-1 0-16,1 13 0,0-13 0,13 14 15,-13-14-15,-1 13 0,1-13 16,13 13-16,-13-13 16,26 13-16,14-26 15,-14 13-15,27-13 16,-27 13-16,0 0 0,0 0 15,0-13-15,1 13 0,-1 0 16,0 0-16,0 0 0,1 0 16,-1 0-16,-13 13 15,13-13 1,-13 13-16,0 0 31</inkml:trace>
  <inkml:trace contextRef="#ctx0" brushRef="#br0" timeOffset="81563.78">16894 8268 0,'0'-13'0,"0"26"16,0-39-16,-14 26 0,1 13 31</inkml:trace>
  <inkml:trace contextRef="#ctx0" brushRef="#br0" timeOffset="81896.3">16920 8295 0,'13'0'0,"-13"13"16,14-13-1,-14 13-15,0 0 16,0 1 0,13-1-1,0-26 17,0 13-32,0 0 15,1 0 1,-1-14-16,0 28 31,0-14-31,1 0 16,-1 0-1,0 0 1,0 0-16</inkml:trace>
  <inkml:trace contextRef="#ctx0" brushRef="#br0" timeOffset="82139.92">17171 8321 0,'14'-13'0,"-1"13"16,-40 13-16,67-26 31,-53 39-15,13-12-16,-13-1 15,13 0-15,-27 14 16,27-14-16,-13 0 0,0 0 16,13 0-16,-13-13 0,13 14 15,13-41 16,-13 14-31,13 13 0,-13-13 16,13 13-16,-13-13 16</inkml:trace>
  <inkml:trace contextRef="#ctx0" brushRef="#br0" timeOffset="82376.39">15822 8731 0,'251'-13'31,"-184"0"-31,-1 13 16,0-13-16,13 13 0,-26 0 0,53-14 15,-66 1-15,-1 13 16,1 0-16,-13-13 0,-14 13 0,0 0 16,0-13-16,0 13 0,-13-14 15,14 14-15,-28-13 0</inkml:trace>
  <inkml:trace contextRef="#ctx0" brushRef="#br0" timeOffset="84179.85">886 2937 0,'0'0'0,"27"26"0,-27-12 16,13-1-16,0 13 0,0 14 15,1-14-15,-1 14 0,0 0 0,-13-1 16,13 14-16,1 0 0,-1-13 0,-13 13 16,0-13-16,13 12 0,-13-12 15,0-13-15,0 12 0,13-12 0,-13-14 16,0 13-16,0-12 0,0-1 0,0 0 16</inkml:trace>
  <inkml:trace contextRef="#ctx0" brushRef="#br0" timeOffset="85132.09">966 2910 0,'0'0'0,"0"-13"16,13 13-16,0 0 0,0 0 0,27 0 16,0 0-16,-14 0 0,27 0 15,13 0-15,14 0 0,-14 0 16,13 0-16,14 0 0,-14 0 16,14 0-16,-1 0 0,1 0 0,13 0 15,0-13-15,-14 13 0,14 0 0,0 0 16,0 0-16,0 0 0,-14 0 15,14-13-15,-13 13 0,12 0 0,-12 0 16,0 0-16,-14 0 0,0 0 0,1 0 16,-14-13-16,0 13 0,-13 0 15,0 0-15,13 0 0,-13 0 0,-13 0 16,13-14-16,-14 14 0,-12 0 16,12 0-16,-12 0 0,-1 0 15,1 0-15,13-13 0,-14 13 0,27 0 16,-27 0-16,1-13 0,-1 13 15,1 0-15,-1 0 0,1-13 16,-1 13-16,1 0 0,12 0 0,-26 0 16,14 0-16,-1-14 0,1 14 0,-1 0 15,1 0-15,12 0 0,-25 0 16,12 0-16,1 0 0,-1 0 0,0 0 16,-12 0-16,12 0 0,1 0 15,-14 0-15,0 0 0,14 0 16,-14 0-16,13 0 0,-13 0 0,14 0 0,-14 0 15,14 0-15,-14 0 0,0 0 16,0 0-16,1 0 0,-1 14 16,0-14-16,0 0 0,0 0 0,1 0 15,-1 0-15,0 0 0,0 0 16,1 0-16,-1 0 16,0 0-1,0 0 1,1 13-16,-1-13 15,-13 13-15,13-13 0,0 13 16,0 1 0,-13-1-16,14 0 0,-1 0 0,0 0 15,0 1-15,1 12 0,-1-13 16,13 40-16,-12-40 0,-1 14 16,0-1-16,0 1 0,0-14 15,-13 14-15,14-1 0,-1-13 0,-13 14 16,26 39-16,-26-40 0,14 14 15,-14-14-15,13 41 0,-13-28 16,13-12-16,-13-1 16,0 1-16,0 12 0,0-12 0,13-1 0,-13 1 15,0-1-15,13-13 0,-13 14 16,0-14-16,14 0 0,-14 1 16,0-1-16,0 0 0,0 0 0,0 0 15,0 1-15,-14-14 16,1 0-16,0 13 0,-27-13 15,1 0-15,-14 13 0,-13-13 0,-14 0 16,-12 0-16,-1 13 0,-13-13 0,-172 14 16,133-14-16,-14 13 15,14-13-15,-14 13 0,13 0 0,-12-13 16</inkml:trace>
  <inkml:trace contextRef="#ctx0" brushRef="#br0" timeOffset="86764.95">7131 4061 0,'0'0'0,"0"-13"0,0 0 16,13 26 31,-13 0-47,0 1 0,0-1 0,0 13 15,0-12-15,0-1 0,13 13 0,-13-13 16,0 14-16,0-14 0,0 0 15,0 1-15,0-1 0,0 0 16,0 0-16,0 14 0,13-14 16,-13 0-1,-13 0-15,13 1 16</inkml:trace>
  <inkml:trace contextRef="#ctx0" brushRef="#br0" timeOffset="87163.09">7051 4260 0,'0'-13'15,"13"39"1,-13-13 0,0 0-16,14-13 0,-14 14 0,13-1 15,-13 0-15,13 0 0,0 1 16,1-1-16,-14 0 16,13-13-16,0 0 15,0 0-15,0 0 16,1 0-16,-14-13 15,13 13-15,0-13 16,0-1-16,-13 1 0,14 13 16,-14-13-16,13 0 0,-13-1 15,13 14 1,-13-13-16,13 13 16</inkml:trace>
  <inkml:trace contextRef="#ctx0" brushRef="#br0" timeOffset="88164.07">12065 4035 0,'0'-13'31,"0"39"-15,-13-13-16,13 1 0,0-1 0,0 13 16,-13-12-16,13-1 0,-14 0 15,14 13-15,-13-12 0,13-1 0,0 0 16,-13 0-16,13 1 0,-13-1 0,13 0 16,0 0-16,-14 0 15</inkml:trace>
  <inkml:trace contextRef="#ctx0" brushRef="#br0" timeOffset="88547.09">11919 4220 0,'0'-13'0,"0"53"31,0-27-15,14-13-16,-14 13 0,0 0 16,13-13-16,-13 13 0,13-13 15,-13 14-15,13-1 16,1-13 0,-1 0-16,0 0 15,0-13-15,1-1 16,-1 14-16,-13-13 15,13 13-15,-13-13 0,13 13 0,0 0 16,-13-13-16,14 13 16,-1-13-1,0 26 1,0 0 15</inkml:trace>
  <inkml:trace contextRef="#ctx0" brushRef="#br0" timeOffset="106379.29">2090 6773 0,'-13'14'0,"0"-14"31,52-14 0,-25 14-15,-1 0-16,0 0 0,14-13 0,-14 13 16,13-13-16,-13 13 0,14-13 15,-1 13-15,1-14 0,-14 1 16,14 13-16,-1-13 0,-13 13 0,14-13 0,-14 13 15,0-13-15,0 13 0,1 0 16,-14-14-16,13 14 0,0 0 16,0 0-1</inkml:trace>
  <inkml:trace contextRef="#ctx0" brushRef="#br0" timeOffset="119461.22">4683 3982 0,'0'-13'16,"13"39"30,-13-13-46,0 14 0,0-14 16,14 14-16,-14-14 0,0 13 16,13-12-16,0 12 0,-13 0 0,13-12 15,0 12-15,1-13 0,-1 1 16,0-1-16,0 0 0,14 0 0,26 0 16,-27 1-16,1-14 0,12 0 15,14 0-15,-13-14 0,13 14 16,0 0-16,0-13 0,0 0 0,0 13 15,0-13-15,-14 13 0,14-13 0,-13 13 16,-1 0-16,1-14 0,-13 14 16,12 0-16,-25 0 0,12 0 15,0-13-15,-12 13 0,-1 0 0,13 0 16,-12 0-16,-1 0 0,0 0 16,0 0-16,1 0 15,-1 0-15,0-13 16,0 13-16,-13-13 31</inkml:trace>
  <inkml:trace contextRef="#ctx0" brushRef="#br0" timeOffset="119769.07">5768 4075 0,'-13'0'16,"26"0"-16,0 13 15,0-13-15,-13 13 16,27-13-16,-14 13 0,0-13 0,1 14 16,-1-14-16,13 13 0,-13 0 0,1 0 15,-1 0-15,0-13 0,0 14 16,1-1-16,-14 0 0,0 0 15,13 1-15,-13-1 0,-13 0 0,13 13 16,-14-12-16,1-1 0,0 13 16,0-12-16,-14 12 0,14-13 0,-13 1 15,12-1-15,1 0 0,0 0 0,-14 0 16,14 1-16,0-1 0</inkml:trace>
  <inkml:trace contextRef="#ctx0" brushRef="#br0" timeOffset="120972.33">7157 4101 0,'0'-13'16,"13"26"15,-13 0-31,0 1 16,0-1-16,0 0 0,13 0 16,-13 0-16,0 14 0,0-14 0,0 0 15,0 1-15,0 12 0,0-13 16,0 0-16,0 1 15,0-1-15,0 0 0,-13-13 0,13 13 16,0 1-16,0-1 0</inkml:trace>
  <inkml:trace contextRef="#ctx0" brushRef="#br0" timeOffset="121292.18">7091 4260 0,'-13'0'0,"26"0"0,-13 26 47,13-13-47,-13 1 15,0-1-15,13 0 0,1 0 16,-14 1-16,13-14 15,-13 13-15,0 0 0,13-13 16,-13 13 0,13-13-16,0-13 15,1 13-15,-14-13 16,13 13-16,0-13 16,0 13-1,1-14-15</inkml:trace>
  <inkml:trace contextRef="#ctx0" brushRef="#br0" timeOffset="122362.29">12105 4035 0,'-14'40'16,"14"-27"-1,0 0-15,-13 0 0,13 1 0,-13-1 16,13 0-16,-13 13 0,13-12 0,-13-1 15,13 0-15,-14 0 0,14 1 16,0-1-16,-13 0 0,13 0 16</inkml:trace>
  <inkml:trace contextRef="#ctx0" brushRef="#br0" timeOffset="122688.77">11972 4180 0,'14'14'47,"-14"-1"-31,13 0-16,0 0 15,0 1-15,1-1 16,-1-13-16,0 0 16,-13 13-16,13-13 0,0 0 0,1 0 15,12-13 1,-13 13 0,1 0-16,-1-13 0,0 13 15,0-14 1</inkml:trace>
  <inkml:trace contextRef="#ctx0" brushRef="#br0" timeOffset="124216.12">15121 7990 0,'0'0'16,"26"0"0,-12 0-16,12 0 0,1 0 15,12-13-15,-12 13 0,26 0 0,-14-13 16,14 13-16,0-13 0,0 13 16,13-13-16,-13 13 0,0-14 0,0 1 15,0 13-15,-13-13 0,-14 13 16,0 0-16,1 0 0,-14-13 15,14 13-15,-14 0 0</inkml:trace>
  <inkml:trace contextRef="#ctx0" brushRef="#br0" timeOffset="124465.04">15293 8070 0,'66'-13'0,"-132"26"0,159-26 0,-67-1 0,0 14 16,1 0-16,13-13 0,-1 13 15,1-13-15,0 13 0,-1-13 16,-12 13-16,-1 0 0,1-14 0,-1 14 16,-13 0-16,14 0 0,-14 0 0,0-13 15,1 13-15,-1 0 16,0 0-16</inkml:trace>
  <inkml:trace contextRef="#ctx0" brushRef="#br0" timeOffset="125811.71">10332 8586 0,'-13'-14'0,"13"67"32,13-39-32,-13-1 0,0 13 15,0 1-15,0-14 0,0 13 0,0 1 16,0-1-16,0-12 0,0 12 16,0 1-16,0-14 0,0 26 15,0-25-15,0-1 0,13-13 0,-13 13 16,0 0-16</inkml:trace>
  <inkml:trace contextRef="#ctx0" brushRef="#br0" timeOffset="126112.04">10279 8572 0,'66'-66'32,"-53"66"-32,14 0 0,-1 0 0,-12 0 15,12 0-15,-13 14 0,14-1 16,-14 0-16,0-13 0,0 13 0,-13 0 16,14 1-16,-14-1 0,0 0 15,0 14-15,0-14 0,-14 0 0,14 0 16,-13 1-16,0 12 0,0-13 15,0 0-15,-1 1 0,1-1 0,0-13 16,0 13-16,-1 0 0,1 1 16</inkml:trace>
  <inkml:trace contextRef="#ctx0" brushRef="#br0" timeOffset="126804.53">10755 8612 0,'-13'0'16,"0"0"-16,0 0 0,-1 0 0,1 13 16,0-13-16,0 14 15,-1-1-15,1-13 0,13 13 0,-13 0 16,13 1-16,-13-1 0,13 0 0,-13-13 15,13 13-15,0 0 0,0 1 16,0-1-16,13-13 0,-13 13 16,13-13-16,13-13 31,-12 13-31,-14-13 16,13-1-16,0 14 0,-13-13 0,13 13 15,1-13-15,-1 13 0,-13-13 0,13 13 16,0 0-16,1 0 15,-1 0-15,0 0 0,-13 13 16,13-13-16,-13 13 0,0 0 16,13-13-16,-13 14 0,0-1 15,0 0 1,14-39 31,-14 12-47,0 1 0,13 0 15,0 0-15,-13 0 16,13-1-16,1 1 0,-14 0 0,13 0 16,0-1-16,0 1 0,1-13 0,-1 12 15,13-12-15,-13 0 0,1 12 16,-1 1-16,0-13 0,0 12 0,-13 1 16,14-13-16,-1 13 0,-13-1 15,13 1-15,-13 0 0,0 0 16,13-1-16,-13 41 31,13-14-31,-13 0 0,0 1 16,0-1-16,0 0 0,14 13 15,-14 1-15,0-1 0,13-12 0,-13 12 16,13-13-16,-13 14 0,0-14 0,13 13 16,-13-12-16,0-1 0,0 0 15,14 0-15,-14 1 0,0-1 0</inkml:trace>
  <inkml:trace contextRef="#ctx0" brushRef="#br0" timeOffset="127095.7">11007 8599 0,'26'-13'15,"-52"26"-15,65-40 0,-25 27 0,-1-13 16,0 13-16,0-13 0,0 13 16,14 0-16,-14-13 0,0 13 15,1 0-15,-1 0 0,0 0 0,0 0 16,1 0-16,-1 13 0,0-13 16,-13 13-16,13-13 0,0 13 15,-13 1-15,0-1 0,14 0 0,-14 0 16,0 1-16,13-1 15,-13 0-15,0 0 0,0 1 16</inkml:trace>
  <inkml:trace contextRef="#ctx0" brushRef="#br0" timeOffset="127256.43">11351 8414 0,'-14'0'16,"28"0"-16,-28-13 0</inkml:trace>
  <inkml:trace contextRef="#ctx0" brushRef="#br0" timeOffset="127849.83">11536 8506 0,'-27'40'32,"27"-27"-17,0 0-15,0 1 0,0-1 16,0 0-16,0 0 0,14-13 15,-14 14-15,13-14 0,0 0 16,14 0-16,-14-14 16,0 14-16,0-13 0,0 13 0,1-13 15,-1 0-15,0 13 16,0 0-16,1 0 16,-14 13-1,13-13-15,-13 13 0,0 0 16,13 1-16,-13-1 15,0 0-15,13 0 0,-13 1 16</inkml:trace>
  <inkml:trace contextRef="#ctx0" brushRef="#br0" timeOffset="128014.2">11774 8414 0,'0'0'0,"-13"0"15,13 13 1</inkml:trace>
  <inkml:trace contextRef="#ctx0" brushRef="#br0" timeOffset="128469.66">11919 8361 0,'-13'26'15,"13"-12"1,0-1-16,0 13 0,0 1 15,-13-1-15,13 1 0,0 12 0,-13 1 16,13-14-16,-13 1 0,13-1 0,0-12 16,0 12-16,-14-13 0,14 14 15,0-14-15,0 0 0,0 0 16,0 1-16,-13-14 0,13-14 31,0 1-31,0 0 16,0-14-16,0 1 0,13 13 0,-13-14 15,14 1-15,-14 13 16,13-14-16,0 14 0,-13 0 0,26-14 16,-12 27-16,-1 0 15,13 0-15,-26 13 16,14-13-16,-14 14 0,0-1 16,0 0-16,0 0 0,0 1 0,-14-1 15,14 0-15,-13-13 16,0 27-16</inkml:trace>
  <inkml:trace contextRef="#ctx0" brushRef="#br0" timeOffset="129363.85">12158 8453 0,'-27'27'31,"14"-27"-31,13 13 16,-13-13-16,13 13 0,0 1 0,0-1 16,-14-13-16,14 13 0,0 0 15,14 0 1,-14 1-16,13-14 0,0 0 15,0 0 1,1 0-16,-14-14 0,13 14 16,0-13-16,-13 0 0,13 13 15,-13-13 1,14 13-16,-14-13 16,13 26-1,0-13 1,-13 13-16,0 0 15,13-13 1,-13 13 0,13-13-16,1 0 31,-1 14-15,0-14-16,0-14 15,1 14 1,-1-13-16,0 0 15,0 13-15,0-13 0,1 0 16,-14-1-16,13 1 0,0 0 0,-13-14 16,0 14-16,13-13 0,-13 13 15,0-14-15,0 14 0,14 0 0,-14-1 16,0 1-16,0-13 0,0 12 16,0 41 15,0-14-31,-14 14 0,14-14 15,0 13-15,0-12 0,0-1 0,0 13 0,0-13 16,0 1-16,0-1 16,0 13-16,14-26 0,-14 14 0</inkml:trace>
  <inkml:trace contextRef="#ctx0" brushRef="#br0" timeOffset="129546.85">12356 8467 0,'-13'0'0,"26"-14"31,0 14-31,0 0 16,1-13-16,12 13 0,1 0 16,-14-13-16,13 13 0,1 0 15,-1 0-15,-13-13 0</inkml:trace>
  <inkml:trace contextRef="#ctx0" brushRef="#br0" timeOffset="129928.95">12846 8467 0,'13'-14'16,"0"14"-16,0 0 15,0 0-15,1 0 0,-1 0 16,0 0-16,0 0 0,1 0 16,-1 0-16,0 0 15,0 0-15</inkml:trace>
  <inkml:trace contextRef="#ctx0" brushRef="#br0" timeOffset="130205.33">12965 8334 0,'13'-13'0,"0"26"0,0-13 16,1 14-16,-1-1 15,-13 0-15,13 0 0,0 1 0,-13-1 16,13-13-16,-13 13 0,0 0 16,0 0-16,0 1 0,0-1 0,0 0 15,-13 14-15,13-14 0,-13 0 16,0 13-16,13-12 0,-13-1 15,13 0-15</inkml:trace>
  <inkml:trace contextRef="#ctx0" brushRef="#br0" timeOffset="130848.8">13560 8149 0,'0'0'0,"-13"27"15,13-14 1,0 0-16,-14 0 0,14 1 0,0 12 16,0-13-16,0 14 0,-13-14 0,13 0 15,0 14-15,0-14 0,0 0 16,13 14-16,-13-14 0,0 0 15,0 0-15,0 0 0,0 1 16,14-14 0</inkml:trace>
  <inkml:trace contextRef="#ctx0" brushRef="#br0" timeOffset="131507.99">13533 8229 0,'14'-14'31,"12"14"0,-26 14-15,13-14-1,-13 13 1,0 0 0,0 0-1,14 0 1,-1-13-16,-13 14 0,13-14 16,0 13-16,-13 0 15,13-13-15,-13 13 0,14 1 16,-14-1-1,-14-13-15,14 13 0,0 0 0,-13-13 16,0 27-16,0-27 0,0 13 16,-1 0-16,1-13 15,0 13-15,0-13 16</inkml:trace>
  <inkml:trace contextRef="#ctx0" brushRef="#br0" timeOffset="131843.78">13732 8162 0,'0'27'32,"0"-14"-17,0 0-15,0 1 16,0-1-16,0 0 0,0 0 15,0 0-15,13 1 0,-13-1 16,13-13-16,1 0 16,-1 0-16,0-13 15,0 13-15,0 0 16,1-14 0,-1 28-16,-13-1 15,13 0-15,-13 0 16,0 1-16,0-1 15,13-13-15,-13 13 0,0 0 16</inkml:trace>
  <inkml:trace contextRef="#ctx0" brushRef="#br0" timeOffset="131999.57">13904 8189 0,'-13'0'15</inkml:trace>
  <inkml:trace contextRef="#ctx0" brushRef="#br0" timeOffset="132359.18">14023 8242 0,'0'13'0,"0"0"0,0 0 16,0 1-1,0-1-15,-13 0 16,13 0 0,26-26 31,-26 0-32,13 13-15,1 0 16,-1 0-1,0 13-15,0-13 16,1 0 0</inkml:trace>
  <inkml:trace contextRef="#ctx0" brushRef="#br0" timeOffset="132781.81">14274 8109 0,'-13'14'32,"13"-1"-32,-13-13 15,13 13-15,0 0 16,0 1-16,-13-1 0,13 0 0,0 0 16,0 1-16,0-1 0,0 0 15,13 0 1,-13 0-16,0 1 15,-13-14-15,-1 0 32,1 13-17,0 0 1,39-13 31,-12 0-47,-1-13 15,0 13 1,0 13-16,1-13 16,-14 13-1,13-13-15,-13 14 16,0-1 0</inkml:trace>
  <inkml:trace contextRef="#ctx0" brushRef="#br0" timeOffset="132940.29">14380 8162 0,'-26'14'16</inkml:trace>
  <inkml:trace contextRef="#ctx0" brushRef="#br0" timeOffset="133337.51">14446 8268 0,'-26'27'0,"26"-14"15,-13-13-15,13 13 16,0 0-16,-14 1 0,14-1 15,0 0 1,-13-13 0,40-13 46,-14 13-46,0-13-1,0 13-15,-13-14 16,13 14-16</inkml:trace>
  <inkml:trace contextRef="#ctx0" brushRef="#br0" timeOffset="133553.03">14512 8281 0,'0'27'32,"0"-14"-17,0 0-15,-13 1 16,13-1-16,-13-13 0,13 13 15,0 0-15,-13 1 0,13-1 0,-14 0 16,14 0-16,-13-13 0,13 13 16,13-39 15,1 13-31,-1 0 0,0-1 16,-13 1-16,13 13 0,1-13 0,-14 0 15,13 13-15,-13-14 0</inkml:trace>
  <inkml:trace contextRef="#ctx0" brushRef="#br0" timeOffset="134226.1">10848 9287 0,'-13'40'16,"13"-27"-1,0 13-15,0-13 0,0 1 0,-14-1 16,14 0-16,0 0 0,0 1 0,0-1 16,0 0-16,0 0 15,0 1-15,0-1 0,14 0 16,-1 0 0,13-13-1,1 0-15,-14 0 16,0-13-16,1 13 0,-1 0 15,0-13-15,0 13 0,0-13 0,1 13 16,-1 0-16,-13-14 0,13 14 16</inkml:trace>
  <inkml:trace contextRef="#ctx0" brushRef="#br0" timeOffset="134377.57">10927 9432 0,'27'-13'32,"-14"13"-32,0 0 0,0 0 15,1 0-15,-1 0 0,0-13 0</inkml:trace>
  <inkml:trace contextRef="#ctx0" brushRef="#br0" timeOffset="134552.94">10954 9274 0,'0'0'16,"13"-14"-1,0 14 1,0 0-16,1 0 0,-1 0 16,0 0-16,0 0 0,14 0 15,-14 0-15,27 0 0,-27 0 16</inkml:trace>
  <inkml:trace contextRef="#ctx0" brushRef="#br0" timeOffset="135071.75">11351 9327 0,'-14'-14'16,"1"28"0,13-1-16,-13 0 0,13 0 15,-13 0-15,-1 1 0,14-1 16,-13 0-16,13 14 0,-13-14 16,0 13-16,0-12 0,13-1 0,-14 0 15,14 0-15,-13 0 0,13 1 16,-13-1-16</inkml:trace>
  <inkml:trace contextRef="#ctx0" brushRef="#br0" timeOffset="135253.01">11165 9393 0,'0'-14'15,"0"41"1,0-14-16,14-13 0,-14 13 0,13 1 15,0-14-15,0 26 16,1-13-16,-1-13 0,0 14 16,0-1-16,0-13 0,14 13 0,-14-13 15,0 0-15,1 13 0</inkml:trace>
  <inkml:trace contextRef="#ctx0" brushRef="#br0" timeOffset="135997.15">11655 9247 0,'-13'40'31,"13"-27"-31,0 0 0,0 14 16,13-14-16,-13 13 0,0 1 0,0-1 16,0 1-16,13-1 0,-13-12 0,0 12 15,0-13-15,13 14 0,-13-14 16,0 0-16,0 0 0,0 1 16,0-1-16,0-53 31,0 14-16,-13 12-15,13-12 0,0-14 0,0 14 16,0-1-16,0 1 0,13-1 16,-13 14-16,0-13 0,14 13 15,-1-1-15,0 1 0,0 13 16,1 0 0,-1 0-16,-13 13 0,0 1 0,0-1 15,0 0-15,0 0 0,0 0 16,0 1-16,0-1 0,-13 0 15,13 0-15,-14 1 0,14-1 16,-13-13-16,13 13 16,0 0-16</inkml:trace>
  <inkml:trace contextRef="#ctx0" brushRef="#br0" timeOffset="136422.17">11853 9432 0,'14'-26'0,"-28"52"15,28-65-15,-14 25 0,0 1 16,0 0 0,0 0-16,13 39 78,0-26-63,0 13-15,0-13 16,-13 14-16,14-14 16,-1 13-16,-13 0 15,13-13-15,-13 13 16,13-13-1,-13-13 1,14 0 0,-14 0-1,13 13-15,-13-14 16,13 14-16,-13-13 0,13 13 16,1-13-16,-1 13 0,0-13 15</inkml:trace>
  <inkml:trace contextRef="#ctx0" brushRef="#br0" timeOffset="136580.37">12197 9274 0,'0'13'31,"-13"0"-15,13 0-16,0 1 0,0-1 15,0 0-15,0 0 16,0 0-16,0 1 15,0-1-15</inkml:trace>
  <inkml:trace contextRef="#ctx0" brushRef="#br0" timeOffset="136724.84">12158 9194 0,'0'0'0</inkml:trace>
  <inkml:trace contextRef="#ctx0" brushRef="#br0" timeOffset="137236.64">12263 9300 0,'0'13'16,"0"27"15,0-27-31,0 0 16,14 1-1,-1-41 16,-13 14-15,13 13-16,-13-13 16,13 13-16,-13-13 15,27 13 1,-27 13 0,13 0-1,-13 0 1,13-13-1,0-13 32,1 13-31,-14-13 0,13 13-16,0 0 31,0 0-31,1 0 15,-14-13 1,13 13-16,0 0 16</inkml:trace>
  <inkml:trace contextRef="#ctx0" brushRef="#br0" timeOffset="137822.2">12554 9313 0,'0'-13'31,"-26"26"0,26 1-15,0-1-1,13-13 1,0 0 0,1 0-16,-1 0 15,0-13-15,0 13 16,-13-14-16,14 14 0,-1-13 0,0 0 16,0 0-16,1-1 15,-1 1-15,0 0 16,0 26 31,-13 0-32,13-13 1,1 0 0,-1-13-16,0 0 15,-13 0-15,13 0 16,1-1-16,-14 1 0,13 0 15,-13 0-15,13 13 0,-13-14 0,13 28 32,-13-1-17,0 0-15,0 0 16,0 1-16,0-1 16,14-13-1,-1 0-15,0 0 16,-13-13-16,13 13 0,-13-14 15</inkml:trace>
  <inkml:trace contextRef="#ctx0" brushRef="#br0" timeOffset="138751.68">10279 8348 0,'-13'-14'0,"0"14"16,-1-13 0,1 13-16,0 0 31,0 0-31,-1 13 0,1 1 16,13-1-16,0 0 15,0 0-15,0 1 0,0-1 0,0 0 16,0 0-16,0 14 0,0-14 0,13 13 15,-13-12-15,0 12 0,0-13 16,0 14-16,0-14 0,0 13 0,0-12 16,0 12-16,0-13 0,-13 1 0,13-1 15,0 0-15,-13 0 0,13 0 16,0 1-16,-13-14 0,13 13 16,-13-13-16,26 26 46,0-26-30,-13 14-16,13 12 0,-13 1 0,13-1 16,1 14-16,-14-1 0,0 1 15,0 0-15,0-1 0,0 14 0,0-13 16,0 13-16,0-13 0,0 13 0,0-14 16,0-12-16,0 12 0,13-12 15,-13-1-15,0-12 0,13-1 16,0 13-16,-13-13 0,14-13 0,-1 14 15,0-14-15,14 0 0,-14-14 16,13 14-16,14-26 0,-14 13 0,1 0 16,-1-1-16,-12 1 0,12 13 0,-13-26 15</inkml:trace>
  <inkml:trace contextRef="#ctx0" brushRef="#br0" timeOffset="139311.41">10028 9102 0,'13'0'0,"-26"0"0,-1 13 32,1-13-17,0 13-15,-13-13 0,-1 13 0,-13 1 16,1-14-16,-1 13 0,0 0 15,-13 0-15,1-13 0,12 14 0,-13-14 16,0 13-16,0 0 0,0-13 16,13 13-16,1-13 0,-1 13 0,14-13 15,-1 0-15,14 0 0,-13 0 16,12 14-16,1-14 0,0 0 0,0 0 16,-1 0-16,14 13 0,-13-13 0,0 0 31</inkml:trace>
  <inkml:trace contextRef="#ctx0" brushRef="#br0" timeOffset="139639.21">9274 9102 0,'-14'0'16,"-38"26"0,38-26-16,1 13 0,0-13 15,13 14-15,-13-1 0,-1 0 0,1-13 16,0 13-16,0 1 0,-1-1 16,14 0-16,-13-13 0,13 13 0,0 0 15,-13 1-15,13-1 0,0 0 16,13 0-16,-13 1 0,0-1 15,13-13-15,1 13 0,-1 0 0,0-13 16,14 13-16,-14-13 0,0 0 16,27 0-16,-14 14 0,-13-14 15,14-14-15,-1 14 0,-12 0 16</inkml:trace>
  <inkml:trace contextRef="#ctx0" brushRef="#br0" timeOffset="140264.74">6866 9300 0,'0'-13'0,"0"39"31,0-12-31,0-1 0,0 0 15,0 13-15,0-12 0,13 12 16,-13-13-16,0 14 0,13-1 0,-13-12 16,0-1-16,14 0 0,-1 13 15,-13-12-15,13-1 0,0 0 16,-13 0-16</inkml:trace>
  <inkml:trace contextRef="#ctx0" brushRef="#br0" timeOffset="140556.14">6879 9353 0,'27'-26'0,"-54"52"0,67-52 0,-27 12 0,0 14 15,1 0-15,-1 0 0,13 14 16,-13-14-16,14 13 0,-14 0 0,0 0 15,1 0-15,-1 1 0,0-1 0,-13 0 16,13 14-16,-13-14 0,0 0 16,0 14-16,0-14 0,-13 0 0,13 0 15,-13 14-15,13-14 0,-13 0 0,-1 0 16,1 1-16,0-14 0,13 13 16,-13 0-16,-1-13 0,14 13 15,-13-13-15,0 0 16</inkml:trace>
  <inkml:trace contextRef="#ctx0" brushRef="#br0" timeOffset="141253.84">7236 9393 0,'0'39'31,"14"-25"-31,-14-1 15,0 0-15,13 0 0,0 1 16,0-1-16,0 0 0,1-13 16,-1 13-16,0-13 0,0 0 15,1 0-15,-1 0 0,0 0 16,0-13-16,1 13 0,-14-13 0,13 13 16,-13-13-16,0-1 0,0 1 15,0 0-15,-13 0 0,13-1 16,-14 14-16,14-13 0,-13 0 0,0 13 15,0-13-15,-1 13 16,1 0-16,0 0 16,0 0-16,13 13 0,0 0 15,-14-13 1,28 13-16,-14 1 16,13-1-16,0-13 15,0 0-15,1 0 16,-1 0-16,0 0 0,0-13 15,1-1-15,-1 14 16,-13-13-16,13 0 0,0 0 16,-13-1-16,13 14 0,-13-13 15,0 0-15,14 13 0,-14-13 16,13 13 0,0 13-1,0 0-15,1 0 16,-1-13-1,0 14 1,0-14-16,1-14 16,-1 1-16,-13 0 15,13 13-15,-13-13 16,13 0-16,-13-1 0,0 1 16,13 13-1,1 0 16,-14 13-31,13 1 0,-13-1 16,13 0-16,-13 0 16,13 0-16,-13 1 0,14-14 15,-14 13-15</inkml:trace>
  <inkml:trace contextRef="#ctx0" brushRef="#br0" timeOffset="141631.97">7726 9088 0,'0'27'16,"0"-14"0,13 0-16,-13 1 15,0-1-15,0 0 0,13 0 16,-13 1-16,0-1 0,0 0 0,0 0 15,14 0 1,-14 1 0,13-14-16,0 0 31,0 0-31,0 0 16,1 0-16,-1 13 15,0 0 1,-13 0-16,-13 14 15,13-14-15,-13-13 16,13 13-16,-14 0 16</inkml:trace>
  <inkml:trace contextRef="#ctx0" brushRef="#br0" timeOffset="141928.18">7924 9062 0,'0'26'31,"0"-12"-31,14-1 0,-14 0 16,0 0-16,0 1 0,13-1 16,-13 0-16,13 0 15,0-13 1,0 0-16,1 0 15,-1 0 1,0 0 0,0 0-16,1 14 15,-1-14 1,0 13-16,0-13 16,0 0-1,-13 13-15,14-13 16</inkml:trace>
  <inkml:trace contextRef="#ctx0" brushRef="#br0" timeOffset="142668.07">7607 9671 0,'13'26'32,"-13"-13"-32,13 0 15,-13 1-15,0-1 0,13 0 16,-13 0-16,0 1 0,0-1 0,14 0 15,-14 0-15,13 0 16,0-26 15,0 0-31,1 0 16,-1 0 0,0 13-16,0 0 15,1-14-15,-1 14 0,-13 14 16,13-14-16,0 13 15,-13 0-15,0 0 16,0 0-16,-13-13 0,13 14 16,0-1-16,-13-13 0,13 13 15,-13 0-15,-1-13 16,1-13 15</inkml:trace>
  <inkml:trace contextRef="#ctx0" brushRef="#br0" timeOffset="142983.99">7818 9604 0,'14'40'31,"-14"-27"-31,13 1 16,-13-1-16,13 0 0,0 0 15,1 0-15,-1-13 32,0 0-32,0-13 0,1 13 15,-14-13-15,13 13 0,0-13 16,0 13 0,0 0-1,1 13 1,-14 0-16,13 0 15,-13 1-15,0-1 16,0 0 0</inkml:trace>
  <inkml:trace contextRef="#ctx0" brushRef="#br0" timeOffset="143112.34">8043 9565 0,'0'0'0</inkml:trace>
  <inkml:trace contextRef="#ctx0" brushRef="#br0" timeOffset="143668.04">8096 9618 0,'13'13'0,"-13"0"16,0 0-16,0 1 0,14-1 0,-14 0 16,13 0-1,13-13 32,-12-13-16,-14 0-15,13 13 0,-13-13-16,13 13 0,-13-14 15,0 1-15,13 0 16,-13 0-1,14 13-15,-1 0 32,0 13-17,-13 0-15,0 0 0,0 1 16,13-1-16,-13 0 16,0 0-16,0 0 0,0 1 0,0-1 15,0 0-15,0 0 0,0 1 16,13-41 15,-13 14-31,14 0 16,-14-1-16,13 1 0,-13 0 15,13 0-15,0 13 0,-13-13 0,14-1 16,-1 1-16,-13 0 0,13 0 0,0 13 16,-13-14-16,14 1 0,-1 13 15,0-13-15</inkml:trace>
  <inkml:trace contextRef="#ctx0" brushRef="#br0" timeOffset="143803.7">8599 9538 0</inkml:trace>
  <inkml:trace contextRef="#ctx0" brushRef="#br0" timeOffset="147684.01">11814 11073 0,'0'0'0,"39"0"15,-12 0-15,-1 0 16,14 0-16,13 0 0,-13 0 0,12 0 16,1 0-16,0 0 0,-13 0 15,0 0-15,-1 0 0,14 0 0,-13 0 16,-14 0-16,14 0 0,0 0 0,-1 0 16,14 0-16,-13 0 0,13 13 0,-13-13 15,13 0-15,-14 13 0,14-13 16,0 0-16</inkml:trace>
  <inkml:trace contextRef="#ctx0" brushRef="#br0" timeOffset="148054.94">14142 11139 0,'40'13'31,"-27"-13"-31,13 0 0,-12 0 0,12 0 16,14 0-16,-14 0 0,14 0 0,-14 0 0,27 0 16,-13 0-16,0 0 15,13-13-15,-14 13 0,-12 0 0,12 0 16,1 0-16</inkml:trace>
  <inkml:trace contextRef="#ctx0" brushRef="#br0" timeOffset="148939.84">14856 10530 0,'0'-13'0,"14"40"31,-14-14-15,0 0-16,0 0 0,0 14 0,0-1 15,-14 14-15,14-14 0,0 14 16,-13-13-16,13-1 0,0 0 16,-13 1-16,13-1 0,0 1 0,0-14 0,0 14 15,0-14-15,0 0 0,-13 0 0,13 0 16,0 1 0,0-1-16,0 0 15,13-13-15,0-13 16</inkml:trace>
  <inkml:trace contextRef="#ctx0" brushRef="#br0" timeOffset="149848.13">14777 10464 0,'13'-13'0,"53"0"15,-39 0 1,26 13-16,-14 0 0,14-14 0,0 14 0,0 0 16,0-13-16,-13 13 0,13 0 15,0 0-15,0-13 0,-1 13 0,1 0 16,-13 0-16,13-13 0,-13 13 0,-1 0 15,-12-14-15,12 14 0,-12 0 16,-1 0-16,1-13 0,-1 13 16,-12 0-16,-1 0 0,13 0 0,-13-13 15,1 13-15,-1 0 0,0 0 16,0 0-16,1-13 0,-1 13 16,0 0-1,0 0 1,1 0-16,-1 0 109,-26 13-93,13 0-1,-14 0-15,14 1 16,0-1-16,-13 13 0,13-12 16,-13-1-16,13 13 0,-13 1 15,13 12-15,-14-12 0,1 13 0,13-14 16,-13 14-16,0-14 0,13 1 16,-14-1-16,14 1 0,-13-1 0,0 0 15,13 1-15,0-1 0,-13-12 16,13-1-16,0 13 0,0-12 0,-13-1 15,13 0-15,0 0 0,0 0 16,0 1-16,0-1 16,0 0-16,0 0 15,0 1 1,0-1 0,-14-13 30,1 0-46,0-13 16,-14 13-16,1 0 0,-1 0 16,-12 0-16,-14 0 0,0 0 15,0 0-15,-26 0 0,-1 13 0,1-13 16,0 0-16,-14 0 0,14 13 0,-1-13 16,1 0-16,13 13 0,0-13 15,13 0-15,13 13 0,-13-13 16,27 0-16,-1 14 0,1-14 0,12 0 0,1 13 15,0-13-15,39 13 16,-12-13 0</inkml:trace>
  <inkml:trace contextRef="#ctx0" brushRef="#br0" timeOffset="156044.07">8546 11430 0,'0'0'0,"40"0"16,-27 13-16,0-13 16,14 0-16,-1 0 0,14 0 0,-14 0 15,27 13-15,-13-13 0,13 0 16,0 14-16,0-14 0,-14 0 0,14 0 16,0 0-16,0 0 0,0 13 15,13-13-15,-13 0 0,0 0 16,0 0-16,-13 0 0,12 0 0,1 0 0,0 0 15,-13 0-15,0 0 0,-1 0 16,1 0-16,-14 0 0,1 0 16,-1 0-16,1 0 0,-1 0 0,-12 0 15,12 0-15,-13 0 0,0 0 0,1 0 16,-1 0-16,0 0 0,0 0 16,1 0-16,-1 0 15,0 0-15,0 0 16,1 0-1,-1 0 1,0 0-16,0 0 16,0 13-1,1-13 1,-1 0-16,0 0 16,0 0-1,1 0-15,-1 0 0,0 0 16,0 0-16,1 0 0,-1 0 15,0 0-15,0 0 0,0-13 16,1 13-16,-1 0 0,0 0 0,0 0 16,1 0-16,-1-13 0,0 13 0,0 0 15,1 0-15,-1-14 16,0 14-16,0 0 0,-13-13 16,13 13-16,1-13 0,-1 0 15,0 0 1,-13-1-16,13 1 15,-13 0-15,0 0 0,14-1 16,-14 1-16,0 0 0,0 0 16,13-1-16,-13 1 0,0 0 0,0 0 15,0 0-15,0-1 0,0 1 16,0 0-16,0 0 0,0-1 16,0 1-16,-13 13 0,13-13 0,-14 0 15,14-1-15,-13 14 0,13-13 16,-13 0-16,0 13 0,13-13 15,-14 13-15,1-13 0,0 13 0,0-14 16,0 14-16,-14-13 0,14 13 16,-14 0-16,14-13 0,-13 13 15,12-13-15,-12 13 0,13-14 0,-14 14 16,14 0-16,-13-13 0,12 13 0,-12 0 16,13-13-16,-14 13 0,1 0 15,13 0-15,-14-13 0,14 13 0,-14 0 16,14 0-16,-13 0 0,12 0 0,-12 0 15,13-13-15,-14 26 0,14-26 16,-13 13-16,12 13 0,1-13 0,-13 0 16,12 0-16,-12 0 0,13 0 0,0 0 15,-1 0-15,-12 0 0,13 0 16,-1 0-16,1 13 0,-13-13 0,13 0 16,-1 0-16,1 0 0,0 0 15,0 0-15,-1 0 0,1 0 0,0 0 16,0 0-16,-1 0 0,1 0 15,0 0-15,0 0 0,0 13 0,-1-13 16,-12 0-16,13 0 0,-1 0 0,1 0 16,0 0-16,-14 0 0,14 0 15,0 0-15,-13 0 0,12 0 0,-12 0 16,13 0-16,-14 0 0,14 0 0,-13 0 16,12 0-16,-12 0 15,13 0-15,-14 0 0,14 0 0,0 0 16,-1 0-16,-12 0 0,13-13 0,0 13 15,-1 0-15,1 0 0,0 0 16,0 0-16,-1 0 0,1 0 0,0 0 16,-14 0-16,14 0 15,0 0 1,0 0-16,0 0 16,-1 0-16,-12 0 15,26-13 1,-13 13-16,-1 0 0,1 0 0,0 0 0,0 0 15,-1 0-15,1 0 0,0 0 16,0 0-16,-14 0 0,14 0 16,0 0-16,0 0 0,-1 0 0,-12 0 15,13 0-15,-1 0 0,1 0 0,0-13 16,0 13-16,0 0 0,-1 0 16,1 0-16,0 0 0,0 0 0,-1 0 15,1 0-15,0 0 0,0 0 16,0 0-16,-1 0 0,1 0 15,0 0-15,0 0 0,-1 0 0,1 0 16,-13 0-16,12 0 0,1 0 0,0 0 16,0 0-16,-14 0 0,14 0 15,0 0-15,0 0 0,-1 0 16,1 13-16,0-13 0,0 0 0,-14 13 16,14-13-16,0 13 0,0-13 0,-1 13 15,-12 1-15,13-1 0,-1 0 16,1 0-16,0 27 0,-13-14 0,12 1 15,14-1-15,-13 1 0,13-1 0,0 1 16,0-1-16,13 1 0,-13-1 16,14 1-16,12 12 0,-13-12 0,14-1 15,-1 1-15,1-1 0,12-13 0,1 14 16,0-14-16,-1 0 16,14 1-16,0-14 0,0 0 0,0 13 0,0-13 15,0 0-15</inkml:trace>
  <inkml:trace contextRef="#ctx0" brushRef="#br0" timeOffset="167229.74">17502 476 0,'0'40'0,"0"-27"0,-13 14 15,13-1-15,0 1 0,-13 12 0,13-12 16,0-1-16,-14 1 0,14-1 15,0 1-15,-13-1 0,13-13 0,0 14 16,0-14-16,0 0 0,-13-13 16,26 13-16</inkml:trace>
  <inkml:trace contextRef="#ctx0" brushRef="#br0" timeOffset="167637.26">17674 609 0,'-13'-14'0,"-14"14"32,14 14-32,0-14 0,0 0 15,0 13-15,-1 0 0,1 0 0,0 0 0,0 1 16,-1-14-16,1 13 16,13 0-16,0 0 0,-13 1 0,13-1 15,0 0-15,13 0 16,0-13-16,1 14 0,-1-14 15,0 0-15,0 0 0,1 0 16,-1 0-16,13-14 0,-13 14 0,14-13 16,-14 0-16,0 13 0,14-13 0,-14-1 15,0 1-15,1 0 0,-14 0 16,13 13-16,-13-14 0,13 1 16,0 13-16,-13-13 0,13 26 31,-13 0-16,0 1-15,-13-1 0,13 0 0,0 0 16,0 1-16,0-1 16,0 0-16,0 0 0,0 1 0,0-1 15,0 0-15,13-13 0,-13 13 0</inkml:trace>
  <inkml:trace contextRef="#ctx0" brushRef="#br0" timeOffset="168062.02">17833 609 0,'13'-27'0,"0"14"32,1 0-32,-1 26 15,-13 0-15,-13 14 16,13-14-1,-14 0-15,14 0 0,-13 0 0,13 1 16,-13-1-16,13 0 0,0 0 16,0 1-1,13-14-15,0 0 16,1 0-16,12-14 16,-13 14-16,1-13 15,-1 13-15,13-13 0,-13 0 0,1 13 16,-1-14-16,0 14 0,0-13 0,1 13 15,-14 13 1,0 1 0,0-1-16,-14-13 15,14 13-15,0 0 0,0 1 16,14-1-16,-14 0 16,13 0-16,0-13 15,0 14 1,1-14-16</inkml:trace>
  <inkml:trace contextRef="#ctx0" brushRef="#br0" timeOffset="168324.81">18891 503 0,'0'0'0,"-13"39"31,13-25-31,0-1 0,0 0 16,0 0-16,0 1 0,0-1 0,0 0 15,0 0-15,0 14 0,0-14 0,0 0 16,0 0-16,0 1 0,0-1 0</inkml:trace>
  <inkml:trace contextRef="#ctx0" brushRef="#br0" timeOffset="168798.99">18957 529 0,'0'0'0,"14"-26"0,-1 26 16,0 0 15,-13 13-31,0 0 0,0 0 15,0 1-15,-13-1 0,13 0 16,0 0-16,0 1 0,0-1 16,0 0-16,0 0 0,0 0 15,0 14-15,0-14 16,0 0 0,13-13-1</inkml:trace>
  <inkml:trace contextRef="#ctx0" brushRef="#br0" timeOffset="169136.94">19196 609 0,'0'13'16,"0"0"0,0 0-16,0 0 15,0 1-15,0-1 16,13-13-1,0 0 1,0 0-16,-13-13 16,13 13-16,1-14 15,-1 14-15,0-13 16,0 13-16,-13 13 16,14-13-1,-1 0-15,-13 14 16,13-14-16,0 0 31,1 0 0,-14-14-31</inkml:trace>
  <inkml:trace contextRef="#ctx0" brushRef="#br0" timeOffset="170161.26">21656 384 0,'-13'26'47,"13"-13"-47,0 14 0,0-14 15,-13 0-15,13 14 0,-14-14 0,14 13 16,0-12-16,0 12 0,-13-13 16,13 1-16,0-1 0,0 0 15,0 0-15,0 0 16,0-52 15,0 26-15,0-1-16,0 1 0,13 0 0,-13 0 15,0-1-15,0 1 0,14 13 16,-14-13-16,13 0 16,0 26-1,-13 0-15,13 0 16,1 1 0,-14-1-1,13-13-15,0 0 31,0-13-15,1-1 0,-1 14 15,0 0-15,0 0-16,0-13 0</inkml:trace>
  <inkml:trace contextRef="#ctx0" brushRef="#br0" timeOffset="170355.75">21987 437 0,'0'-14'16,"-27"28"-1,14-1 1,0 0-16,13 0 0,-13 0 0,0 1 16,13-1-16,-14 0 0,14 0 15,-13 1-15,13-1 0,0 0 0,0 0 16,13 1-16,1-1 0,-14 0 15,13-13-15,0 0 16,0 13-16,0-13 0,1 0 0,-1 0 16,0 0-16,14 0 0</inkml:trace>
  <inkml:trace contextRef="#ctx0" brushRef="#br0" timeOffset="170545.34">22357 476 0,'-13'-13'0,"26"26"0,-39-13 32,13 13-32,13 1 15,0-1-15,-14-13 0,14 13 0,0 0 16,-13 1-16,13-1 0,0 0 16,0 0-16,0 1 0,0-1 15,0 0-15</inkml:trace>
  <inkml:trace contextRef="#ctx0" brushRef="#br0" timeOffset="170795.13">22344 463 0,'13'-26'0,"-26"52"0,40-66 15,-14 40-15,0 14 16,0-14-16,-13 13 0,13-13 15,1 13-15,-14 0 0,13 0 0,-13 1 16,13-1-16,-13 0 0,0 0 16,0 14-16,0-14 0,0 0 15,0 1-15,-13-1 0,13 13 0,-13-13 16,-1 1-16,14-1 0,-13-13 0,0 13 16,13 0-16,-13-13 0</inkml:trace>
  <inkml:trace contextRef="#ctx0" brushRef="#br0" timeOffset="171244.02">22953 450 0,'-27'26'15,"27"-13"1,0 1-16,0-1 0,-13 13 0,13-12 15,0-1-15,0 0 0,-13 0 16,13 1-16,0-1 0,0 13 0,0-13 16,0 1-16,0-1 15</inkml:trace>
  <inkml:trace contextRef="#ctx0" brushRef="#br0" timeOffset="172058.73">22966 476 0,'13'0'0,"0"0"15,-13 13-15,14-13 16,-14 14-16,0 12 16,0-13-1,0 1-15,0-1 0,-14 0 16,14 0-16,0 1 0,0-1 15,0 0-15,0 0 16,0 0-16,-13-13 16,13 14-16,0-1 15,0 0-15,-13 0 16,0-13 0</inkml:trace>
  <inkml:trace contextRef="#ctx0" brushRef="#br0" timeOffset="172329.05">23085 622 0,'0'0'0,"13"13"32,0 0-17,-13 0 1,14-13-16,-1 14 0,0-14 15,0 0 1,1 0 0,-1 0-16,0 0 15,-13-14-15,13 1 16,0 0 0,-13 0-1</inkml:trace>
  <inkml:trace contextRef="#ctx0" brushRef="#br0" timeOffset="172597.06">23283 595 0,'14'-13'31,"-1"26"-31,-13 1 16,13-1-1,-13 0 1,0 0 0,13-26 31,0 13-32,-13-13-15,14 13 0,-14-13 16,13 13-16,-13-14 15,13 14 1,0 0-16</inkml:trace>
  <inkml:trace contextRef="#ctx0" brushRef="#br0" timeOffset="173023.81">23482 556 0,'0'0'16,"13"0"-16,-39 13 46,26 0-14,0 0-32,0 1 15,13-14-15,-13 13 0,0 0 16,0 0-16,0 0 16,0 1-16,0-1 0,0 0 0,0 0 15,-13-13-15,13 14 0,0-1 0,-14 0 16,1 0-16,13 1 15,-13-14-15,13 13 16,-13 0-16,39-39 31,-13 12-15,1 1-16,-1 0 0,0 13 0,0-13 16,0-1-16,1 14 0,-1-13 15,0 0-15,0 13 0,1 0 0,-14-13 16,13 13-16,0-14 15,0 14 1,1-13 0</inkml:trace>
  <inkml:trace contextRef="#ctx0" brushRef="#br0" timeOffset="173707.86">17978 979 0,'159'-27'31,"-106"27"-31,13-13 0,14 0 16,-14 0-16,13 0 0,-13-1 0,14 1 15,12 0-15,-12 0 0,-1-1 0,0 1 16,1 0-16,-14 0 0,-13 13 15,0 0-15,-27 0 0,1-13 0</inkml:trace>
  <inkml:trace contextRef="#ctx0" brushRef="#br0" timeOffset="173910.9">18508 1045 0,'26'-13'0,"-52"26"0,79-39 0,-40 26 0,13-14 15,1 1-15,-1 13 0,1-13 16,12 0-16,-12-1 0,12 14 0,-12 0 16,-1-13-16,1 13 0,-1-13 15</inkml:trace>
  <inkml:trace contextRef="#ctx0" brushRef="#br0" timeOffset="181239.12">22463 1759 0,'-53'186'15,"14"-107"-15,-1 14 0,0 12 0,-13-12 0,14 26 16,-1-13-16,-13 0 0,13 0 0,1 0 15,-1-14-15,0 1 0,1-1 16,12-26-16,1 1 0,-1-1 16,1-13-16,-1 13 0,1-13 0,13 0 15</inkml:trace>
  <inkml:trace contextRef="#ctx0" brushRef="#br0" timeOffset="181559.47">21524 3387 0,'0'39'0,"0"-78"0,0 105 0,-13-40 16,13 1-16,0-1 0,0 1 0,0-1 15,0 14-15,13-1 0,-13-12 0,13 13 16,-13-14-16,13-13 0,1 14 0,-1-14 16,0 0-16,13 0 15,1-13-15,-1 14 0,27-28 0,-13 14 0,26-13 16,-13-13-16,0 13 0,13-14 0,-13 14 16,-13-14-16,-1 14 0,1 0 15,0 0-15,-1-1 0,1 1 16,-13 13-16,-1-13 0</inkml:trace>
  <inkml:trace contextRef="#ctx0" brushRef="#br0" timeOffset="183903.15">14870 11668 0,'-53'172'16,"26"-119"-16,1 0 0,-1 13 15,1-13-15,-14 13 0,14 0 0,-1-13 16,1 13-16,-1-13 0,1 0 0,-1 0 16,14 0-16,-13-13 0,12-14 15,1 14-15,13-14 0,-13-12 0,13-1 16,-13 0-16,13 0 0,-13 0 16</inkml:trace>
  <inkml:trace contextRef="#ctx0" brushRef="#br0" timeOffset="184156.28">14856 11748 0,'-39'13'15,"25"13"-15,-12-13 16,-27 40-16,27-26 0,-27 26 16,26-14-16,1-12 0,13-1 15,-14 1-15,1-1 0,12 1 16,1-14-16,-13 13 0,12-12 16,14-1-16</inkml:trace>
  <inkml:trace contextRef="#ctx0" brushRef="#br0" timeOffset="184363.84">14870 11734 0,'105'172'31,"-78"-145"-15,-1-1-16,-12-13 0,-1 1 0,13-1 15,-13 0-15,1 0 0,-1 1 0,0-1 16,0 0-16,1-13 16,-1 0-16,-13 13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5.898"/>
    </inkml:context>
    <inkml:brush xml:id="br0">
      <inkml:brushProperty name="width" value="0.025" units="cm"/>
      <inkml:brushProperty name="height" value="0.025" units="cm"/>
      <inkml:brushProperty name="ignorePressure" value="1"/>
    </inkml:brush>
  </inkml:definitions>
  <inkml:trace contextRef="#ctx0" brushRef="#br0">1 15,'10'0,"9"-3,6-1,1 0,-4 1</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7.881"/>
    </inkml:context>
    <inkml:brush xml:id="br0">
      <inkml:brushProperty name="width" value="0.025" units="cm"/>
      <inkml:brushProperty name="height" value="0.025" units="cm"/>
      <inkml:brushProperty name="ignorePressure" value="1"/>
    </inkml:brush>
  </inkml:definitions>
  <inkml:trace contextRef="#ctx0" brushRef="#br0">0 0,'4'0,"3"0,5 0,3 0,3 0,1 0,1 0,0 0,0 0,0 0,0 0,0 0,0 0,-1 0,1 0,-4 0</inkml:trace>
</inkml:ink>
</file>

<file path=ppt/ink/ink1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5:40.775"/>
    </inkml:context>
    <inkml:brush xml:id="br0">
      <inkml:brushProperty name="width" value="0.05292" units="cm"/>
      <inkml:brushProperty name="height" value="0.05292" units="cm"/>
      <inkml:brushProperty name="color" value="#002060"/>
    </inkml:brush>
    <inkml:brush xml:id="br1">
      <inkml:brushProperty name="width" value="0.05292" units="cm"/>
      <inkml:brushProperty name="height" value="0.05292" units="cm"/>
      <inkml:brushProperty name="color" value="#FF0000"/>
    </inkml:brush>
  </inkml:definitions>
  <inkml:trace contextRef="#ctx0" brushRef="#br0">9644 2262 0,'-13'0'15,"79"27"1,66-27-1,53 0-15,27 0 16,53 0-16,92 0 16,-66 0-16,0 0 15,-159 0-15,-26 0 16,-93 0-16</inkml:trace>
  <inkml:trace contextRef="#ctx0" brushRef="#br0" timeOffset="1079.12">17701 2289 0,'13'0'62,"40"13"-46,66 0-16,53-13 15,39 0-15,107 0 16,79 0-16,106 0 16,12-13-16,81-80 15,-14 14-15,-93 13 16,1 0-16,-120 39 15,-158-13-15,-40 1 16,-93 39-16,-65 0 16</inkml:trace>
  <inkml:trace contextRef="#ctx0" brushRef="#br0" timeOffset="62079.64">9009 1588 0,'0'0'0,"-13"-14"0,13 41 31,-13-14-31,13 27 0,0 13 16,0-14-16,0 27 0,-14 1 15,14-28-15,0 27 0,0-13 0,-13 0 16,13-13-16,0 13 0,0-14 0,0 1 16,0 0-16,0-14 0,0 1 0,13-1 15,-13-13-15,0 14 16,0-14-16,0 0 0,14-13 0</inkml:trace>
  <inkml:trace contextRef="#ctx0" brushRef="#br0" timeOffset="62800.06">8890 1521 0,'0'-13'0,"13"0"0,67-14 31,-41 14-31,27 0 0,1 0 0,12 0 16,0-1-16,14 1 0,26-13 0,0 12 16,13-12-16,-13-1 0,27 14 15,-14-13-15,14-1 0,-14 1 0,0 13 16,1-14-16,12 14 0,-26-14 16,13 14-16,-26 0 0,13 0 0,-26 0 15,0-1-15,-1 1 0,-12 0 0,-1 0 16,0-1-16,1 14 0,-14-13 0,0 0 15,-13 13-15,0-13 0,-13-1 16,12 14-16,-12 0 0,0 0 16,-14 0-16,1 0 0,-1-13 0,-13 13 15,1 0-15,12 0 0,-13 0 0,1-13 16,-1 13-16,0 0 16,0 0-16,0 0 15,1 0-15,-1 0 16,0 0-1,0 13-15,1 0 16,-1-13-16,0 27 0,14-1 16,-14 14-16,13 0 0,1 13 0,-1 0 15,1 0-15,-1-14 0,1 14 16,-14 0-16,13-13 0,1 13 0,-14 0 16,13 0-16,-12-14 0,12 1 0,-13 0 15,1-1-15,-1 1 0,-13-14 16,13 14-16,0-13 0,0-1 0,1 14 15,-14-27-15,13 13 0,-13-12 16,0-1-16,0 0 0,13-13 16,-13 13-16,0 1 0,-13-1 0,13 0 15,-13 13 1,-1-26-16,-12 14 0,13-14 0,-14 13 16,-26 0-16,14-13 0,-27 13 0,-14 1 15,1-1-15,-1 0 0,-12 13 16,-27-12-16,0-1 0,0 13 0,-14 1 15,14-1-15,0 1 0,0-1 16,13 1-16,27-14 0,13 13 0,13-26 16,0 27-16,0-14 0,27-13 0,-14 13 15,27 1-15</inkml:trace>
  <inkml:trace contextRef="#ctx0" brushRef="#br0" timeOffset="63884.43">18799 1521 0,'-14'93'0,"1"-53"15,13-1-15,-13 27 0,13-13 16,-13 14-16,-1-15 0,14 15 0,-13-28 16,13 14-16,0-13 0,-13 0 15,13-1-15,0 1 0,0-14 0,0-12 16,0 12-16,0 1 0,0-14 0,13 0 15,-13 0-15</inkml:trace>
  <inkml:trace contextRef="#ctx0" brushRef="#br0" timeOffset="64436.43">18878 1164 0,'93'-26'0,"-186"52"0,252-66 0,-93 27 0,27 0 15,-14 0-15,40 0 16,13-1-16,-13 1 0,14 0 0,12 0 16,-13-1-16,14 1 0,-1 13 0,1-13 15,0 13-15,-14-13 0,0 13 16,-26 0-16,0 0 0,0 0 0,-1-14 15,-12 14-15,13 0 0,-27 0 0,1 0 16,-14 0-16,-13 0 0,0 0 0,-14 0 16,1 0-16,-14 0 0,-12 0 15,12 0-15,-13 0 0,1 0 0,-1 14 16,0-14-16,0 0 0,0 0 0,1 13 16,-1-13-16,0 26 15,14 14-15,-14 0 16,0-1-16,-13 1 0,13 0 0,1 13 15,-14 0-15,13-14 0,-13 28 16,0-15-16,0 15 0,13-1 0,-13-13 16,0 13-16,0-27 0,0 14 0,0 0 15,13-13-15,-13 0 0,0-1 0,0 1 16,0-13-16,0-1 0,0 0 16,0 1-16,0-1 0,-13-12 0,13-1 15,0 13-15,-13-13 0,13 1 16,-13-1-16,-1 0 0,-12-13 15,-1 13-15,-12 1 0,-1-14 0,-26 13 16,0-13-16,-14 0 0,-12 0 0,-1 0 16,-39 0-16,-14 0 0,-12-13 15,-1 13-15,-26 0 0,-1 0 0,-25 0 16,-67-14-16</inkml:trace>
  <inkml:trace contextRef="#ctx0" brushRef="#br0" timeOffset="65744.64">4233 3268 0,'40'0'16,"-14"0"-16,1 0 0,26 0 0,0 0 15,26 0-15,-13-14 0,14 14 0,12-13 16,1 0-16,-1 13 0,1-13 15,0 13-15,-1-14 0,-12 14 0,12-13 16,1 13-16,-14-13 0,14 0 0,-14 13 16,1-13-16,-14 13 0,-13 0 0,0-14 15,-1 14-15,-25 0 0,13-13 16,-14 13-16,-13 0 0,1 0 0,12 0 16,-13 0-16,0 0 0,1 0 15,-1 0 1</inkml:trace>
  <inkml:trace contextRef="#ctx0" brushRef="#br0" timeOffset="67008.75">12224 3268 0,'66'0'15,"304"26"1,-264-26-16,26 0 16,14 0-16,-14 13 0,27-13 0,0 0 15,-1 0-15,1 0 0,0 0 0,0 14 16,13-14-16,-14 0 0,1 0 0,0 0 15,-14 0-15,1 0 16,-14 0-16,-26 0 0,0 0 0,-13 0 16,-1 0-16,-12 0 0,-28 0 0,15 0 15,-28 0-15,1 0 0,-14 0 16,1 0-16,-14 0 0,0 0 0,1 0 16,-1-14-16,0 14 0,-53-13 31,14 13-16,-1 0-15,14 0 0,-13 0 16</inkml:trace>
  <inkml:trace contextRef="#ctx0" brushRef="#br0" timeOffset="67562.38">14049 3109 0,'0'0'0,"67"-13"0,91-1 31,-78 14-31,12 0 0,1 0 0,39-13 15,14 13-15,-14 0 0,0 0 0,14 13 16,-14-13-16,14 0 0,-14 14 0,-13-14 16,-26 0-16,12 0 0,94 13 15,-107-13-15,-12 0 0,-1 0 16,-26 0-16,0 0 0,0 0 0,-13 0 16,-14 0-16,1 0 15,39 0-15,-53 0 0,0 0 16,0 0-16,1 0 0,-1 0 15,0 0-15,0 0 16,1 0 0,-1-13 15</inkml:trace>
  <inkml:trace contextRef="#ctx0" brushRef="#br0" timeOffset="79732.64">2408 8599 0,'317'-66'0,"-634"132"0,714-145 15,-318 65-15,0 1 0,14 0 0,0 0 16,-14-1-16,14 1 0,-14 0 16,0 0-16,1 13 0,-14-13 0,-27 13 15,14 0-15,0 0 0,-26-14 16,-1 14-16</inkml:trace>
  <inkml:trace contextRef="#ctx0" brushRef="#br0" timeOffset="79961.56">2672 8837 0,'66'-13'15,"146"-27"1,-159 27-16,0 0 16,0 13-16,0 0 0,0-14 15,0 14-15,-14-13 0,14 13 0,-13 0 16,-14 0-16,1 0 0,-1 0 0,1 0 16,-1 0-16,1 0 0</inkml:trace>
  <inkml:trace contextRef="#ctx0" brushRef="#br0" timeOffset="80861.56">7554 9895 0,'-13'27'16,"-1"-1"-16,14-12 0,-13 118 31,13-106-31,-13 1 16,13-1-16,0-13 0,0 14 0,0-14 15,0 0-15,-13 1 0,13-1 16,0 0-16,0 0 0,13-39 47,0 13-47,-13-14 0,13 1 0,1-14 15,-1 14-15,0-14 0,0 0 0,1 14 16,-1-14-16,13 14 0,-13-1 16,14 1-16,-14-1 0,0 14 15,1 13-15,-1-13 0,0 13 0,0 0 16,1 0-16,-1 0 0,-13 13 15,13 0-15,0 0 0,0 14 0,-13-1 16,0 1-16,14-1 0,-14 1 0,0-1 16,0 14-16,-14 0 0,14-14 0,0 0 15,0 1-15,-13-1 0,13 1 16,0-1-16,0-12 0,0-1 0,0 0 16,0 13-16,-13-12 0,13-1 15,0 0-15,13-13 16</inkml:trace>
  <inkml:trace contextRef="#ctx0" brushRef="#br0" timeOffset="81356.56">5834 10769 0,'53'0'15,"-13"0"-15,13 0 16,13-14-16,13 14 0,14 0 0,-1-13 16,1 13-16,39-13 0,1 0 15,12 13-15,14-14 0,-14 1 0,14 0 16,13 0-16,0-1 0,0 14 16,13-13-16,0 0 0,-13 0 15,14 13-15,-1-13 0,0-1 0,-13 14 16,0-13-16,13 13 0,-26-13 0,13 13 15,-27 0-15,14-13 0,-13 13 16,-14 0-16,-26 0 0,-14-14 0,1 14 16,0 0-16,-14 0 0,-26 0 15,0 0-15,-13 0 0,-14 0 0,-13-13 0,0 13 16,1 0-16,-67 13 31,26-13-31,-12 14 0,-14-14 0,-13 13 16</inkml:trace>
  <inkml:trace contextRef="#ctx0" brushRef="#br0" timeOffset="82628.81">6562 11086 0,'0'0'16,"0"-13"-16,0 0 0,-14-1 15,14 41 17,0-14-32,0 0 15,0 14-15,0-14 0,0 13 0,0-12 0,0 12 16,0 1-16,0-14 16,0 13-16,0-13 0,0 14 0,14-14 15,-14 0-15,0 1 0,0 12 0,0-13 16,0 1-16,13-1 15,-13 0-15,0 0 0</inkml:trace>
  <inkml:trace contextRef="#ctx0" brushRef="#br0" timeOffset="82891.36">6178 11523 0,'0'0'16,"53"0"0,-27 0-16,14-14 0,0 14 15,-1-13-15,1 0 0,0 0 16,0 13-16,12-14 0,-12 1 16,0 13-16,0-13 0,-1 0 0,1 13 15,0-13-15,-14 13 0,-13 0 0,14-14 16,-14 14-16,0 0 0,0 0 0,1 0 15,-1 0-15,-13 14 0</inkml:trace>
  <inkml:trace contextRef="#ctx0" brushRef="#br0" timeOffset="83373.13">6601 11695 0,'-13'0'0,"-27"0"31,40 13-31,-13-13 0,0 13 0,0 0 16,-14 14-16,27-1 0,-13-13 15,0 1-15,13-1 0,-13-13 0,13 13 16,0 0-16,13 1 16,13-14-16,-12-14 15,-1 1-15,13 0 0,-13 0 16,14-1-16,-1-12 0,-12 13 15,12 0-15,-13-1 0,1 1 0,-1 0 16,0 0-16,0 13 16,0 13-16,1 0 15,-14 0-15,0 1 0,0-1 16,0 0-16,0 0 0,0 0 0,0 1 16,0-1-16,0 13 15,0-12-15,0-1 0,13-13 0,-13 13 16,13 0-1</inkml:trace>
  <inkml:trace contextRef="#ctx0" brushRef="#br0" timeOffset="83617.28">7223 11179 0,'0'0'16,"-13"13"-16,13 13 15,-13-12-15,13 12 0,-14 14 16,14-14-16,-13-13 0,13 14 0,0-1 16,0-12-16,0 12 0,0-13 15,0 0-15,0 14 0,0-14 0,0 0 16</inkml:trace>
  <inkml:trace contextRef="#ctx0" brushRef="#br0" timeOffset="83792.05">7064 11351 0,'-13'0'15,"53"0"16,-27 0-31,14 0 16,-14 0-16,13 0 0,1 0 16,-1 0-16,1-14 0,-1 14 0,-13 0 15</inkml:trace>
  <inkml:trace contextRef="#ctx0" brushRef="#br0" timeOffset="84064.78">7938 10967 0,'0'26'31,"0"-12"-31,0-1 0,0 13 15,13-12-15,-13 12 0,0 0 0,13-12 16,-13 12-16,0 1 0,0-14 16,13 13-16,-13-12 0,0-1 0,13 13 15,-13-13-15,0 1 0,0-1 16,0 0-16</inkml:trace>
  <inkml:trace contextRef="#ctx0" brushRef="#br0" timeOffset="84314.97">7660 11404 0,'26'-14'31,"1"14"-31,-14 0 16,13 0-16,1-13 0,12 13 0,1 0 15,0-13-15,0 0 0,-1 13 16,-12 0-16,-1-14 0,1 14 0,-1-13 16,0 13-16,1 0 0,-14 0 0,0 0 15,1-13-15,-1 13 0,0 0 16</inkml:trace>
  <inkml:trace contextRef="#ctx0" brushRef="#br0" timeOffset="84830.96">7832 11615 0,'-14'-13'0,"28"26"0,-41-39 16,14 26-16,-13 13 16,12-13-16,1 0 0,0 13 15,0 0-15,-1 1 0,1-1 0,0 0 16,0 14-16,-1-14 0,1 0 15,13 0-15,-13 1 0,13-1 0,0 0 16,0 0-16,13-13 0,0 13 16,1-13-16,12-13 15,-13 13-15,14-13 0,-1 0 0,1 0 16,-1-1-16,1 1 0,-1 0 0,14-14 16,-27 14-16,0 13 15,1-13-15,-1 13 16,0-13-16,0 26 15,-13 0 1,13 0-16,-13 1 0,0-1 16,0 0-16,0 0 0,0 1 0,14-1 15,-14 0-15,0 0 0,0 0 16,13 1-16,-13-1 16,13-13-16</inkml:trace>
  <inkml:trace contextRef="#ctx0" brushRef="#br0" timeOffset="85600.53">6892 11853 0,'0'0'0,"-13"27"31,13-14-31,0 0 0,0 0 16,0 1-16,0-1 0,13 0 15,1 0-15</inkml:trace>
  <inkml:trace contextRef="#ctx0" brushRef="#br0" timeOffset="86195.33">8295 11695 0,'13'0'0,"0"0"0,-13 13 16,13-13-16,-13 13 0,0 0 16,0 1-16,0-1 15,0 0-15,0 0 0,-13 0 16,13 1-16,-13-1 0,13 0 0,-13 0 16,13 1-16,-14-14 0,14 13 0,0 0 15,-13-13 1,13 13-16,13-13 15,1-13 1,-1 13-16,0 0 16,0-13-16,1 13 0,-1-13 0,0-1 15,0 1-15,1 0 0,-1 0 0,0-1 16,0 1-16</inkml:trace>
  <inkml:trace contextRef="#ctx0" brushRef="#br0" timeOffset="86416.31">8771 11086 0,'-13'26'31,"13"-12"-31,0-1 0,0 13 15,0-12-15,0-1 0,0 13 0,0-12 16,0-1-16,0 13 0,0-13 16,0 14-16,-14-14 0,14 0 0,0 1 15</inkml:trace>
  <inkml:trace contextRef="#ctx0" brushRef="#br0" timeOffset="86600.34">8533 11337 0,'0'-13'16,"13"0"-1,0 0-15,0 13 0,14 0 16,-14-14-16,14 14 0,-1 0 16,-13-13-16,14 13 0,-1 0 0,-13 0 15,14-13-15,-14 13 0,14 0 0</inkml:trace>
  <inkml:trace contextRef="#ctx0" brushRef="#br0" timeOffset="86871.69">9432 10874 0,'0'53'15,"14"-39"1,-14 12-16,13-13 0,-13 14 16,13-1-16,-13 14 0,13-14 0,-13 1 15,0-1-15,0 1 0,14-1 16,-14 1-16,0-14 0,0 13 0,-14-13 15</inkml:trace>
  <inkml:trace contextRef="#ctx0" brushRef="#br0" timeOffset="87077.56">9088 11470 0,'93'-40'15,"-53"27"1,-1 0-16,1-1 0,0 1 16,-1 13-16,41-26 0,-54 12 0,1 14 15,-1-13-15,1 13 0,-1 0 16,-13-13-16,1 13 0,-1 0 16,0 0-16</inkml:trace>
  <inkml:trace contextRef="#ctx0" brushRef="#br0" timeOffset="87484.5">9221 11536 0,'-13'-13'0,"26"26"0,-26-40 0,-1 27 16,1 14-1,0-1-15,0-13 16,-1 13-16,14 14 0,-13-14 0,0 13 15,13-13-15,-13 1 0,13 12 16,0-13-16,-14 1 0,14-1 0,0 0 16,14 0-16,-14 1 0,0-1 0,13 0 15,-13 0-15,13-13 0,0 13 16,1-13-16,-1 0 0,0 0 16,0 0-16,1-13 0,-1 13 0,13-13 15,-13 13-15,1 0 0,-14-13 0,13 13 16</inkml:trace>
  <inkml:trace contextRef="#ctx0" brushRef="#br0" timeOffset="88084.39">9194 11576 0,'14'39'15,"-14"-26"1,0 1-16,0-1 0,13 13 15,-13-12-15,0-1 0,13 0 0,-13 0 16,13 1-16,0-1 16,1 0-16,-1 0 0,0 0 15,0-13-15,1 0 0,-1 0 16,0 0-16,0 14 0,0-14 16,1 0-16,-1 0 0,0-14 0</inkml:trace>
  <inkml:trace contextRef="#ctx0" brushRef="#br0" timeOffset="88411.58">9618 11695 0,'26'13'47,"-13"0"-32,-13 0-15,14 1 16,-14-1-16,13-13 16,-13 13-16,0 0 0,0 0 15,0 14-15,0-14 16,-13 0-16,13 1 15,-14-1-15,1 0 0,0 0 16,13 0-16,-13-13 0,13 14 16</inkml:trace>
  <inkml:trace contextRef="#ctx0" brushRef="#br0" timeOffset="88929.54">10014 11073 0,'0'26'16,"0"-13"-1,0 14-15,0-14 0,0 0 0,0 14 16,0-14-16,0 14 0,0-1 16,0-13-16,0 0 0,0 1 15,0 12-15,0-13 0</inkml:trace>
  <inkml:trace contextRef="#ctx0" brushRef="#br0" timeOffset="89121.52">9895 11179 0,'-13'0'0,"53"0"31,-27 0-15,0 0-16,14 0 0,-14 0 0,13 0 15,-12 0-15,12 13 0,1-13 16,-14 0-16,13 0 0,1 0 0,-1 0 15</inkml:trace>
  <inkml:trace contextRef="#ctx0" brushRef="#br0" timeOffset="89280.55">10451 11165 0,'0'-13'47</inkml:trace>
  <inkml:trace contextRef="#ctx0" brushRef="#br0" timeOffset="89503.28">10861 11099 0,'13'0'31,"-13"-13"-31</inkml:trace>
  <inkml:trace contextRef="#ctx0" brushRef="#br0" timeOffset="89952.67">9565 11602 0,'66'40'47,"-132"-80"-31,119 159 15</inkml:trace>
  <inkml:trace contextRef="#ctx0" brushRef="#br0" timeOffset="90833.35">11417 10795 0,'0'26'15,"0"-12"-15,-13 12 16,13-13-16,0 1 0,0 12 16,0-13-16,0 14 0,0-14 0,0 0 15,0 14-15,0-14 0,13 13 0,-13-12 16,0-1-16,0 0 0,0 0 16,0 0-16,0 1 0</inkml:trace>
  <inkml:trace contextRef="#ctx0" brushRef="#br0" timeOffset="91053.67">11245 11192 0,'0'0'0,"26"-13"31,-13 13-31,1 0 16,12-14-16,-13 14 0,27 0 15,-13 0-15,-1-13 0,14 13 0,-1-13 16,1 13-16,0 0 0,-14 0 0,1-13 16,-1 13-16,1 0 0,-1 0 15,-13 0-15,14 13 0</inkml:trace>
  <inkml:trace contextRef="#ctx0" brushRef="#br0" timeOffset="91592.42">11589 11562 0,'-13'-26'16,"26"52"-16,-26-65 0,13 25 0,-14 14 16,1 0-16,0 0 15,0 14-15,-1-14 16,14 13-16,-13 0 0,0 0 0,0 1 15,13-1-15,-14 0 0,14 0 0,-13 0 16,13 1-16,0-1 16,13 0-16,-13 0 0,14-13 15,-1 0-15,0 0 0,0 0 16,14-13-16,-14 13 0,0-13 16,1 0-16,12 13 0,-13-14 0,0 1 15,1 13-15,-1-13 0,0 0 16,0 13-16,1-13 15,-1 26 1,-13 0-16,0 0 0,0 0 16,0 1-16,0-1 0,0 0 0,0 0 15,0 1-15,13-1 16,-13 0-16,0 0 16,13 1-16,-13-1 15</inkml:trace>
  <inkml:trace contextRef="#ctx0" brushRef="#br0" timeOffset="91928.35">11919 11642 0,'0'26'31,"0"-13"-31,0 1 0,0-1 16,-13-13-16,13 13 0,0 0 16,0 1-1,27-28 1,-14 1 0,0 13-16,0 0 15,-13-13-15,14 13 0,-1 0 16,0 0-16,0 0 15,1 0-15,-1 0 16,-13 13-16,-13 0 31,-1-13-31</inkml:trace>
  <inkml:trace contextRef="#ctx0" brushRef="#br0" timeOffset="92380.42">10980 10914 0,'0'27'15,"0"-14"-15,0 0 16,0 0-16,0 14 0,0-14 0,0 13 16,-13-12-16,13 12 15,0-13-15,0 14 0,0-1 0,0-13 0,0 14 16,0-14-16,-13 0 0,13 1 15,0-1-15,0 0 0</inkml:trace>
  <inkml:trace contextRef="#ctx0" brushRef="#br0" timeOffset="92560.48">10808 11112 0,'0'-13'0,"27"13"15,-14-13-15,0 13 16,14 0-16,-14 0 0,13 0 16,1 0-16,-14 0 0,13 0 0,1-13 15,-1 13-15,-12 0 0,12 0 0,0 0 16</inkml:trace>
  <inkml:trace contextRef="#ctx0" brushRef="#br0" timeOffset="99176.28">9168 5067 0,'0'-27'0,"0"54"0,-13-67 16,-1 27-1,1 26-15,0 0 0,0 1 16,-1 12-16,1 0 0,0 14 16,0-13-16,0 12 0,-1-12 0,14-1 0,-13 1 15,13-1-15,0-13 16,0 14-16,0-14 0,13 0 0,-13 1 15,14-14-15,-14 13 0,13-13 0,0 0 16,0-13-16,14-1 0,-14 1 16,13-13-16,-12-1 0,12 1 0,-13-14 15,1 0-15,-14 1 0,13-1 0,-13 0 16,0 1-16,0 12 0,-13 1 16,13 12-16,0 1 0,-14 0 0,1 0 15,0 13-15,-14 13 0,1 0 16,-1 14-16,14-1 0,-13 27 15,-1-27-15,14 14 0,0 0 16,0 39-16,13-52 0,0-1 16,0 1-16,13-14 0,-13 0 0,13 0 15,0 1-15,1-1 0,-1-13 16,0-13-16,0-1 16,14 1-16,-14-13 0,13-1 0,-12-13 0,-14 14 15,13-14-15,-13-39 0,0 39 16,0 1-16,-13 12 0,13 1 15,-14-1-15,14 14 0,-13 13 0,0 0 16,0 0-16,-1 26 16,-12 1-16,13-1 0,0 14 15,-1 0-15,1 13 0,0-14 0,13 1 0,-13 0 16,13-1-16,13-12 0,-13-14 16,0 14-16,13-14 0,0 0 0,-13 0 15,14 0-15,-1-13 0,0 0 16,0-13-16,0 13 0,1-13 0,12-13 15,-13-1-15,1-13 0,-1 1 0,0-1 16,-13 0-16,0 1 0,0-1 16,0 13-16,0 14 0,0-13 0,0 13 15,0-1-15,-13 1 0,0 26 16,-1 1-16,1 12 0,0 0 16,0 14-16,-1 0 0,14 0 15,-13-1-15,13-12 0,0-1 16,0 1-16,13-14 0,-13 13 0,0-12 15,14-1-15,-14 0 0,13-13 16,0 13-16,0-13 0,1-13 0,-1 0 16,0 0-16,0-14 0,14 1 15,-27-1-15,13-13 0,-13 1 0,13 12 16,-13 1-16,-13-1 0,13 14 16,0-13-16,0 12 0,-13 14 15,-14 14-15,14-1 16,0 27-16,0-14 0,-14 40 15,27-39-15,0-1 0,-13-13 16,13 14-16,0-14 0,0 0 16,13 1-16,-13-1 0,13 0 0,1-13 15,-1 0 1,0-13-16,0 0 0,14-1 0,-14-12 16,0-1-16,0-12 0,1 12 0,-14 1 15,0-1-15,0 1 0,13-1 16,-13 14-16,0 0 0,0 0 0,-27 39 31,14-13-31,13 14 0,-26-1 16,13 14-16,13-14 0,-14-12 15,14 12-15,0-13 0,0 1 0,0-1 16,0 0-16,0 0 0,27-26 16,-14 0-1,0-14-15,0 1 0,1-1 0,-1-12 16,0 12-16,-13 1 0,0-1 0,0 1 15,0 13-15,0-14 0,-13 14 0,0 0 16,13 0-16,-14 13 16,1 0-16,0 0 0,-13 0 15,12 0-15,1 13 0</inkml:trace>
  <inkml:trace contextRef="#ctx0" brushRef="#br0" timeOffset="99729.36">7885 4564 0,'-14'27'16,"14"-1"-1,0-13-15,0 0 0,-13 14 0,13-1 16,0 1-16,-13-14 0,13 13 16,0-12-16,0-1 0,0 13 0,0-12 0,0-1 15,13 0 1</inkml:trace>
  <inkml:trace contextRef="#ctx0" brushRef="#br0" timeOffset="100200.71">8387 4564 0,'0'0'0,"27"0"0,-14 0 16,0 13-16,0-13 15,-13 14-15,14-1 0,-14 0 16,0 0-16,0 0 0,-14 1 0,14-1 16,-13 13-16,0-12 0,13-1 15,-13 0-15,13 0 0,0 0 0,-13 1 16,-1-1-16,14 0 15,14 0 1,-1-13-16,0 0 16,0-13-16,0 13 0,14-13 15,-14 13-15,14-13 0,12-1 16,-12 1-16,-1 0 0,1 0 0,-1 0 16</inkml:trace>
  <inkml:trace contextRef="#ctx0" brushRef="#br0" timeOffset="100776.7">9803 4485 0,'13'0'0,"13"13"15,-26 0-15,14 0 16,-14 1-16,-14-1 0,14 0 15,0 0-15,0 1 0,-13-1 16,26 0-16,-13 0 16,14-13-16,-1 13 15,0-13-15,0 14 0,1-1 16,-1-13-16,-13 13 0,13-13 16,-13 13-16,0 1 0,0-1 15,-13 0-15,0 0 16,-1 0-16,1 1 0,13-1 15,-13-13-15,0 13 0,13 0 0,-14-13 16</inkml:trace>
  <inkml:trace contextRef="#ctx0" brushRef="#br0" timeOffset="101157.42">10649 4392 0,'-52'40'31,"38"-27"-31,1 0 0,0 0 16,0 1-16,-14-1 0,27 0 16,-13 0-16,0-13 0,0 14 0,13-1 15,-14 0-15,14 0 0,0 1 32,14-1-32,-1-13 15,0 0-15,0 0 0,0 0 16,14 0-16,-14 0 0,0-13 15,1 13-15,-1 0 0,13-14 0,-13 14 16,1-13-16,-1 13 0,0-13 16</inkml:trace>
  <inkml:trace contextRef="#ctx0" brushRef="#br0" timeOffset="101339.34">10636 4392 0,'-13'79'32,"13"-65"-32,0 12 0,0 1 0,0-1 15,0 1-15,0-1 0,0-13 16,0 14-16,0-1 0,0 1 0,0-1 16,0-13-16,0 14 0,0-14 0,0 13 15</inkml:trace>
  <inkml:trace contextRef="#ctx0" brushRef="#br0" timeOffset="128249.53">17462 6152 0,'-39'0'31,"26"13"-31,-14 0 0,1 0 0,-14 0 16,-26 27-16,39-13 15,1-14-15,-1 13 0,1-12 0,0 12 0,12-13 16,1 0-16,0 1 0,0-1 15,13 0-15,0 0 16,0 1-16,39-1 16,-25 0-16,12-13 0,0 13 15,1-13-15,13 0 0,-14 0 16,1 0-16,12 0 0,-12 14 0,-1-14 16,1 0-16,-14-14 0,13 14 0,-13 0 15,27 0-15,-27 0 16,1-13-16,-14 0 15</inkml:trace>
  <inkml:trace contextRef="#ctx0" brushRef="#br0" timeOffset="128449.43">17383 6152 0,'-13'13'15,"13"0"-15,-13 13 16,13 1-16,-27 39 0,27-26 15,-13-1-15,0 54 16,-40 238 15,53-292-15,0-12 0</inkml:trace>
  <inkml:trace contextRef="#ctx0" brushRef="#br0" timeOffset="128758.78">16192 7117 0,'40'-13'15,"-80"26"-15,120-39 0,39-1 0,53-12 16,66 12-16,13-12 15,1 12 1,-120 14-16,-13 13 0,159-27 16,-106 1-16,-53 13 15,-66 13-15,0-14 16,-14 14-16,-25 0 16,-54 0-1,14 14 1,-1-14-16,-13 13 0,1 0 0,-1 0 15,0-13-15,1 14 0</inkml:trace>
  <inkml:trace contextRef="#ctx0" brushRef="#br0" timeOffset="129629.77">16947 7170 0,'0'0'0,"-14"0"15,1 13-15,0 1 16,0-1 0,13 13-16,0-12 0,-14 25 15,14-12-15,0-14 0,-13 13 16,26 1-16,-13-14 0,0 14 0,14-1 16,-1-13-16,0 0 15,0 1-15,1-1 0,12-13 16,-13 0-16,0 0 0,1-13 15,-1 13-15,0-14 16,0-25-16,-13 12 16,0-12-16,0 12 0,0 14 15,-13-14-15,13 1 0,-13 0 16,0-14-16,-1 27 0,14-1 16,-13 1-16,0 0 0,0 0 15,0 13 1,13 13-16,-14 0 0,14 0 15</inkml:trace>
  <inkml:trace contextRef="#ctx0" brushRef="#br0" timeOffset="129784.59">17211 7236 0,'13'0'0</inkml:trace>
  <inkml:trace contextRef="#ctx0" brushRef="#br0" timeOffset="130294.05">17410 7144 0,'-40'13'16,"40"0"-1,0 0-15,13 14 16,-13-14-16,13 0 16,1 27-16,-1-27 0,-26 146 62,-1-146-62,14 0 0,14-79 63,-1 40-63,13-14 15,27-66 1,-53 93 0,0-13-16,0-1 15,0 14-15,-13 0 0,0 13 16,-1-13-1,-12 26-15,0-13 16,12 13-16,1 0 0,0-13 16,13 13-16</inkml:trace>
  <inkml:trace contextRef="#ctx0" brushRef="#br0" timeOffset="130621.31">17701 7144 0,'-27'0'15,"14"0"-15,0 13 16,-1-13-16,14 13 0,-13-13 0,0 13 16,0 1-16,0-1 15,13 0-15,13-13 16,0 0-1,0 0 1,0 0-16,1 0 0,-1 0 16,0 0-16,-13 13 15,13-13-15,-13 14 16,14-1-16,-14 0 0,0 0 16,0 0-16,-14 1 0,14-1 15,0 0-15,0 0 0,0 1 16,0-1-16,0 0 15</inkml:trace>
  <inkml:trace contextRef="#ctx0" brushRef="#br0" timeOffset="130945.45">17952 7170 0,'-13'-13'16,"-14"13"-16,14 13 16,0-13-16,0 13 15,13 1-15,-14-1 16,28 0-16,-14 0 16,13-13-16,-13 14 0,13-1 0,0 0 15,-13 0-15,14 0 16,-1 1-16,-13-1 15,0 0-15,-13 0 16,13 1-16,0-1 0,-14-13 0,1 13 16,-13 0-1,12-13-15,-12 0 16,13-13-16</inkml:trace>
  <inkml:trace contextRef="#ctx0" brushRef="#br0" timeOffset="131175.7">18574 6601 0,'26'-13'0,"-13"13"16,1 0-16,-1 0 16,0 0-16</inkml:trace>
  <inkml:trace contextRef="#ctx0" brushRef="#br0" timeOffset="131466.34">18494 6813 0,'14'13'0,"12"-13"16,-13 0-16,106-39 62</inkml:trace>
  <inkml:trace contextRef="#ctx0" brushRef="#br0" timeOffset="136629.31">20174 6376 0,'-13'14'31,"-13"12"-31,13-13 16,-14 14-16,1-1 0,-1 1 15,14-1-15,-14 1 0,-25 12 16,12-12-16,27-1 16,-1-12-16,14-1 15,53 26 16,-26-39-15,26-13-16,277-26 47,-316 39-47,-1 0 16,-13-40 15</inkml:trace>
  <inkml:trace contextRef="#ctx0" brushRef="#br0" timeOffset="136826.49">20241 6376 0,'0'0'32,"0"27"-17,0-14-15,-14 0 0,14 40 16,0-26-16,-13-14 0,0 40 15,13-27-15,-13 1 16,13-1-16,-14 27 0,14-26 16,-13 12-1,13-25-15,0-1 0,0 0 16,13-13-16</inkml:trace>
  <inkml:trace contextRef="#ctx0" brushRef="#br0" timeOffset="137013.74">20585 6575 0,'0'0'0,"0"-13"0</inkml:trace>
  <inkml:trace contextRef="#ctx0" brushRef="#br0" timeOffset="137406.54">21021 6324 0,'-13'13'31,"0"0"-15,-1 0-16,1 0 0,-40 40 15,0 0-15,27-26 16,-14 26-16,27-40 15,0 0-15,0 0 0,-1 1 0,14-1 16,-13 0-16,13 0 16,0 1-1,13-14-15,1 0 0,-1 0 16,0 0-16,13 0 0,-12 0 0,12 0 16,1 0-16,-1-14 0,1 14 15,-14 0-15,13 0 0,1-13 16,-1 13-16,1 0 0,-14-13 15,0 13-15,0 0 0,1 0 16,-14-13-16</inkml:trace>
  <inkml:trace contextRef="#ctx0" brushRef="#br0" timeOffset="137657.62">20968 6337 0,'0'39'31,"-13"-25"-31,13-1 16,0 0-16,-13 14 0,0 26 15,-1-14-15,14-12 16,-13-1-16,0 14 0,13-27 15,-13 27-15,13-27 0,0 0 16,-14-13-16,14 13 0,0 1 16</inkml:trace>
  <inkml:trace contextRef="#ctx0" brushRef="#br0" timeOffset="138044.7">21325 6324 0,'-26'0'15,"13"13"-15,-1 0 0,-12 13 16,-14 27-16,27-26 16,0 13-1,13-1-15,0-26 16,26 14-16,-12-14 15,-1-13-15,0 0 0,0 0 16,0 0-16,1 0 0,12-13 16,-13 0-16,1-14 15,-14 14-15,0 0 16,-14 13 0,-118 13 15,79 27-16,14-14-15</inkml:trace>
  <inkml:trace contextRef="#ctx0" brushRef="#br0" timeOffset="138322.67">19936 7131 0,'0'0'15,"27"-14"-15,26 1 16,145-27 0,-39 1-16,13 12 15,92-12 1,-12-1-1,-107 27-15,-79-1 0,27 1 16,-27 0 0,-26 13-16,-14 0 15,-65 0 1,12 13 0</inkml:trace>
  <inkml:trace contextRef="#ctx0" brushRef="#br0" timeOffset="138569.1">20082 7210 0,'13'13'16,"14"-13"0,25 0-16,41-13 15,-40 13-15,119-40 16,-66 27-16,0 0 15,-14 0-15,-39 13 16,-26-14-16,12 14 16,-12 0-16,-14 0 15,0 0-15</inkml:trace>
  <inkml:trace contextRef="#ctx0" brushRef="#br0" timeOffset="141078.72">9009 5331 0,'27'-13'47,"-94"53"109,81-27-156,12-26 16,1 0-16,-14-1 16,119-290 31,-132 278-47,-13 26 0,0-14 15,-1 14 1,-25 14-16,-14 39 15,40-27-15,-14 14 0,14-14 16,0 14-16,-1-14 0,1 27 16,13-13-16,0-27 0,0 0 15,13 1-15,1 12 0,12-13 16,-13-13-16,1 14 0,12-14 16</inkml:trace>
  <inkml:trace contextRef="#ctx0" brushRef="#br0" timeOffset="142392.43">10398 5424 0,'27'13'0,"-14"-13"15,0 0-15,0-13 16,14 13-16,-14 0 0,13 0 0,-12 0 16,12-13-16,-13 13 0,14 0 0,-14 0 15,13-13-15,-12 13 0,12 0 16,-13 0-16,1 0 0,-1-14 16,0 14-16,-53 14 31,27-14-31,-27 13 15,14-13-15,13 0 16,-14 0-16,1 13 0,-1-13 0,14 0 16,0 0-16,0 0 0,0 13 15,-1-13-15,1 0 0,0 0 0,39 13 32,-12-13-17,-1 0-15,26-13 0,-25 13 16,12 0-16,14 0 15,-27 0-15,0 0 0,0 0 0,1 0 16,-1 0-16,0-13 0,-39 26 47,12-13-47,1 13 0,0-13 16,0 0-16,0 0 0,-1 0 15,1 0-15,0 0 0,0 14 16,-1-14-16,1 0 15,13 13-15,0 0 16</inkml:trace>
  <inkml:trace contextRef="#ctx0" brushRef="#br0" timeOffset="144776.56">10636 5517 0,'0'26'0,"40"53"31,-27-52-31,0-14 0,1 0 16,12 1-16,-13-1 0,14 0 15,-1-13-15,1 13 0,-1-13 0,1 0 16,12 0-16,14 0 0,-13 0 0,13 0 16,0 0-16,0-13 0,-14 13 15,27-13-15,1 0 0,65-14 16,-66 14-16,13-14 0,67 1 15,-80-1-15,13 1 0,-12 13 16,-1-14-16,13 1 0,-13 13 16,67-27-16,-67 14 0,-13 12 0,39-12 15,-52 13-15,0-1 16,-27 14-16,13-13 0,-12 13 16,12-13-16,-13 13 0,0 0 15,-13-13-15,14 13 0,-1 0 0,-13-14 16,-13 1 31</inkml:trace>
  <inkml:trace contextRef="#ctx0" brushRef="#br0" timeOffset="145192.5">12515 5173 0,'39'0'15,"-25"0"-15,12 0 0,-13 0 0,1 0 16,12 0-16,-13 0 16,1 0-16,25 0 0,-26 0 15,14 0-15,-14 0 0,0 0 0,1 0 16,-1 0-16,0 0 0,0 0 16,-13 13-16,14-13 0,-1 0 0,-13 13 15,13-13-15,-13 13 0,0 1 0,13-14 16,-13 13-16,0 0 0,0 0 15,-13 14-15,13-14 0,-13 27 16,0-27-16,-1 13 0,14-12 16,-13-1-16,0 0 0,13 0 0,-13 0 15,13 1-15,-14-1 0,14 0 0,-13 0 16</inkml:trace>
  <inkml:trace contextRef="#ctx0" brushRef="#br1" timeOffset="154186.64">13652 4921 0,'-13'-13'0,"0"39"47,13-12-47,-13-1 0,13 0 16,-13 0-16,13 1 0,-14 25 15,14-12-15,0-14 0,0 27 16,0-14-16,0-13 16,0 1-16,0-1 0,0 0 0,0 0 15,14 1-15,-14-1 0,13-13 0,0 13 0,0-13 16,0 0-1,1 0-15,-1 0 0,0-13 0,0 13 16,1-13-16,-1 13 0,0-14 0,0 1 16,1-13-16,-1 12 0,-13 1 15,0 0-15,0 0 0,0-1 16,0 1-16,0 0 0,0-13 0,0 12 16,-13-12-16,-1 13 0,14-1 15,-13 1-15,13 0 0,-13 0 16,0-1-16,-1 14 15,14-13-15,-26 13 0,13 0 16,13 13 0,-14-13-16,14 14 15,14-1-15</inkml:trace>
  <inkml:trace contextRef="#ctx0" brushRef="#br1" timeOffset="154559.64">14010 4908 0,'-27'13'32,"27"0"-32,-13 1 0,13-1 15,0 0-15,0 0 16,-13 1-16,13-1 0,13 13 15,-13-12-15,13-1 16,0 0-16,1-13 16,-1 0-16,13 0 15,-12 0-15,-14-13 0,13 13 0,0 0 16,-13-13-16,13-1 0,1 1 16,-14 0-16,13 0 0,-13-1 0,13 1 15,-13 0-15,0-14 0,0 14 0,0 0 16,13 0-16,-13 0 0,0-1 15,0 1-15,0 0 0,0 0 16</inkml:trace>
  <inkml:trace contextRef="#ctx0" brushRef="#br1" timeOffset="154826.29">14340 4696 0,'0'-13'16,"0"40"15,0-14-15,0 0-16,0 0 0,0 0 0,0 27 15,0-27-15,0 14 16,0-14-16,0 0 0,0 1 0,0 12 16,0-13-16,0 0 0,14 1 15,-14-1 1,13 0-16</inkml:trace>
  <inkml:trace contextRef="#ctx0" brushRef="#br1" timeOffset="155017.31">14248 4908 0,'0'0'15,"13"-26"1,0 26 0,1-14-16,-1 14 15,0 0-15,0-13 0,27 0 16,-27 13-16,0-13 0,14-1 15,-1 14-15,-13-13 16,1 13-16</inkml:trace>
  <inkml:trace contextRef="#ctx0" brushRef="#br1" timeOffset="155356.5">14658 4604 0,'0'0'0,"0"26"46,0-13-46,0 1 0,13-1 16,-13 0-16,0 14 0,0-14 16,13 13-16,-13-13 0,0 14 0,0-14 15,14 14-15,-14-1 16,13-13-16,-13 1 0,13-14 0,-13 13 16,13-13-16,1 0 15,-1 0-15,0-13 16,0 13-16,-13-14 15,13 1-15,1 0 0,-1 13 16,-13-13-16,13 13 16,0 13-1,-13 0 1,0 0-16,14 1 0,-14-1 16,0 0-1,0 0-15</inkml:trace>
  <inkml:trace contextRef="#ctx0" brushRef="#br1" timeOffset="155528.31">14975 4630 0,'0'-13'0,"-13"13"15</inkml:trace>
  <inkml:trace contextRef="#ctx0" brushRef="#br1" timeOffset="156162.51">15147 4789 0,'-13'-13'0,"13"-1"16,-13 1 0,13 0-16,-13 13 15,-1 0 1,1 13-16,0 0 16,13 1-1,0-1-15,0 0 16,0 0-16,0 1 15,13-14-15,-13 13 0,13-13 16,1 13-16,-1-13 0,0 0 16,0-13-16,1 13 0,-1 0 15,0-13-15,0 13 16,1-14-16,-14 1 0,26 0 16,-26 0-16,13 13 0,-13-14 0,13 14 15,1-13-15,-1 13 16,0 13-1,-13 1-15,0-1 16,0 0-16,-13 0 16,13 1-16,0-1 15,0 0 1,13-39 15,-13 12-31,13 14 16,-13-13-16,14 0 0,-1 0 15,0-1-15</inkml:trace>
  <inkml:trace contextRef="#ctx0" brushRef="#br1" timeOffset="156444.94">14023 5331 0,'40'-26'16,"-14"26"0,1-13-16,25-1 0,1-12 15,212-53 1,-106 52-16,-93 1 15,66-1-15,-66 14 0,133-27 47</inkml:trace>
  <inkml:trace contextRef="#ctx0" brushRef="#br1" timeOffset="156692.38">14168 5345 0,'67'-14'32,"-54"14"-32,13-13 15,54 0-15,-41 0 0,1 13 16,0-14-16,13 1 0,26 0 0,-26 0 15,-13 0-15,-14 13 0,27-14 16,-13 1 0,-27 13-16,0 0 0,0 0 15,1 0-15,-1 0 16,0-13-16</inkml:trace>
  <inkml:trace contextRef="#ctx0" brushRef="#br1" timeOffset="158112.31">14512 5411 0,'14'13'0,"-1"0"16,13 0-16,1 1 16,12-1-16,67 27 0,-40-27 15,1 13-15,-1-13 0,13 14 0,-13-14 16,0 14-16,1-14 0,-1 13 16,0-12-16,-13-1 0,13 0 15,-26 0-15,52 14 0,-52-14 16,0-13-16,-14 13 0,0-13 0,-12 0 15,12 13-15,-13-13 0,1 0 16,-1 14-16,0-14 0,0 0 16,-13-14 31,0 1-32</inkml:trace>
  <inkml:trace contextRef="#ctx0" brushRef="#br1" timeOffset="158537.57">15769 5649 0,'13'13'16,"1"-13"-16,-14 13 0,13 1 16,13 12-16,-12-13 15,-1 0-15,-13 1 16,13-1-16,-13 0 0,0 0 0,0 1 0,0-1 15,0 13-15,-13-12 0,-14 12 16,1 14-16,-1-14 0,-26 14 16,14-1-16,-14 14 0,0-13 0</inkml:trace>
</inkml:ink>
</file>

<file path=ppt/ink/ink1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8:31.607"/>
    </inkml:context>
    <inkml:brush xml:id="br0">
      <inkml:brushProperty name="width" value="0.05292" units="cm"/>
      <inkml:brushProperty name="height" value="0.05292" units="cm"/>
      <inkml:brushProperty name="color" value="#FF0000"/>
    </inkml:brush>
  </inkml:definitions>
  <inkml:trace contextRef="#ctx0" brushRef="#br0">10067 5556 0,'53'0'63,"66"0"-48,67 0-15,78 0 16,93 0-16,252 0 16,39 0-16,0 0 15,67 0 1,-80 0-16,-53 0 15,26 0-15,-145 0 16,-132 0-16,-13 0 16,-120 0-16,-66 0 15,-52 0-15,-67 0 16</inkml:trace>
  <inkml:trace contextRef="#ctx0" brushRef="#br0" timeOffset="1191.18">7686 6390 0,'13'0'125,"80"0"-125,66 0 15,39 0-15,120 0 16,145 0-16,145 0 16,146 0-16,106 0 15,66 0-15,-26 0 16,-14 0-16,14 0 16,-120 0-16,-132 0 15,-184 0-15,-173 0 16,-119 0-16,-67 0 15,-78 0-15</inkml:trace>
  <inkml:trace contextRef="#ctx0" brushRef="#br0" timeOffset="5711.03">2897 8837 0,'119'0'63,"133"27"-48,184-27-15,199 0 16,53 0-16,198 0 16,54 0-16,25 0 15,67 0-15,-40 0 16,-92 0-16,-146 0 16,-251 0-16,-252 0 15,-132 0-15,-66 0 16</inkml:trace>
  <inkml:trace contextRef="#ctx0" brushRef="#br0" timeOffset="11087.17">16484 661 0,'0'-13'31,"0"40"-15,0-14-16,13 13 15,-13-12-15,0-1 0,0 13 16,0-12-16,0-1 0,0 13 0,0-13 15,0 14-15,0-14 0,0 0 0,0 14 16,0-14-16,-13 0 0,13 0 0,0 1 16,0-1-16</inkml:trace>
  <inkml:trace contextRef="#ctx0" brushRef="#br0" timeOffset="11338.25">16761 886 0,'14'0'0,"-14"14"31,13-1-31,-13 0 0,0 0 0,0 0 16,-13 1-16,13-1 0,0 0 15,-14 0-15,14 14 0,-13-14 16,13 0-16,-13 1 0,13-1 0,-13 0 16,13 0-16,-14-13 0</inkml:trace>
  <inkml:trace contextRef="#ctx0" brushRef="#br0" timeOffset="11751.98">17013 675 0,'26'0'0,"-52"0"0,52-14 0,-13 14 16,1 14-16,-1-14 16,0 13-16,-13 0 15,0 0-15,-13 14 16,13-14-16,-13 0 0,-1 14 0,1-14 16,0 0-16,0 0 0,13 1 15,-14-1-15,1 0 0,13 0 0,-13-13 16,13 14-16,-13-1 15,26 0 1,0-13 0,0 0-16,1 0 15,-1 0-15,0 0 0,0 0 16,1 0-16,-1-13 0,0 13 16,0 0-16,1 0 0</inkml:trace>
  <inkml:trace contextRef="#ctx0" brushRef="#br0" timeOffset="11957.56">17317 794 0,'13'13'0,"14"13"31,-14-12-31,-13-1 0,0 0 16,0 0-16,0 1 15,0-1-15,0 0 0,-13 13 0,-1-12 16,14-1-16,-13 0 16,13 0-16,-13-13 0</inkml:trace>
  <inkml:trace contextRef="#ctx0" brushRef="#br0" timeOffset="12377.47">17568 622 0,'14'-13'0,"-1"26"31,0 0-31,-13 0 16,0 0-16,0 1 16,0-1-16,13 0 15,0 0 1,1-13-16,-1 14 0,0-1 15,0-13-15,-13 26 16,14-26-16,-14 14 16,-14-1-16,14 0 0,-13 0 15,0 0-15,0 1 0,-1-14 16,14 13-16,-13 0 0,0-13 16,13 13-16</inkml:trace>
  <inkml:trace contextRef="#ctx0" brushRef="#br0" timeOffset="12637.17">17952 728 0,'13'13'16,"-13"0"-16,0 0 16,0 1-16,0-1 0,0 0 15,-13 0-15,13 0 0,-13 1 16,13-1-16,-13 0 0,-1 0 16,1 14-16,0-14 15</inkml:trace>
  <inkml:trace contextRef="#ctx0" brushRef="#br0" timeOffset="13003.98">18256 569 0,'0'0'0,"0"13"16,-13 0 0,13 1-16,-13-1 0,0 0 15,13 0-15,-14 0 0,1 1 0,13-1 16,-13 0-16,0 0 0,-1 1 16,14-1-16,-13 0 15,13 0 1,0 1-16,13-14 15,1 13-15,-1-13 16,0 0-16,0 0 0,1 0 16,-1 0-16,0 0 0,0 0 0,0-13 15,1 13-15,-1 0 0,0-14 16,0 14-16,1 0 0,-14-13 16,13 13-16</inkml:trace>
  <inkml:trace contextRef="#ctx0" brushRef="#br0" timeOffset="13270.9">18269 542 0,'-13'53'31,"13"-39"-31,0-1 16,0 13-16,0-13 0,0 27 15,0-13-15,-13-14 0,13 13 0,0 1 16,0 12-16,-13-25 16,13-1-16,13-13 0,-13 26 15,0-12-15</inkml:trace>
  <inkml:trace contextRef="#ctx0" brushRef="#br0" timeOffset="13544">18640 648 0,'26'27'32,"-26"-14"-32,14 0 15,-14 0-15,0 1 0,13-1 0,-13 13 0,0-12 16,0-1-16,0 0 0,0 13 16,0-12-16,0-1 0,-13 0 15,13 0-15,0 1 0,-14-1 0,14 0 0,-13 0 16</inkml:trace>
  <inkml:trace contextRef="#ctx0" brushRef="#br0" timeOffset="15054.21">19024 569 0,'13'0'0,"0"0"16,-13-13-16,13 13 16,0 0-1,1 0-15,-41 0 31,14 13-15,0-13-16,0 13 0,-1-13 16,1 0-16,0 13 0,0-13 15,13 14-15,-14-14 16,14 13 0,14 0-1,-1 0-15,0-13 16,0 13-16,1-13 0,-14 14 15,13-14-15,0 13 0,0-13 16,-13 13-16,13-13 0,-13 13 16,0 1-16,0-1 0,-13-13 15,13 13-15,-13 0 0,13 1 16,-13-14-16,0 13 0,-1 0 0,1-13 16,0 13-16,0-13 0,-1 0 15,1 13-15,0-13 0,0 0 16</inkml:trace>
  <inkml:trace contextRef="#ctx0" brushRef="#br0" timeOffset="15416.9">19248 609 0,'-13'13'15,"0"0"1,0 0-16,13 0 16,0 1-16,-13-1 0,13 0 15,0 0-15,0 1 0,0-1 16,13 0-16,0 0 0,0 1 16,0-14-16,1 0 15,-1 0-15,0 0 0,0 0 16,1-14-16,-1 14 0,0-13 15,0 0-15,1 0 16,-14-1-16,0 1 0,0 0 0,0 0 16,0-1-16,0 1 0,-14 13 15,14-13-15,-13 0 0,0 0 16,0-1-16,-1 14 16,-12 0-16,13 0 15</inkml:trace>
  <inkml:trace contextRef="#ctx0" brushRef="#br0" timeOffset="15711.92">19434 582 0,'0'13'16,"0"1"-16,0-1 15,0 0-15,0 0 0,13 0 16,-13 1-16,0-1 0,13 0 15,-13 0-15,13-13 16,-13 14-16,14-14 0,-1 13 0,0-13 16,0 0-16,0 0 0,14 0 15,-14 0-15,-13-13 16,13 13-16,1-14 0,-1 1 16,-13 0-16,0 0 0,0-1 15,-13 1-15,13 0 16,-14 0-16,14 0 0,-13 13 15,0-14-15,0 14 16,-1-13-16,1 26 0,0-13 16</inkml:trace>
  <inkml:trace contextRef="#ctx0" brushRef="#br0" timeOffset="16069.24">19910 661 0,'0'-13'0,"13"0"16,0 13-16,1 0 16,-1-13-16,13 13 15,-13-13-15,1 13 0,-1 0 16,0 0-16,0 0 0,-13-14 0,14 14 15,-1 0-15,0 0 0,-13 14 16</inkml:trace>
  <inkml:trace contextRef="#ctx0" brushRef="#br0" timeOffset="16234.11">19923 728 0,'27'0'31,"-14"0"-31,0-14 16,0 14-16,0 0 0,1 0 0,-1-13 15,0 13-15,0 0 16,1 0-16,-1 0 0</inkml:trace>
  <inkml:trace contextRef="#ctx0" brushRef="#br0" timeOffset="17042.02">20757 423 0,'13'27'32,"-13"-14"-32,0 0 15,-13 0-15,13 1 0,0-1 16,0 13-16,0-12 0,0-1 0,0 13 16,0-12-16,0-1 0,0 0 15,0 0-15,0 0 0,0 1 0,0-1 16,0 0-16,0 0 15,0-39 32,13 13-47,-13-1 0,0-12 0,0 13 16,13-14-16,-13 1 16,13-1-16,-13 1 0,13-1 0,-13 14 0,0-13 15,14 13-15,-14-1 0,13 1 16,-13 0-16,0 0 15,13 13-15,0 13 16,1-13-16,-14 13 0,13 0 16,-13 1-16,0-1 0,13 0 15,-13 0-15,0 14 0,13-14 0,-13 0 16,0 0-16,14 14 0,-14-14 16,0 0-16,0 1 0,13 12 15,-13-13-15,0 0 16,13-13-16,-13 14 0</inkml:trace>
  <inkml:trace contextRef="#ctx0" brushRef="#br0" timeOffset="17234.18">20770 648 0,'-13'0'0,"26"0"0,-26-13 16,26 13-1,0-13-15,0 13 16,0 0-16,1-13 0,-1 13 0,13 0 16,-12-14-16,12 14 15,-13 0-15,27-13 0,-14 13 16,-12 0-16,-1 0 0</inkml:trace>
  <inkml:trace contextRef="#ctx0" brushRef="#br0" timeOffset="17729.2">21193 635 0,'-13'-13'16,"13"0"-1,0-1-15,0 1 16,0 0-16,0 0 0,0-1 16,0 1-16,0 0 0,0 0 0,13-1 15,-13 1-15,0 0 0,0 0 16,0 0 0,0 52 30,13-39-30,-13 13-16,14-13 16,-1 0-16,0 0 15,0 0-15,0-13 0,1 13 16,-1 0-16,0-13 16,0 13-16,1 0 15,-14 13 1,13-13-16,-13 13 15,13 1-15,-13-1 16,0 0-16,13 0 16,-13 1-16,14-1 15,-1 0 1</inkml:trace>
  <inkml:trace contextRef="#ctx0" brushRef="#br0" timeOffset="17939.23">21683 463 0,'13'0'16,"0"-13"-16,14 13 15,-14-13 1,0 13-16,0 0 15,0 13 1</inkml:trace>
  <inkml:trace contextRef="#ctx0" brushRef="#br0" timeOffset="18104">21669 569 0,'-13'13'16,"40"-13"-1,-14 0 1,0 0-16,0 0 16,1 0-16,-1-13 15,0 13-15</inkml:trace>
  <inkml:trace contextRef="#ctx0" brushRef="#br0" timeOffset="28624.1">22423 503 0,'-13'53'0,"13"-40"0,0 13 15,-13-26 1,13 14-16,0-1 0,0 0 16,0 0-16</inkml:trace>
  <inkml:trace contextRef="#ctx0" brushRef="#br0" timeOffset="29420.1">22807 450 0,'-13'-13'16,"0"13"-16,-1 0 15,1 0 1,0 0 0,13 13-16,-13-13 15,13 13 1,0 13-16,13-12 16,-13-1-16,0 0 0,13 0 15,-13 1-15,0-1 0,13 0 16,-13 0-16,0 1 0,0-1 0,0 0 15,0 0-15,0 0 0,-13 1 16,13-1-16,-13-13 16,13 13-16,-13-13 0,-1 13 0,1-13 15,0 14 1,0-28 0,26 1-1,0 0-15,0 0 16,1-1-16,-1 1 0,0 0 0,0 13 15,-13-13-15,14 0 0,-1-1 16,-13 1-16,13 0 0,-13 0 0,0-1 16,13 1-16,-13 0 0,0 0 15,0-14 1,-13 27-16,13-13 0,-13 0 16,0 13-16,-1 0 15,1-13 1,0 26-16</inkml:trace>
  <inkml:trace contextRef="#ctx0" brushRef="#br0" timeOffset="29749.1">23058 542 0,'14'14'16,"-14"-1"-16,13-13 15,-13 13-15,13-13 0,0 0 0,1 0 16,12 0-16,-26-13 16,13 13-16,1 0 0,-14-13 15,13 13-15,0-14 0,-13 1 16,0 0-16,0 0 0,0-1 15,0 1-15,-13 13 16,13-13-16,-13 0 0,-1 13 16,1 0-16,-13-13 0,12 13 15,1 0-15,-13 0 0,12 0 0,-12 0 16,13 13-16,-14-13 0,1 0 16,13 13-16,-14-13 0</inkml:trace>
  <inkml:trace contextRef="#ctx0" brushRef="#br0" timeOffset="31295.23">21061 1402 0,'13'14'16,"0"-1"-1,-13 0-15,0 13 16,14-12-16,-14-1 16,0 13-16,0-12 0,0-1 0,13 0 15,-13 0-15,0 1 0,0-1 0,0 0 16,0 0-16,13 0 0</inkml:trace>
  <inkml:trace contextRef="#ctx0" brushRef="#br0" timeOffset="31492.65">21365 1349 0,'0'-13'0,"0"26"0,0 1 47,13-1-47,-13 13 0,0-12 16,0-1-16,0 0 0,0 0 0,0 0 15,14 1-15,-14-1 0,0 0 16,0 0-16,0 1 0,0-1 16</inkml:trace>
  <inkml:trace contextRef="#ctx0" brushRef="#br0" timeOffset="31680.29">21167 1548 0,'-14'0'16,"54"-27"15,-27 27-31,1 0 0,-1 0 0,0 0 15,0-13-15,27 13 0,-27 0 16</inkml:trace>
  <inkml:trace contextRef="#ctx0" brushRef="#br0" timeOffset="32160.15">21630 1548 0,'-14'-13'47,"14"-1"-47,0 1 16,0 0-16,14 0 15,-14-1 1,0 1 0,13 26 15,0 1-16,0-14-15,-13 13 16,14-13-16,-1 0 16,-13 13-16,13-13 0,0 13 15,1-13-15,-1 0 16,0 14-16,0-14 16,0 0-16,1 0 15,-1 0 1</inkml:trace>
  <inkml:trace contextRef="#ctx0" brushRef="#br0" timeOffset="33053.71">18177 1468 0,'26'-13'16,"1"0"0,-54 26 31,14-13-47,0 13 0,0-13 0,-1 0 15,14 14-15,-13-14 0,13 13 16,0 0-1,13 0 1,1 1-16,-1-1 16,0-13-16,-13 13 0,13-13 0,-13 13 15,14 1-15,-14-1 16,0 0 0,-14-13-16,14 13 0,-13-13 0,13 13 15,-13-13-15,0 0 0,-1 14 16,1-14-16,0 13 0,0 0 0,0-13 15,-14 13-15,14-13 0,-14 14 16</inkml:trace>
  <inkml:trace contextRef="#ctx0" brushRef="#br0" timeOffset="33395.33">16444 2090 0,'40'0'15,"-1"0"1,1-13-16,39 13 0,1 0 0,26-13 16,13 0-16,0-1 0,13 1 0,13 0 15,1 0-15,-1-14 0,1 14 16,13-14-16,-14 1 0,14 0 0,132-14 15,-145 27-15,-14-1 16,-13-12-16,-26 13 0,-1 13 0,1-14 16,-14 1-16,-13 13 0,-13-13 15,40 13-15,-80 0 0,13-13 16,-12 13-16,-1 0 0,0 0 16,-39 0-1,12 13-15</inkml:trace>
  <inkml:trace contextRef="#ctx0" brushRef="#br0" timeOffset="34005.58">16669 2381 0,'0'0'0,"0"27"47,0-14-47,0 0 16,0 0-16,-13 1 0,13-1 0,0 0 15,-14 0-15,14 1 0,0-1 0,-13 0 16,13 0-16,0 0 0,-13 1 16,13-1-16,0 0 0</inkml:trace>
  <inkml:trace contextRef="#ctx0" brushRef="#br0" timeOffset="34652.22">16828 2606 0,'-14'0'16,"1"0"-16,0 13 0,-14 1 15,1-1-15,-1 0 0,1 14 16,0-14-16,-14 13 0,-92 54 31,105-67-31,14 0 0,-14 0 0,14 1 16,0-14-16,0 13 0,-1 0 16,1 0-16,0 0 15,13 1-15</inkml:trace>
  <inkml:trace contextRef="#ctx0" brushRef="#br0" timeOffset="34950.18">16761 2844 0,'0'14'16,"0"-1"-16,0 53 31,0-53-31,0 0 0,0 1 15,0-1-15,0 0 0,0 0 16,0 0-16,0 1 16</inkml:trace>
  <inkml:trace contextRef="#ctx0" brushRef="#br0" timeOffset="35312.93">17119 2434 0,'0'40'32,"0"-27"-32,0 0 15,0 14-15,0-14 0,0 13 16,0-12-16,0-1 0,0 0 15,0 0-15,0 1 0,13-1 16,-13 0-16,0 0 0</inkml:trace>
  <inkml:trace contextRef="#ctx0" brushRef="#br0" timeOffset="35517.1">17039 2606 0,'-13'-13'16,"26"13"-16,0-13 15,1 13-15,-1 0 16,0 0-16,0-14 0,14 14 0,-14 0 16,0 0-16,0-13 0,1 13 15,12 0-15,-13-13 0</inkml:trace>
  <inkml:trace contextRef="#ctx0" brushRef="#br0" timeOffset="35772.24">17489 2302 0,'0'40'31,"0"-27"-31,0 0 0,-13 13 16,13 1-16,0-14 0,0 27 16,0-27-16,0 0 0,0 1 15,0-1-15,0 0 0,13-13 16</inkml:trace>
  <inkml:trace contextRef="#ctx0" brushRef="#br0" timeOffset="35985.18">17714 2421 0,'-27'13'15,"27"0"1,-13 1-16,0-1 0,0 0 15,-1 14-15,1-1 0,-13 14 0,13-14 16,-14 1-16,14-1 0,-14 14 16,14-27-16,0 0 0,13 14 15,-13-14-15,-1 0 0,14 0 16,-13 1-16</inkml:trace>
  <inkml:trace contextRef="#ctx0" brushRef="#br0" timeOffset="36370.1">17687 2699 0,'27'0'0,"-14"0"0,0 0 0,1 13 16,-14 0 0,0 0-16,0 1 15,0-1-15,-14 0 0,1 14 16,0-14-16,0-13 0,13 13 16,-14 0-16,1 1 0,13-1 15,-13-13 1,13 13-16,13 0 15,14-13 1,-14-13-16,0 13 16,0 0-16,1 0 0,12-13 0,-13 13 15,0-13-15,1 13 0,-1-14 16,0 1-16,0 13 0,1-13 16,-1 0-16</inkml:trace>
  <inkml:trace contextRef="#ctx0" brushRef="#br0" timeOffset="36578.11">18018 2328 0,'0'27'31,"13"-14"-31,-13 0 16,14 0-16,-14 1 0,13 12 15,-13-13-15,0 1 0,13-1 16,-13 0-16,0 0 0,0 14 16</inkml:trace>
  <inkml:trace contextRef="#ctx0" brushRef="#br0" timeOffset="36766.17">17926 2500 0,'-14'0'0,"28"-13"0,-1 13 15,0 0-15,0-13 0,0 13 16,40-13 0,-39-1-16,-1 14 15,0-13-15</inkml:trace>
  <inkml:trace contextRef="#ctx0" brushRef="#br0" timeOffset="36970.44">18283 2209 0,'13'27'16,"-13"-14"-1,0 13-15,0-12 0,0-1 16,0 0-16,0 0 0,0 1 16,0-1-16,0 0 0,0 0 15,13-13-15,-13 13 0</inkml:trace>
  <inkml:trace contextRef="#ctx0" brushRef="#br0" timeOffset="37176.15">18508 2302 0,'0'0'16,"-14"26"15,1-12-31,13-1 0,-26 0 0,12 0 16,1 14-16,0-1 0,-13 1 0,12-14 16,1 13-16,0-12 0,0 12 15,-1-13-15,1 0 0,13 1 0,-13-14 16,13 13-16,0 0 0,0 0 15</inkml:trace>
  <inkml:trace contextRef="#ctx0" brushRef="#br0" timeOffset="37618.33">18415 2606 0,'26'-13'32,"-12"26"-32,-1-13 15,0 13-15,0 1 16,-13-1 0,14 0-16,-14 0 15,13 1-15,-13-1 16,13 0-16,-13 0 15,0 0-15,0 1 16,0-1-16,-13 0 16,0 0-1,-1-13-15,14 14 0,-13-14 16,0 0-16</inkml:trace>
  <inkml:trace contextRef="#ctx0" brushRef="#br0" timeOffset="37829.22">18719 2262 0,'27'13'16,"-27"1"-1,13-1-15,-13 0 16,0 0-16,0 1 0,0-1 15,13 0-15,-13 13 0,0 1 16,0-14-16,0 0 0,0 1 16,0-1-16</inkml:trace>
  <inkml:trace contextRef="#ctx0" brushRef="#br0" timeOffset="38013.21">18666 2408 0,'14'-14'16,"-1"14"-1,0-13 1,0 13-16,0 0 16,1 0-16,-1 0 0,0 0 15</inkml:trace>
  <inkml:trace contextRef="#ctx0" brushRef="#br0" timeOffset="38220.25">18931 2209 0,'0'-13'16,"13"39"15,-13-12-31,0-1 15,0 0-15,0 0 0,0 1 16,0-1-16,0 0 0,0 0 16,-13 1-16,26-1 15,-13 0-15</inkml:trace>
  <inkml:trace contextRef="#ctx0" brushRef="#br0" timeOffset="38435.93">19196 2275 0,'0'-13'16,"-14"40"-1,14-14 1,-13 0-16,0 0 0,0 1 16,-1 12-16,1-13 0,0 14 0,0-14 15,-1 13-15,1-12 0,0-1 0,0 13 16,0-12-16,-1-1 0,1 0 15,0 0-15,0 0 0,13 1 0,0-1 16,-14-13-16</inkml:trace>
  <inkml:trace contextRef="#ctx0" brushRef="#br0" timeOffset="38753.15">19209 2514 0,'13'0'16,"-39"13"0,26 0-16,-14-13 15,1 13-15,0 0 0,0-13 16,13 14-16,-14-1 0,1 0 0,0-13 16,13 13-16,-13 1 0,-1-1 15,1 0 1,13 0-16,13 1 15,1-14 1,12 0 0,-13 0-16,1 0 15,-1 0-15,0-14 0,0 14 0,1-13 16,12 0-16,-13 0 16,0-1-16</inkml:trace>
  <inkml:trace contextRef="#ctx0" brushRef="#br0" timeOffset="38958.18">19301 2514 0,'0'-14'16,"-13"28"15,13-1-31,0 0 16,-13 0-16,13 0 0,0 14 16,0-14-16,0 0 0,0 1 15,0-1-15,0 0 0,13 0 0,-13 1 16,0-1-16,0 0 0,0 0 15,0 0-15,13 1 16,1-14 0</inkml:trace>
  <inkml:trace contextRef="#ctx0" brushRef="#br0" timeOffset="39269.21">19513 2183 0,'-13'26'32,"13"-13"-32,0 1 0,13-1 15,-13 0-15,0 0 0,0 1 16,0-1-16,0 0 0,0 0 16,0 1-16,0 12 0,0-13 15,0 0-15</inkml:trace>
  <inkml:trace contextRef="#ctx0" brushRef="#br0" timeOffset="39467.98">19407 2302 0,'13'-13'16,"1"13"-16,-1 0 15,0 0-15,0 0 0,1-14 16,-1 14-16,0 0 0,0 0 0,14 0 16,-14 0-16,0 0 0,0 0 15,1 0-15,-1 0 0</inkml:trace>
  <inkml:trace contextRef="#ctx0" brushRef="#br0" timeOffset="40156.11">19870 2064 0,'13'26'47,"-13"-13"-47,0 1 16,0-1-16,0 0 0,-13 0 0,13 1 15,0-1-15,0 0 0,-13-13 16,13 13-16,0 0 0</inkml:trace>
  <inkml:trace contextRef="#ctx0" brushRef="#br0" timeOffset="40428.04">20122 2117 0,'0'-14'0,"0"28"0,-14-1 15,1 0 1,0 0-16,0 1 0,-14 12 16,1 14-16,-1-14 0,1 1 15,-1 12-15,1-12 0,-1-1 0,-12 40 16,12-39-16,1 13 16,13-14-16,-1-13 0,14 0 15,-13 1-15,13-1 16,13-13-1</inkml:trace>
  <inkml:trace contextRef="#ctx0" brushRef="#br0" timeOffset="41092.78">20095 2474 0,'-66'13'156,"132"-26"-156,-159 79 31,107-53-15,25 67-1,-52-80-15,-40 53 0,27-53 16,13 13-16,-1-13 0,1-13 31</inkml:trace>
  <inkml:trace contextRef="#ctx0" brushRef="#br0" timeOffset="41433.08">20135 2514 0,'13'-14'0,"-13"28"31,0-1-31,0 0 16,0 0-16,0 0 16,13-13-16,-13 14 0,0-1 15,13-13-15,-13 13 0,14-13 0,-1 0 16,0 13-16,0-13 15,1-13-15,-1 13 0,0 0 16,0 0-16,1-13 0,-1 0 16,0-1-1,-13 1-15,0 0 16,-13 13-16,13-13 16,-13 13-16,13-13 15,-14 13-15,1 0 0,0 0 0,0 0 16,-1 0-16,1 0 15,0 0-15</inkml:trace>
  <inkml:trace contextRef="#ctx0" brushRef="#br0" timeOffset="41733.55">20346 2500 0,'0'14'0,"0"-28"0,0 41 0,14-27 16,-14 13-16,0 0 16,13-13-16,0 13 0,0-13 15,1 0-15,-1 0 0,0 0 0,0 0 16,1 0-16,-1 0 0,0 0 16,13 0-16,-12-13 0,-1 13 15,0 0-15,0-13 0,1 13 0,-1-13 16,-13 0-16,0-1 15,0 1-15,0 0 16,-13 13-16,13-13 16,-14 13-16,1 0 0,0-14 0,0 14 15,-14 0-15,14 0 0,-13 0 16,12 0-16,1-13 0</inkml:trace>
  <inkml:trace contextRef="#ctx0" brushRef="#br0" timeOffset="42500.96">22384 1402 0,'39'-13'31,"-25"13"-31,-1 0 0,0 0 16,14 0-16,-14 0 0,0 0 16</inkml:trace>
  <inkml:trace contextRef="#ctx0" brushRef="#br0" timeOffset="42644.3">22331 1548 0,'13'-13'16,"-26"26"-16,39-26 0,-12 13 15,-1-14-15,0 14 0,0 0 0</inkml:trace>
  <inkml:trace contextRef="#ctx0" brushRef="#br0" timeOffset="43138.14">20360 1574 0,'26'0'31,"-13"0"-31,1 0 16,-1 0-16,0 0 15,0 0-15</inkml:trace>
  <inkml:trace contextRef="#ctx0" brushRef="#br0" timeOffset="43295.95">20307 1720 0,'26'0'15,"-13"0"1,1 0-16,-1 0 0,0 0 0,0-13 15</inkml:trace>
  <inkml:trace contextRef="#ctx0" brushRef="#br0" timeOffset="49571.28">20518 2421 0,'0'-13'0,"-13"13"16,0 0-1,0 0 1,0 0 0,13 13-16,-14-13 0,1 0 15,0 13-15,0 0 16,-1 1-16,14-1 16,-13-13-16,13 13 0,-13 0 15,13 1-15,0-1 16,0 0-16,-13 0 15,26-13-15,-13 13 16</inkml:trace>
  <inkml:trace contextRef="#ctx0" brushRef="#br0" timeOffset="51021.02">22529 886 0,'27'-13'16,"-14"13"-16,0 0 0,0 0 16,14-13-16,-14 13 0,14 0 0,12-13 15,-12 13-15,-1-14 0,14 14 16,-14-13-16,14 13 0,-14 0 0,1-13 16,-1 13-16,1-13 0,-1 13 15,-12 0-15,-1 0 0</inkml:trace>
  <inkml:trace contextRef="#ctx0" brushRef="#br0" timeOffset="51270.2">22503 966 0,'39'0'0,"1"-14"0,92 1 31,-52 0-31,-54 0 16,14 0-16,-14 13 0,1-14 16,-1 14-16,27-13 15,-39 13-15,-1-13 0,0 13 0,0 0 16,0 0-16,1 0 0,-1-13 16,0 13-1</inkml:trace>
  <inkml:trace contextRef="#ctx0" brushRef="#br0" timeOffset="57700.18">19897 4194 0,'39'0'0,"-25"0"0,25 0 16,1-14-16,13 14 15,13-13-15,13 0 0,1 0 0,39 0 16,0-14-16,0 14 0,13-14 0,133-12 16,-120 25-16,1-12 15,-1 13-15,1 0 0,-14-1 0,146-12 16,-146 13-16,-26 13 0,-13 0 16,-1-14-16,-12 14 0,-1 0 0,-13 0 15,-13 0-15,-13 0 0,-14 0 16,1 0-16,-14 0 0,0 0 0,-39 14 31,-1-14-31,1 0 0,-27 0 16,0 13-16</inkml:trace>
  <inkml:trace contextRef="#ctx0" brushRef="#br0" timeOffset="58157.92">20135 4617 0,'0'40'31,"0"-27"-31,-13 13 16,13-12-16,0 25 15,0-12-15,0-14 0,-14 0 0,14 14 16,0-14-16,0 0 0,-13 14 16,13-14-16,0 0 15,0 0-15,0 0 0,0 1 0</inkml:trace>
  <inkml:trace contextRef="#ctx0" brushRef="#br0" timeOffset="58377.06">20492 4564 0,'13'27'31,"-13"-1"-15,0-13-16,0 14 0,0-14 0,0 0 16,0 14-16,0-14 0,-13 0 0,13 0 15,0 0-15,0 14 0,0-14 16,-13 0-16,13 1 0,0-1 16,-13 0-16</inkml:trace>
  <inkml:trace contextRef="#ctx0" brushRef="#br0" timeOffset="58588.2">20227 4815 0,'27'0'31,"-14"0"-31,0-13 0,1 13 16,12 0-16,-13 0 0,14 0 15,-14 0-15,13-13 0,-12 13 16,12 0-16,1 0 0,-14-13 0,13 13 16,-13 0-16,1 0 0,-1 0 0,0-14 15</inkml:trace>
  <inkml:trace contextRef="#ctx0" brushRef="#br0" timeOffset="58969.49">20823 4643 0,'-27'40'15,"27"-27"-15,-13 1 16,13-1-16,0 0 0,0 0 15,0 0-15,13 14 16,-13-14-16,13-13 0,1 13 0,-1-13 16,0 0-16,0 0 0,1 0 15,-1 0-15,0 0 0,0 0 16,-13-13-16,14 13 0,-14-13 16,0 0-16,0-14 15,0 14-15,0 0 16,-14 0-16,1-1 0,13 1 15,-13 0-15,0 0 0,-1 13 16,1 0-16,13-14 16,-13 14-16,0 0 15,-1 14-15</inkml:trace>
  <inkml:trace contextRef="#ctx0" brushRef="#br0" timeOffset="59270">21127 4696 0,'0'0'0</inkml:trace>
  <inkml:trace contextRef="#ctx0" brushRef="#br0" timeOffset="59653.33">21431 4591 0,'-13'-14'16,"-13"28"-16,12-14 16,1 13-16,0-13 0,13 13 15,-13-13 1,13 13-16,13 0 16,-13 1-16,13-14 15,0 13-15,1 0 0,-1-13 16,-13 13-16,13-13 0,0 0 15,-13 14-15,13-1 16,-13 0-16,-13 0 16,13 0-1,-13-13-15,13 14 0,-13-14 0,0 13 16,-1-13-16,1 0 0,0 13 0,0-13 16,-1 13-16,1-13 15</inkml:trace>
  <inkml:trace contextRef="#ctx0" brushRef="#br0" timeOffset="59863.05">21683 4511 0,'13'-13'0,"0"39"31,-13-12-31,0-1 15,0 0-15,0 0 0,0 1 0,0-1 16,0 0-16,0 0 0,-13 14 16,13-14-16,13 0 0,-13 0 0,0 1 15,0-1-15,0 0 0</inkml:trace>
  <inkml:trace contextRef="#ctx0" brushRef="#br0" timeOffset="60052.33">21564 4710 0,'39'0'16,"-26"0"-16,1 0 16,12 0-16,-13-14 0,1 14 15,12 0-15,-13 0 0,1 0 16,-1 0-16,0 0 0,0-13 0,0 13 15,1 0-15,-1 0 0,0 0 16</inkml:trace>
  <inkml:trace contextRef="#ctx0" brushRef="#br0" timeOffset="63801.32">22146 4577 0,'0'-13'0,"-14"13"15,1 13 1,0 1 0,13-1-16,-13 13 15,13 1-15,-14-14 0,14 0 16,0 0-16,0 1 0,0-1 0,0 0 16,14 0-16,-14 0 0,0 1 0,13-14 15,0 13-15,0 0 16,1-13-16,-1 0 0,0 0 0,0 0 15,1 0-15,-1-13 0,0 13 0,0-13 16,0-1-16,-13 1 0,0 0 16,0 0-16,0 0 15,0-1-15,0 1 0,0 0 0,-13 0 16,13-1-16,-13 1 0,0 0 16,13 0-16,-13 13 15,13-13-15,-14 13 0,1 0 16,0 0-16,0 0 15</inkml:trace>
  <inkml:trace contextRef="#ctx0" brushRef="#br0" timeOffset="63943.73">22384 4617 0,'0'-13'0</inkml:trace>
  <inkml:trace contextRef="#ctx0" brushRef="#br0" timeOffset="64410.21">22476 4551 0,'53'13'31,"-53"0"-31,0 1 16,0-1-1,0 0 1,13 0-16,-13 0 15,14-13-15,-1 14 16,-13-1-16,13-13 16,-13 13-16,0 0 0,0 1 15,-13-14-15,13 13 16,0 0-16,-13-13 0,-1 13 16,1-13-16,13 13 0,-13-13 0,0 14 15,0-14-15,-1 0 16</inkml:trace>
  <inkml:trace contextRef="#ctx0" brushRef="#br0" timeOffset="64611.89">22767 4524 0,'14'-13'15,"-1"26"-15,-13 1 16,13-1-1,-13 0-15,0 0 0,0 1 16,0-1-16,0 0 0,13-13 16,-13 13-16,0 0 0,0 1 0,0-1 15,0 0-15,-13 0 16,13 1-16</inkml:trace>
  <inkml:trace contextRef="#ctx0" brushRef="#br0" timeOffset="64819.87">22609 4710 0,'13'-14'0,"0"14"0,0 0 16,1 0-16,12-13 0,-13 13 15,0 0-15,1 0 0,-1 0 0,27-13 31,-27 13-31,0 0 0,0 0 0,1 0 16,-14-13-16</inkml:trace>
  <inkml:trace contextRef="#ctx0" brushRef="#br0" timeOffset="69163.22">22688 4538 0,'0'-14'16,"13"1"15,0 13-15,1 0-1,-1 0-15,0 0 0,0 13 0,1-13 16,-1 0-16,-13 14 16,13-14-16,-13 13 0,13-13 0,-13 13 15,0 0-15,0 1 0,-13-1 16,0 0-16,0 0 16,-1-13-16,14 13 0,-13-13 15,0 14-15,0-14 0,-1 13 0,1 0 16,0-13-1,13 13-15,-13-13 16,39 0 15,-13 0-31,1 0 16,-1 0-16,0 14 0,0-14 16,1 0-16,-1 13 0,0-13 15,-13 13-15,13-13 0,1 0 16,-14 13-16,13 0 0,-13 1 15,-13-1 1,13 0-16,-14 0 0,1 1 16,0-14-16,0 13 0,-1-13 15,1 0-15,13 13 0,-13-13 16,0 0-16,-1 0 16,1 0-16</inkml:trace>
  <inkml:trace contextRef="#ctx0" brushRef="#br0" timeOffset="69455.36">23164 4538 0,'14'-14'15,"-14"41"1,0-14-16,-14 0 16,14 1-16,0-1 0,0 0 15,0 0-15,-13 0 0,13 1 16,0-1-16,0 0 0,0 0 15,0 1-15,0 12 16,0-13 0</inkml:trace>
  <inkml:trace contextRef="#ctx0" brushRef="#br0" timeOffset="69682.32">22953 4710 0,'-14'-14'0,"28"14"16,12 0-1,-13-13-15,1 13 0,-1 0 16,13 0-16,-13 0 0,14 0 0,-14-13 16,14 13-16,-14 0 0,0 0 15,0 0-15,27-13 0,-27 13 16,0 0-16,1 0 0,-14-14 0,13 14 15,0 0-15,0-13 16</inkml:trace>
  <inkml:trace contextRef="#ctx0" brushRef="#br0" timeOffset="70212.03">23574 4564 0,'-13'0'16,"0"13"-16,0-13 16,13 14-16,0-1 0,-14-13 0,14 13 15,0 0-15,0 0 0,-13 1 0,26-1 16,-13 0-16,0 0 15,14 1-15,-14-1 0,13-13 16,0 13-16,0-13 0,1 0 16,-1 0-16,0 0 15,0 0-15,-13-13 16,14 13-16,-14-13 16,0-1-16,-14 1 0,14 0 15,0 0-15,-13-1 0,13 1 16,0 0-16,-13 13 0,13-13 0,-13 0 15,-1-1 1,1 14 0</inkml:trace>
  <inkml:trace contextRef="#ctx0" brushRef="#br0" timeOffset="70378.05">23773 4630 0,'13'0'15,"0"-13"-15</inkml:trace>
  <inkml:trace contextRef="#ctx0" brushRef="#br0" timeOffset="70754.17">23998 4511 0,'26'0'15,"-26"13"-15,13-13 0,1 40 32,-28-27-32,14 1 15,-13-1-15,0 0 0,0 0 16,-1 0-16,1 1 0,13-1 16,-13-13-16,13 13 15,-13-13-15,26 13 31,0-13-31,0 0 16,1 0-16,-1 0 16,0 0-16,0 0 15,1 0-15,-1-13 16,0 13-16,0 0 16</inkml:trace>
  <inkml:trace contextRef="#ctx0" brushRef="#br0" timeOffset="71277.03">24368 4485 0,'0'-14'15,"-26"28"1,12-14-16,1 13 16,0-13-16,0 0 0,13 13 15,-13-13-15,-1 0 0,1 13 0,0-13 16,13 14-16,-13-14 16,13 13-16,0 0 15,13-13 1,-13 13-16,0 1 15,13-14-15,-13 13 0,13 0 16,-26 0 0,13 0-1,-13-13-15,13 14 16,-13-1-16,-1-13 16,1 13-16,0-13 15</inkml:trace>
  <inkml:trace contextRef="#ctx0" brushRef="#br0" timeOffset="71521.92">24619 4471 0,'14'27'31,"-14"-14"-15,0 0-16,0 1 0,0-1 0,0 0 16,13 0-16,-13 1 0,0-1 15,0 0-15,0 0 16,0 0-16,13 1 0,-13-1 16,-13 0-1</inkml:trace>
  <inkml:trace contextRef="#ctx0" brushRef="#br0" timeOffset="71739.02">24461 4643 0,'53'0'31,"-40"0"-31,13 0 0,-12 0 15,-1-13-15,26 13 0,-12 0 16,-14 0-16,0 0 0,1 0 16,12 0-16,-13 0 0,1 0 15,-1 0-15,-13-13 0,13 13 0,0 0 16,0 0-16</inkml:trace>
  <inkml:trace contextRef="#ctx0" brushRef="#br0" timeOffset="75415.89">23323 5424 0,'-26'26'32,"26"-12"-32,0-1 15,0 13-15,13-12 16,-13-1-16,0 0 16,13-13-16,0 13 0,-13 0 15,13-13-15,1 0 0,-14 14 0,13-14 16,0 0-16,0 0 0,1 0 15,-1 0-15,-13-14 16,13 14-16,-13-13 0,13 13 16,-13-13-16,0 0 0,-13-14 15,13 14 1,-13 0-16,0 0 0,-1 13 16,14-14-16,-13 14 0,0-13 15,0 13 1,-1 13-1</inkml:trace>
  <inkml:trace contextRef="#ctx0" brushRef="#br0" timeOffset="75579.67">23588 5411 0,'-14'13'47</inkml:trace>
  <inkml:trace contextRef="#ctx0" brushRef="#br0" timeOffset="76016.13">23707 5398 0,'-27'26'16,"27"-13"-1,-13 0-15,13 1 0,0-1 16,0 0-16,0 0 0,0 1 0,13-1 16,-13 0-16,13-13 15,1 13-15,-1 0 0,13-13 16,-12 0-16,-1 0 0,0 0 16,0 0-16,0 0 15,1 0-15,-14-13 0,13 13 16,-13-13-16,0 0 0,0 0 15,0-1 1,0 1-16,0 0 0,-13 13 0,13-13 16,0-1-16,-14 14 0,14-13 0,-13 13 15,0 0-15,13-13 0,-13 13 0,0 0 16,-1 0-16,1 13 16,0-13-16,0 0 15</inkml:trace>
  <inkml:trace contextRef="#ctx0" brushRef="#br0" timeOffset="76767.33">23971 5437 0,'-13'40'31,"13"-14"-15,0-12-16,0-1 15,13 0-15,0 0 16,-13 0-16,14-13 16,-1 0-16,0 0 15,0 0-15,1-13 16,-1 13-16,-13-13 15,0 0-15,0-14 16,0 14 0,0 0-16,-13 0 0,13-1 15,-14 14 1,1-13-16,0 13 16,13-13-16,-13 26 15</inkml:trace>
  <inkml:trace contextRef="#ctx0" brushRef="#br0" timeOffset="77174.1">24262 5345 0,'0'0'0,"14"0"16,25 26-1,-52-13 1,13 1 0,-13-1-16,0 0 0,13 0 15,-14 0-15,1 1 0,0-14 16,13 13-1,0 0-15,0 0 16,13-13-16,0 0 16,1 0-1,-1 0-15,0 14 0,0-14 0,0 0 16,1 0-16,-1 0 0,0 0 0,0 0 16,14 0-1,-14-14-15,0 14 16,1 0-1</inkml:trace>
  <inkml:trace contextRef="#ctx0" brushRef="#br0" timeOffset="78351.86">22423 3373 0,'27'0'0,"-54"0"0,67 0 0,-27-13 16,1 13 0,-41 13-1,14 1 1,0-1-16,-14-13 0,1 13 15,13 0-15,-14-13 0,14 14 0,0-14 16,-14 13-16,27 0 16,-13-13-16,13 13 0,13 0 15,-13 1 1,13-1-16,1-13 0,-1 13 0,0 0 16,-13 1-16,13-14 0,1 13 15,-1 0-15,0 0 0,-13 1 16,0-1-1,-13 0-15,0-13 0,-1 13 16,1-13-16,0 13 0,0-13 0,-1 14 16,-12-14-16,13 13 0,-1-13 0,1 0 15,0 0-15,0 0 16,0 0-16</inkml:trace>
  <inkml:trace contextRef="#ctx0" brushRef="#br0" timeOffset="79297.9">19315 4538 0,'26'0'0,"14"-14"15,-27 14 1,0 0-16,0 0 0,1 0 15</inkml:trace>
  <inkml:trace contextRef="#ctx0" brushRef="#br0" timeOffset="79437.08">19235 4696 0,'13'0'0,"1"0"0,-1 0 0,0-13 16,0 13-16</inkml:trace>
  <inkml:trace contextRef="#ctx0" brushRef="#br0" timeOffset="79900.28">20201 6588 0,'26'-13'0,"-52"26"0,66-26 0,-27 0 0,0 13 16,0 0-16,1 0 15,-1 0-15,0 0 0,0 0 0,0 0 16</inkml:trace>
  <inkml:trace contextRef="#ctx0" brushRef="#br0" timeOffset="80088.95">20148 6826 0,'26'-13'16,"-12"13"-1,-1 0-15,0-13 0,0 13 16,1 0-16,-1-13 0,13 13 16,-12 0-16,-1-14 0,13 14 0,-13-13 15,1 13-15</inkml:trace>
  <inkml:trace contextRef="#ctx0" brushRef="#br0" timeOffset="90169.22">21630 6826 0,'158'-26'31,"-91"13"-31,12-1 0,-13 14 0,13-13 16,1 0-16,-1 13 0,1-13 0,65-14 15,-66 27-15,-12-13 16,12 0-16,-13 13 0,0-13 0,-13 13 16,0-14-16,0 14 0,0 0 15,-13-13-15,-1 13 0,-12 0 0,13-13 16,-27 13-16,13 0 0,-13 0 16,1 0-16,-1 0 0,0 0 0,0 0 15,-26 13 1,0-13-16,-14 13 15</inkml:trace>
  <inkml:trace contextRef="#ctx0" brushRef="#br0" timeOffset="90728.17">22119 7183 0,'40'-13'0,"-27"13"0,27 0 15,-27 0 1,0 13 0,-26 1-16,13-1 15,-13 0-15,0 0 16,-1 1-16,1-1 0,0 0 16,0 0-16,-1 0 15,14 1 1,14-14-1,-1 0 1,0 0-16,0 0 16,1 0-16,-1-14 15,0 14-15,0 0 0,0 0 0,1-13 16,-1 13-16</inkml:trace>
  <inkml:trace contextRef="#ctx0" brushRef="#br0" timeOffset="90877.88">22437 7236 0,'0'-13'0,"0"0"16</inkml:trace>
  <inkml:trace contextRef="#ctx0" brushRef="#br0" timeOffset="91206.8">22582 7131 0,'-13'13'0,"26"-26"0,-39 39 15,26-13 1,0 0-16,0 1 15,13-1-15,0 0 16,0-13-16,1 0 16,-1 0-16,0 0 0,0 0 15,1-13-15,-1 13 0,0 0 16,-13-13-16,13 13 0,-13-14 16,0 1-16,13 13 0,-13-26 15,-13 26-15,13-13 16,-13 13-16,13-14 0,-13 14 15,0 0-15,-1-13 16,1 13-16,0 13 16,0-13-16</inkml:trace>
  <inkml:trace contextRef="#ctx0" brushRef="#br0" timeOffset="91999.9">22873 7025 0,'0'-14'16,"13"41"31,1-14-31,-1 0-16,-13 1 0,13-1 15,-13 0-15,13 0 0,-13 1 16,0-1-16,0 0 15,0 0-15,-13-13 0,13 13 0,-13 1 16,0-14-16,13 13 0,-14-13 0,14 13 16,-13-13-16,0 13 15,13-39 1,13 13-16,-13-1 16,13 1-16,1 13 15,-1-13-15,-13-13 0,13 12 0,0 1 16,1 0-16,-1-14 0,-13 14 15,13-13-15,-13 12 16,0 1-16,-13 0 16,0 0-16,-1 0 0,1 13 15,0 0-15,0 0 0,-1 0 16,1 0-16,0 0 16,0 0-16,0 0 0</inkml:trace>
  <inkml:trace contextRef="#ctx0" brushRef="#br0" timeOffset="101280.11">22622 6297 0,'26'0'0,"-52"13"31,-1-13-15,14 14-16,0-14 0,0 13 15,-1-13-15,1 0 0,0 13 16,0-13-16,13 13 0,-13-13 0,13 13 16,13 1-1,0-14-15,0 0 0,0 13 16,1-13-16,-1 13 0,0-13 0,0 13 15,1-13-15,-14 14 0,13-14 16,-13 13 0,-13 0-16,13 0 0,-14-13 15,1 14-15,-13-14 0,12 13 0,-12 0 16,13-13-16,0 13 0,-14-13 0,14 13 16,0-13-16,-1 0 0,1 14 15,0-14-15</inkml:trace>
  <inkml:trace contextRef="#ctx0" brushRef="#br0" timeOffset="101603.17">23521 6548 0,'27'-13'16,"-14"0"-16,0 13 0,1 0 0,-1 0 16,0 0-16,0 0 0,1 0 0,-1 0 15,0 0-15,0 0 16</inkml:trace>
  <inkml:trace contextRef="#ctx0" brushRef="#br0" timeOffset="101767.85">23548 6668 0,'0'0'0,"13"13"15,0-13 1,1 0-16,-1 0 16,0 0-16,-13-13 15,13 13-15,1 0 0,-1 0 0</inkml:trace>
  <inkml:trace contextRef="#ctx0" brushRef="#br0" timeOffset="102669.14">24143 6456 0,'40'-13'16,"-27"-1"-1,0 14-15,-13 14 0,14-14 16,-1 0-16,-13 13 0,13-13 16,-13 13-16,-13 14 15,13-14-15,-13 0 0,13 0 0,-14 0 16,1 1-16,0-14 0,0 13 15,13 0-15,-14 0 0,1-13 16,13 14-16,-13-14 0,13 13 0,-13-13 16,13 13-1,13 0 1,0-13-16,14 0 16,-14 0-16,13 0 15,-12-13-15,-1 13 16,0 0-16,0 0 0,1 0 0,-1 0 15,0-13-15</inkml:trace>
  <inkml:trace contextRef="#ctx0" brushRef="#br0" timeOffset="102816.04">24487 6588 0,'0'-13'31</inkml:trace>
  <inkml:trace contextRef="#ctx0" brushRef="#br0" timeOffset="103336.85">24818 6443 0,'-27'13'16,"14"0"0,0 0-16,0-13 0,0 14 15,-1-1-15,1-13 16,13 13-16,-13-13 0,13 13 0,0 0 15,0 1 1,0-1-16,13-13 16,-13 13-16,13-13 15,1 0-15,-1 0 0,0 0 16,-13 13-16,13-26 0,0 26 16,1-26-16,-1 13 0,0 0 15,0-13-15,1 13 0,-14-13 16,13 13-16,-13-14 15,0 1-15,0 0 16,0 0-16,0-14 16,0 14-1,0 0-15,-13 26 47,13 0-47,-14 1 0,14-1 16,0 0-16,-13 13 0,13-12 15,0-1-15,0 0 0,0 0 16,0 1-16,0-1 0,-13 0 0,13 0 16,0 1-16,0-1 0,0 0 15</inkml:trace>
  <inkml:trace contextRef="#ctx0" brushRef="#br0" timeOffset="103579.93">24117 6906 0,'53'-14'16,"-40"14"0,27-13-16,-1 13 0,1 0 0,13-13 15,-13 13-15,13 0 0,-14-13 16,14 13-16,-13 0 0,13-14 15,-14 14-15,-12 0 0,-1 0 0,-12 0 16,12 0-16,-13 0 0,0 0 0,1 14 16</inkml:trace>
  <inkml:trace contextRef="#ctx0" brushRef="#br0" timeOffset="103876.19">23998 6985 0,'53'0'16,"-40"-13"-1,66 13-15,-26 0 0,0 0 0,0-13 16,0 13-16,13 0 0,-13 0 16,0 0-16,0 0 0,0 0 15,0 0-15,0 0 0,-1 0 0,-12-14 16,13 14-16,0 0 0,-13 0 0,-1-13 15,-12 13-15,-1 0 0,1-13 16,12 13-16,-12-13 0,-14 13 0,14-14 16,-1 1-16,-13 13 0,14-13 0,-14 0 15,13-1-15,-12 1 0,-1 0 16,0-13-16,0 12 0,1-12 16,-14 13-16,13-14 0</inkml:trace>
  <inkml:trace contextRef="#ctx0" brushRef="#br0" timeOffset="104173.33">25387 6707 0,'-53'-344'15,"26"305"-15,1-1 16,-14 0-16,1 0 0,-1 14 0,0 0 16,-13-1-16,14 1 0,-1 12 15,0 1-15,1 0 0,-14 0 0,13 13 16,-13 0-16,13 0 0,-13 13 0,14-13 16,-14 13-16,0 14 0,0-14 15,0 13-15,13 1 0,1-1 16,-1 1-16,0 12 0,14-12 0,-14-1 15,14 14-15,-1 0 0,14-14 16,-13 14-16,-1 26 0,14-40 16,0 14-16,-1-13 0,14 12 15,0-12-15,14-14 0,-14 13 16,13 1-16,0-14 0,-13 0 0,13 1 16,1-1-16,-1 0 0,13 13 15,-13-12-15,1-14 0,-14 13 0,13-13 16,0 0-16,0 0 15,1 0-15</inkml:trace>
  <inkml:trace contextRef="#ctx0" brushRef="#br0" timeOffset="109790.08">2924 1482 0,'-14'0'0,"120"-40"31,-40 27-31,1 0 0,12-14 16,14 14-16,-14 0 0,40-14 0,0 1 15,-13-1-15,13 14 0,-40 0 0,14-14 16,-14 14-16,1 0 0,-1 0 16,-13-1-16,0 1 0,-13 13 0,-13-13 15,0 0-15,-14 13 0,1-14 16,-14 14-16</inkml:trace>
  <inkml:trace contextRef="#ctx0" brushRef="#br0" timeOffset="109992.9">3492 1402 0,'27'0'0,"-1"0"0,80-13 31,-40 0-31,1 0 0,65-14 16,-66 14-16,13 0 0,-26-1 0,13 1 16,-13 0-16,0 13 0,-13 0 15,0-13-15,-14 13 0,-13 0 0,1 0 16,12 0-16,-13 0 0</inkml:trace>
  <inkml:trace contextRef="#ctx0" brushRef="#br0" timeOffset="110329.28">4273 1601 0,'0'26'31,"0"-13"-31,0 1 0,13-1 0,0 13 0,1-12 16,-1 12-16,0-13 0,0 0 15,14 1-15,-14 12 0,14-13 16,12 14-16,-12-27 0,-1 13 0,1 0 16,-1-13-16,1 0 0,-1 0 0,0 0 15,1 0-15,-1 0 0,-12 0 16,12 0-16,0 0 0,1-13 0,-14 13 15,14 0-15,-14-13 0,0 13 0,0 0 16,1-13-16,-1 13 0,0 0 16,-13-14-16</inkml:trace>
  <inkml:trace contextRef="#ctx0" brushRef="#br0" timeOffset="110557.21">4736 1574 0,'13'0'16,"93"40"15,-79-40-31,-14 13 0,13 0 0,-13 1 16,1-1-16,-1 13 0,0-12 16,-13-1-16,0 13 0,-13 1 0,13-1 15,-27 14-15,1-14 0,0 14 16,-14 0-16,0-1 0,0-12 0,-12-1 15,-15 27-15,28-40 0,12 14 16</inkml:trace>
  <inkml:trace contextRef="#ctx0" brushRef="#br0" timeOffset="111651.95">5622 1588 0,'0'26'15,"0"-13"-15,0 0 0,-13 1 16,13 12-16,0-13 0,0 14 0,0-14 16,0 13-16,0-12 0,-13 12 0,13-13 15,0 1-15,0-1 16,0 0-16,0 0 0,13-39 31,-13-1-31,0 14 16,13-13-16,1 12 0,-1-12 15,13-27-15,-12 40 0,-1 0 16,0 13-16,0-14 0,0 14 16,1 0-16,-1 0 0,0 0 0,0 0 15,-13 14-15,27 12 0,-27-13 16,0 1-16,13-1 0,-13 13 0,0-13 15,0 1-15,13-1 0,-13 0 16,0 0-16,14 1 0,-1-1 16,0-13-16,0 0 15,0-13-15,1 13 0,-1-14 16,0 14-16,0-13 0,1 0 0,-1 0 16,0-1-16,0 1 0,-13 0 0,13 0 15,-13 0-15,14 13 0,-14-14 16,13 14-16,-13 14 31,0-1-31,0 0 16,13 0-16,-13 0 0,13 1 15,1-1-15,-1-13 0,0 13 16,0-13-16,1-13 16,-1 13-1,-13-13-15,0-1 16,0 1-16,0 0 15,0 0-15,0 0 16,0-1 0,0 1-16,26 26 15,-13-13 1,-13 14-16,14-14 0,-1 13 16,0 0-16,0 0 0,1 0 15,-1 1-15,0-1 16,0 0-1,1-39 17,-14 12-17,13 1-15,-13 0 0,13 0 0,-13 0 16,26-14-16,-26 14 0,14 0 16,-1 13-16,-13-14 0,13 14 15,0 0 1</inkml:trace>
  <inkml:trace contextRef="#ctx0" brushRef="#br0" timeOffset="112138.06">6601 1601 0,'-13'26'31,"13"-13"-31,0 14 16,0-14-1,0 0-15,0 1 16,13-41 15,1 27-15,-14-13-16,13 0 15,0 13-15,0 0 16,1 0 0,-1 0-16,0 0 0,0 13 15,0-13-15,-13 13 16,14 0 0,-1 1-1,0-28 16,0 14-15,-13-13-16,14 13 0,-14-13 16,13 13-16,0-13 0,0-1 15,0 14-15,1-13 16</inkml:trace>
  <inkml:trace contextRef="#ctx0" brushRef="#br0" timeOffset="112960.14">7210 1588 0,'0'-14'0,"-27"-12"31,14 26-31,0-13 16,0 13-1,0 13-15,-1-13 16,14 13-16,-13-13 0,13 13 16,-13 1-16,0-1 0,13 0 15,0 0-15,-14 0 16,28 1-1,-1-14 1,0 0 0,0 0-16,1 13 15,-1-13-15,0 0 16,0 0 0,0 0-16,1 0 15,-1 0-15,0 0 0,0-13 16,1 13-16,-1-14 0,0 1 15,0 0-15,-13 0 0,13 0 16,1-1-16,-1 1 0,-13-13 0,13 12 16,-13-12-16,13-14 15,-13 27-15,0 0 0,0 0 0,14 13 0,-14-14 16,0 1-16,-14 40 47,14-14-47,0 0 0,0 13 15,0-12-15,0-1 0,0 13 0,0-12 16,0-1-16,0 0 0,14 0 0,-14 1 16,13-1-16,0 0 0,0-13 15,1 0-15,-1 0 16,0 0-16,0 0 0,0 0 16,1 0-16,-1 13 15,0-13-15,0 13 16,1-13-1,-14 14-15,13-14 0,0 0 16,-13 13-16,13-13 16,1 0-16,-1 0 15</inkml:trace>
  <inkml:trace contextRef="#ctx0" brushRef="#br0" timeOffset="113070.93">7594 1455 0</inkml:trace>
  <inkml:trace contextRef="#ctx0" brushRef="#br0" timeOffset="113857.02">7898 1495 0,'-13'0'16,"26"0"-16,-40 0 0,14-13 0,0 26 31,13 0-15,13 0-16,-13 1 0,0-1 15,0 0-15,0 0 0,13 1 0,-13-1 16,0 0-16,-13 0 0,13 0 0,-13 14 15,0-14-15,13 0 16,-14-13-16,1 14 0,0-14 0,0 13 16,0 0-16,-1-13 15,1 0-15,0-13 16,26 0 15,0 13-31,1-14 0,-1 14 0,0 0 16,0-13-16,14 0 0,-14 13 15,13-13-15,-12 13 0,12-14 0,-13 14 16,1-13-16,25 0 0,-26 13 16,-13-13-16,27 0 0,-14 13 15,-13-14 1,13 14-16,-13 27 47,0-14-32,14 0 1,-1-13-16,0 0 0,-13 13 16,13-13-16,0 0 0,1 0 15,-1 0-15,0 0 16,-13 14-16</inkml:trace>
  <inkml:trace contextRef="#ctx0" brushRef="#br0" timeOffset="114684.92">9088 1323 0,'0'66'31,"0"-53"-31,0 14 0,0-1 0,0 1 16,0-1-16,-13 14 0,13-14 0,0 1 15,0 26-15,-13-40 0,13 0 16,0 14-16,0-14 0,0 0 15,0 0-15,0 0 0</inkml:trace>
  <inkml:trace contextRef="#ctx0" brushRef="#br0" timeOffset="115045.93">9274 1310 0,'0'0'0,"0"-14"0,0 1 16,0 53 0,0-27-1,0 0-15,0 14 0,-14-14 16,14 14-16,0-14 0,0 13 16,0-13-16,0 14 0,0-14 0,0 14 15,14-14-15,-14 0 0,0 0 0,13 1 16,0-14-16,-13 13 15,13-26-15,14 13 16,-14 0-16,-13-14 16,13 14-16,0 0 15,1 0-15,-1 14 16,0-14-16,-13 13 16,13-13-16,-13 13 0,14-13 15,-14 13-15,13-13 16,0 0-16</inkml:trace>
  <inkml:trace contextRef="#ctx0" brushRef="#br0" timeOffset="115244.93">9009 1535 0,'40'-14'31,"-27"14"-31,27 0 16,-14 0-16,1 0 0,26-13 0,-27 13 15,0 0-15,1 0 16,-1 0-16,1 0 0,12 0 16,-12 0-16</inkml:trace>
  <inkml:trace contextRef="#ctx0" brushRef="#br0" timeOffset="117153">9895 1535 0,'40'-14'47,"-27"14"-47,-13-13 0,27 0 15,-14 13-15,-13-13 0,13 13 16,0-14-16,-13 1 0,0 0 0,14 0 15,-14 0 1,0-1-16,-14 14 16,-12 14-1,13-1-15,13 0 16,0 0-16,0 0 0,-13-13 0,26 14 16,-13-1-16,0 0 0,13-13 15,-13 13-15,13 1 0,0-14 16,1 0-16,-1 0 0,0 0 0,0 0 15,1 0-15,-1-14 0,13 1 16,-12 13-16,-1-13 0,13-14 0,-13 14 16,1-13-16,12-1 0,-13 1 0,1-14 15,-1 14-15,0-1 0,-13 1 16,13-1-16,-13 14 0,0 0 0,14 0 16,-14-1-16,0 1 0,13 0 15,-13 0-15,0 52 31,0-25-31,0 12 0,0 1 0,0-1 16,0 14-16,-13-1 0,13 14 16,-14-13-16,14 0 0,-13 13 15,0 0-15,0-14 0,-1 14 0,-12 26 16,13-39-16,-1-13 0,1-1 16,13 1-16,-13-14 0,13 0 15,-13 0-15,13 0 0,-13-13 0,13 14 16,0-41 15,13 14-31,-13 0 0,13 0 16,-13-14-16,13 14 0,-13-14 0,13 1 15,1-1-15,-1 1 0,0-14 0,0 14 16,14-1-16,-14-12 16,0 12-16,1-12 0,-1 12 0,0-13 15,0 1-15,27-27 0,-27 39 16,0 14-16,-13 0 0,14-1 15,-14 1-15,0 0 0,13 13 0,-13-13 16,13 26 0,-13 13-1,0-12-15,-13 39 16,13-14-16,-13-12 0,-1 12 16,1-12-16,13 13 0,-13-14 0,0 1 0,-1-1 15,1 0-15,13-12 0,-13-1 16,13 0-16,0 0 0,-13 1 15,13-1-15,0 0 0,-13-13 16,39 0 0,-13-13-1,0 0-15,1-1 0,-1-12 0,13 13 16,-12-14-16,12 1 0,-13-1 0,14 1 16,-14-1-16,0 14 0,0 0 15,-13 0-15,14-1 0,-14 1 16,13 13-16,-13-13 0,-13 39 31,13-12-31,0-1 16,-14 0-16,14 0 0,0 1 15,-13-14-15,13 13 0,0 0 0,0 0 16,0 1-16,0-1 16,13-13-16,-13 13 0,14-13 15,-1 0-15,0 0 0,0 0 16</inkml:trace>
  <inkml:trace contextRef="#ctx0" brushRef="#br0" timeOffset="117828.56">10755 1468 0,'-13'14'0,"-13"25"31,12-25-31,14-1 0,0 0 16,0 0-16,0 1 15,14-1-15,-1-13 16,0 0-16,14 0 16,-14-13-16,0-1 0,0 14 0,0-13 15,14-13-15,-14 12 16,0-12-16,1-1 0,-1 1 0,0-14 15,0 14-15,1-1 0,-1 1 0,-13 13 16,13-1-16,-13 1 0,0 0 16,13 0-16,-13 0 0,13 26 31,-13 0-31,0 13 0,0-12 0,14-1 16,-14 13-16,0 1 0,0-14 15,0 14-15,13-1 0,-13-13 16,0 14-16,0 12 0,0-25 0,0-1 15,0 0-15,0 0 16,-13 1-16,-14-14 16,14 0-1,13-14-15,-13 14 16,13-13 0,0 0-1,13 0-15,0-1 16,0 14-16,1-13 15,12 13-15,-13-13 0,27 0 16,-14-1-16,1 14 0,-14-13 0,14 13 16,-14 0-16,13-13 0</inkml:trace>
  <inkml:trace contextRef="#ctx0" brushRef="#br0" timeOffset="118421.34">11681 1389 0,'-26'27'15,"26"-14"-15,-13-13 0,13 13 16,0 0-16,0 0 0,0 1 0,13-1 16,-13 0-16,13-13 0,-13 13 15,13-13-15,1 14 0,-1-14 16,13 0 0,-12 0-16,-14-14 0,0 1 15,0 0-15,0 0 16,0-1-16,-14 1 15,14 0-15,0 0 0,-13 0 16,13-1-16,13 28 47,1-1-47,-14 0 0,13 40 16,0-40-16,-13 0 15,0 14-15,-13-14 0,13 14 16,0-14-16,-13 13 0,13-13 15,-14 1-15,14-1 0,-13 0 0,0 0 16,13 1-16,-13-14 16,26-27-1,-13 14 1,13 0-16,0-1 0,1-12 16,12 0-16,-13 12 0,0 1 0,1 0 15,12-14-15,-13 14 0,1 13 16,25-26-16,-26 12 0,1 14 15,-1 0-15,-13-13 0</inkml:trace>
  <inkml:trace contextRef="#ctx0" brushRef="#br0" timeOffset="119818.22">12753 1323 0,'0'0'0,"-13"0"16,-1 13-1,1-13-15,0 13 0,0 1 16,13-1-16,-13 0 0,-1 0 16,14 1-16,-13-1 0,13 0 0,-13 0 15,13 0-15,0 1 0,0-1 0,0 0 16,0 0-16,13-13 0,-13 14 0,13-1 16,1-13-16,-1 0 0,0 0 15,0 0-15,14 0 0,-14 0 16,0 0-16,14-13 0,-27-1 0,13 14 15,0-13-15,0 0 16,-13-14-16,14 14 0,-14-13 16,0-1-16,0 14 0,0 0 0,-14-14 15,14 14-15,-13 0 16,13 0-16,-13-1 0,0 14 16,13-13-16,-14 13 0,1 13 15,0-13-15,0 14 0,13-1 16,-14-13-16,14 13 0,0 14 15,14-14 1,-1 0-16,0-13 0,0 13 16,1-13-16,-1 14 15,0-14-15,0 0 0,1 0 16,-1-14-16,0 14 0,0 0 0,0 0 16,-13-13-16,14 13 0,-1-13 15,0 13 1,0 0-16,1 0 47,-14 13-47,0 0 15,13 1 1,0-14 0,0 13-16,1-13 15,-1-13-15,0 13 16,0 0-16,0 0 0,1-14 15,-1 14 1,0 0 0,0 0-16,1 0 15,-1-13-15,0 13 16,0-13-16,0 13 16,1-13-16,-1-1 0,0 1 0,0 13 15,1-26-15,-1 12 0,0 1 16,0 0-16,1-13 0,-14 12 0,13-12 15,0-1-15,0-12 16,-13 12-16,13 14 0,-13-13 0,0-1 16,14 27-16,-14-13 0,0 0 15,0 39 1,0 1 0,0-14-16,0 13 0,-14 1 0,14-1 15,0 14-15,-13-14 0,13 1 16,-13-1-16,13-13 0,0 14 15,0-14-15,-13 14 0,13-14 0,0 0 16,0 14-16,0-14 0,0 0 16,13 0-16,0-13 31,0 0-15,1 0-1,-14-13 1,13 0-1,-13 0-15</inkml:trace>
  <inkml:trace contextRef="#ctx0" brushRef="#br0" timeOffset="119989.06">13242 1270 0,'14'-13'16,"-1"0"-1,0 13-15,0 0 0,1 0 16,-1-14-16,0 14 0,13 0 0,-12-13 0</inkml:trace>
  <inkml:trace contextRef="#ctx0" brushRef="#br0" timeOffset="120122.29">13613 1124 0,'0'14'0,"0"-1"16,0 0-16,0 0 0,0 1 15,-13-1-15,13 0 0,0 0 0,-14 1 16,14 12-16,0-13 16,-13 0-16</inkml:trace>
  <inkml:trace contextRef="#ctx0" brushRef="#br0" timeOffset="120890.07">19037 913 0,'66'-13'16,"-53"13"-16,14 0 16,-1 0-16,1 0 0,12 0 0,-12-14 15,-1 14-15,1 0 16,-1 0-16,1 0 0,-1 0 0,0 0 0,-12 0 16,-1 0-16,13 14 0,-12-14 15</inkml:trace>
  <inkml:trace contextRef="#ctx0" brushRef="#br0" timeOffset="121072.26">19143 966 0,'0'0'0,"-14"0"0,41 13 32,-14-13-17,0 0-15,1 0 0,-1 0 0,13 0 16,-13 0-16,14 0 0,-1 0 15,1 0-15,-14 0 0,14 0 16,-14 0-16,13-13 0,-13 13 0,14 0 16,-14 0-16</inkml:trace>
  <inkml:trace contextRef="#ctx0" brushRef="#br0" timeOffset="121724.97">19394 1177 0,'26'14'32,"-12"-14"-17,-1 13-15,0-13 0,14 0 0,-14 0 16,0 13-16,13-13 0,1 0 0,-1 0 15,-12 0-15,12 0 0,1 0 16,-14 0-16,13 0 0,-13 0 0,1 0 16,12 0-16,-13 0 0,1 0 0,-1 0 15,0 0-15,0 0 0</inkml:trace>
  <inkml:trace contextRef="#ctx0" brushRef="#br0" timeOffset="122059.95">19738 1098 0,'26'0'16,"-12"13"0,-1-13-16,0 13 0,0-13 15,1 14-15,-1-14 0,-13 13 16,13-13-16,-13 13 0,13-13 0,-13 13 16,13-13-16,-13 14 0,0-1 15,0 0-15,-13-13 0,13 13 16,-13-13-16,13 14 0,-13-1 15,0-13-15,-1 0 0,14 13 16,-13-13-16</inkml:trace>
  <inkml:trace contextRef="#ctx0" brushRef="#br0" timeOffset="125993.37">24567 7157 0,'-14'26'0,"1"107"31,0-107-31,13 1 0,0 12 0,-13-12 15,13-14-15,0 13 0,0 1 16,-14-1-16,14-12 0,0-1 0,-13 13 16,13-12-16,0-1 0,-13 0 15</inkml:trace>
  <inkml:trace contextRef="#ctx0" brushRef="#br0" timeOffset="126215.52">24619 7223 0,'0'0'0,"-92"53"31,65-27-31,1-12 0,0 12 16,-1 1-16,1-14 0,12 13 15,-12-12-15,-1 12 0,14-13 0,0 0 0,-13 1 16,26-1-16,-14-13 0,1 13 16,0 0-16</inkml:trace>
  <inkml:trace contextRef="#ctx0" brushRef="#br0" timeOffset="126384.9">24448 7276 0,'-106'119'0,"212"-238"0,-80 106 16,-13 0-16,0 13 0,1 0 15,-1 0-15,0 13 0,0-13 16,1 13-16,-1-13 0,0 13 16,13 0-16,-12 1 0,-1-1 0,0 0 15,0 0-15,1 1 0,-1-1 16,0-13-16,0 13 0,1 0 16,-1-13-16,-13 14 0,13-14 15</inkml:trace>
  <inkml:trace contextRef="#ctx0" brushRef="#br0" timeOffset="132676.66">2752 8149 0,'39'0'0,"-12"-13"0,26 13 15,0-13-15,0 13 0,26-14 0,-13 1 16,13 0-16,1 0 0,-1 0 0,-13-1 16,14 1-16,-1 0 0,0 0 15,1-1-15,-1 1 0,1 0 0,-27 13 16,-1-13-16,1 13 0,-13-13 0,-13 13 15,-1 0-15,-13 0 0</inkml:trace>
  <inkml:trace contextRef="#ctx0" brushRef="#br0" timeOffset="132896.1">3149 8255 0,'-14'0'0,"28"0"0,25 0 15,-12-13-15,26 13 16,0-13-16,13 13 0,0-14 16,0 1-16,13 0 0,1 13 0,-1-13 15,0-1-15,-12 14 0,12-13 0,-26 13 16,0 0-16,0-13 0,-14 13 16,1 0-16,0 0 0,-14 0 15,1 0-15,12 0 0,-25 0 0</inkml:trace>
  <inkml:trace contextRef="#ctx0" brushRef="#br0" timeOffset="134472.15">6416 9499 0,'0'0'0,"40"0"16,-14 0-16,14-14 16,13 14-16,0 0 0,26-13 0,1 0 15,12 13-15,1 0 0,-1-13 16,-12 13-16,12-14 0,1 14 16,0-13-16,-1 13 0,-12-13 0,12 13 15,-12-13-15,-1 13 0,0 0 0,-13-14 16,-13 14-16,0 0 0,-13 0 0,0 0 15,-14-13-15,1 13 0,-1 0 16,-13 0-16,0 0 0,14 0 16,-14 0-16,0 0 0,1 0 0,-1 0 15,0 0-15,0 0 0</inkml:trace>
  <inkml:trace contextRef="#ctx0" brushRef="#br0" timeOffset="136520.13">13189 9565 0,'27'0'15,"-1"0"-15,1 0 16,13 0-16,12 0 0,-12 0 0,13 0 16,0-14-16,0 14 0,13 0 0,-13 0 15,0 0-15,0 0 0,0 0 16,0 0-16,0 0 0,-14 0 0,-12 0 16,-1 0-16,27 0 0,-26 0 15,-14 0-15,13 0 0</inkml:trace>
  <inkml:trace contextRef="#ctx0" brushRef="#br0" timeOffset="136848.15">13520 9657 0,'27'0'15,"-14"0"-15,13 0 0,1 0 0,237 0 32,-224 0-17,0 0-15,13 0 0,-14 0 0,-12 14 16,13-14-16,-14 0 0,0 0 0,1 0 16,-1 0-16,-12 0 0,-1 0 15,13 0-15,-12 0 0,-1 0 16,0 0-16,0 0 0,0 0 15,1 0 1,-1 0 0,0-14-1</inkml:trace>
  <inkml:trace contextRef="#ctx0" brushRef="#br0" timeOffset="138296.09">20267 9459 0,'27'-13'15,"-1"13"-15,0 0 16,54-14-16,-40 14 0,12 0 16,1 0-16,0 0 0,13 0 0,-13 0 15,0-13-15,13 13 0,-13 0 16,0 0-16,0 0 0,0 0 16,-13 0-16,-14 0 0,14 0 0,-14 0 15,-12 0-15,12 0 0,-13 0 16,0 0-16,-13 13 15,-13 1-15</inkml:trace>
  <inkml:trace contextRef="#ctx0" brushRef="#br0" timeOffset="138663.44">20333 9657 0,'159'14'31,"-106"-14"-31,0-14 0,13 14 0,-13 0 16,0 0-16,13 0 0,-13 0 0,0 0 16,66 0-16,-79-13 15,12 13-15,1 0 0,-26 0 0,12 0 16,-12 0-16,-1 0 0,1 0 0,-14 0 16,14 0-16,-14 0 0,0 0 15,0 0-15,0 0 0,1 0 16,-1 0-16,0 0 15,0 0-15,1 0 16,-1 0 15,0 0 16,14 0-31,-14 0-16</inkml:trace>
  <inkml:trace contextRef="#ctx0" brushRef="#br0" timeOffset="140016.94">22701 9459 0,'53'0'31,"-40"0"-31,14 0 0,-1 0 0,-12 0 16,25 0-16,-12 0 0,-1 0 0,1 0 16,12 0-16,-25 0 15,12 0-15,0-13 0,-12 13 0</inkml:trace>
  <inkml:trace contextRef="#ctx0" brushRef="#br0" timeOffset="140203.31">22767 9499 0,'14'0'0,"-1"-14"0,13 14 0,-12 0 16,25 0-16,-12-13 0,12 13 0,14-13 15,-13 13-15,0-13 0,13 13 16,-27 0-16,1-14 0,-1 14 0,0 0 16,1-13-16,-14 13 0</inkml:trace>
  <inkml:trace contextRef="#ctx0" brushRef="#br0" timeOffset="141156.04">1402 10411 0,'93'-13'31,"-53"13"-31,13 0 16,-1-13-16,1 13 0,0-13 0,13-1 16,14 14-16,-14-13 0,0 0 0,0 0 15,-13 13-15,-13-13 0,13-1 0,-14 14 16,1-13-16</inkml:trace>
  <inkml:trace contextRef="#ctx0" brushRef="#br0" timeOffset="141396.84">1680 10544 0,'40'-27'0,"-14"27"16,1-13-16,12 0 0,14 0 16,53-14-16,-40 14 0,0 0 15,-26-1-15,26 1 0,40 0 16,-53 0-16,0-1 0,26 1 16,-52 13-16,-1-13 0,54 0 31</inkml:trace>
  <inkml:trace contextRef="#ctx0" brushRef="#br0" timeOffset="152184.13">7170 10769 0,'-13'-14'16,"0"41"15,13-14-31,0 0 0,0 0 16,-13 1-16,13-1 0,0 0 15,0 0-15,-14 14 0,14-14 0,0 0 16,-13 1-16,13-1 0,0 0 16,0 0-16,-13 0 15,26-52 17,-13 26-32,13-14 0,-13 14 0,14-14 15,-1 14-15,-13-13 0,26-14 16,-13 27-16,1 0 0,-1 13 15,0-14-15,0 14 0,14 0 16,-14 0-16,-13 14 16,13-14-16,0 13 0,1-13 15,-14 13-15,13 0 0,-13 0 0,13 1 16,-13-1-16,13 0 0,-13 0 16,0 1-16,0-1 0,14 0 15,-14 0-15,0 1 16,13-1-16,0 0 15,0-13-15</inkml:trace>
  <inkml:trace contextRef="#ctx0" brushRef="#br0" timeOffset="152529.1">7580 10848 0,'14'-13'0,"-28"26"0,41-26 16,-27-1-16,13 14 0,0 0 15,0-13-15,1 13 16,-1 0-16,-13 13 16,0 1-1,-13-14-15,13 13 16,-14-13-16,1 13 15,13 0-15,-13-13 16,0 14-16,13-1 16,13-13 15,0 0-15,0-13-1,1 13-15,-1 0 16,0 0-16</inkml:trace>
  <inkml:trace contextRef="#ctx0" brushRef="#br0" timeOffset="152997.53">8229 10716 0,'26'-14'0,"-13"14"0,40 27 31,-40-27-31,-13 13 16,0 0-16,0 1 0,0-1 16,-13 0-16,0 13 0,0-12 0,-1-1 15,14 0-15,-13 0 0,0 1 16,13-1-16,-13-13 0,13 13 0,-13-13 16,13 13-16,-14 1 15,28-14 1,-1 0-1,0 0-15,0 0 0,14 0 0,-14 0 16,0-14-16,14 14 0,-14 0 0,13 0 16,-12-13-16,-1 13 0,0 0 15,0 0-15,0 0 0,1 0 16</inkml:trace>
  <inkml:trace contextRef="#ctx0" brushRef="#br0" timeOffset="153290.07">7183 11298 0,'106'-14'16,"-66"14"-16,0-13 0,13 13 16,-1-13-16,1 13 0,14-13 15,-1 0-15,0 13 0,0-14 0,0 1 16,-13 13-16,-13-13 0,13 13 0,-14-13 16,1 13-16,0-14 0,-14 14 15,-13 0-15,1 0 0,-1 0 0</inkml:trace>
  <inkml:trace contextRef="#ctx0" brushRef="#br0" timeOffset="153577.01">7091 11456 0,'40'14'0,"-27"-14"0,13 0 15,14 0-15,0 0 0,12 0 0,-12-14 16,13 14-16,0-13 0,0 13 16,13-13-16,0 13 0,0-13 15,-13 0-15,0 13 0,0-14 0,0 14 0,-13-13 16,-14 13-16,1 0 16,-1-13-16,1 13 0,-14 0 0,0 0 0,0 0 15,0-13-15,1 13 0,-1 0 16,0 0-1,0 0-15</inkml:trace>
  <inkml:trace contextRef="#ctx0" brushRef="#br0" timeOffset="154860.91">12528 11364 0,'26'-13'0,"-52"26"0,79-26 16,-40 13-16,0-14 0,1 28 15,-1-14-15,13 0 0,-12 0 0,-1 0 16,0 13-16,0 0 0,0-13 0,1 13 15,-14 1-15,13-1 0,-13 0 16,-13 0-16,13 0 0,-14 14 0,1-14 16,0 0-16,0 1 0,0 12 0,-14-13 15,14 1-15,0-1 16,-1 0-16,14 0 16,0 0-1,14-13-15,-1 0 0,0 0 0,14 0 16,-1-13-16,14 13 0,-1-13 15,14 13-15,-13-13 0,13 13 0,0-13 16,-13 13-16,-1-14 0,1 14 0,-14-13 16,-12 13-16,12 0 0,-13 0 15,0 0-15</inkml:trace>
  <inkml:trace contextRef="#ctx0" brushRef="#br0" timeOffset="155199.44">10769 11972 0,'26'0'0,"0"-13"0,279-13 31,-186 12-31,13 14 0,14-13 16,-1 0-16,-13 13 0,14-13 0,13 13 0,-14-13 16,14-1-16,0 14 0,-1-13 15,1 13-15,0 0 0,-14-13 16,160 0-16,-160 13 0,1-14 16,-14 14-16,0-13 0,-26 13 15,-13 0-15,-1-13 0,-12 13 0,-1 0 16,-26-13-16,0 13 0,-13 0 0,-14 0 15,-13 0-15,1 0 0,-41 0 32</inkml:trace>
  <inkml:trace contextRef="#ctx0" brushRef="#br0" timeOffset="155856.88">11311 12065 0,'-13'-13'16,"-1"52"-1,14-12 1,-13-14-16,13 14 0,0-1 0,-13 1 15,13-1-15,0 0 0,-13 14 0,13-13 16,0-1-16,0 0 0,-13-12 16,13 12-16,0 1 0,0-14 0,0 0 15,0 14-15,-14-14 0,14 0 16,0 0-16</inkml:trace>
  <inkml:trace contextRef="#ctx0" brushRef="#br0" timeOffset="156136.93">10425 12793 0,'158'-27'16,"-92"27"-1,1-13-15,12 13 0,93-27 16,-79 27-16,-14-13 0,93 0 15,-93 13-15,1-13 0,-1 13 16,-13-13-16,-13 13 0,0 0 16,0-14-16,-13 14 0,-1 0 0,-12 0 15,-14 0-15,13 0 0,-12 0 0,-1 0 16,-13 14 0,-13-1-16,-1-13 15</inkml:trace>
  <inkml:trace contextRef="#ctx0" brushRef="#br0" timeOffset="159249.2">11099 13070 0,'0'-13'16,"-13"13"0,0 0-1,-14 0-15,14 0 16,0 13-16,0-13 0,-1 0 16,1 14-16,0-1 15,26 0 1,0 0-1,-13 1-15,14-1 0,-1 0 16,0 0-16,-13 0 0,13 1 16,1-14-16,-1 13 0,-13 0 0,13 0 15,-13 1-15,0-1 0,0 0 16,-13 0-16,13 1 0,-13-1 16,-1-13-16,1 13 0,-13 0 0,12 0 15,1-13-15,-13 0 0,13 14 16,-14-14-16,14 0 0,0 0 0,-1 0 15,1 0-15,0 0 0,0-14 16,26 1 0,-13 0-16,13 13 15,0-13-15,1 0 0,-1-14 0,0 14 16,0 0-16,1-1 0,12 1 0,-13-13 16,0 12-16,-13 1 15,14 0-15,-14 0 0,0 0 0,0-1 16,0 1-16,-14 0 0,1 0 15,13-1-15,-13 14 16,0-13-16,0 13 0,-1 0 16,1 0-1</inkml:trace>
  <inkml:trace contextRef="#ctx0" brushRef="#br0" timeOffset="159533.24">11112 13176 0,'0'40'15,"0"-80"-15,14 93 0,-14-40 0,0 1 0,0-1 16,13-13-16,-13 13 0,13 0 16,0 1-16,1-14 15,-1 13-15,0-13 0,0 0 0,1 0 0,-1 0 16,0 0-16,0 0 0,0-13 15,1 13-15,-1-14 16,0 1-16,-13 0 0,0 0 16,-13-1-16,13 1 0,-13 0 15,-1 0-15,1-1 0,0 14 16,0-13-16,0 0 0,-1 13 0,1-13 16,0 13-16,0-13 0,13-1 31,0 1-31</inkml:trace>
  <inkml:trace contextRef="#ctx0" brushRef="#br0" timeOffset="159916.19">12687 12422 0,'-13'40'15,"-1"-14"-15,14-12 16,0 12-16,0-13 0,0 14 0,0-1 16,0 1-16,0-1 0,0-13 0,0 14 15,0-14-15,-13 13 0,13-12 16,0 25-16,0-25 0,0-1 0</inkml:trace>
  <inkml:trace contextRef="#ctx0" brushRef="#br0" timeOffset="160133.12">12382 12700 0,'14'-13'0,"39"13"32,-40-13-32,13 13 0,1 0 0,-1-14 15,14 14-15,0-13 0,-1 13 0,1 0 16,-14-13-16,14 13 0,0-13 16,-14 13-16,1-14 0,12 14 0,-12-13 15</inkml:trace>
  <inkml:trace contextRef="#ctx0" brushRef="#br0" timeOffset="160648.19">14063 12184 0,'0'27'31,"0"-14"-15,0 13-16,0-13 0,0 14 16,0-1-16,0 1 0,13-1 15,-13 1-15,0-1 0,0 1 0,0-1 16,0 1-16,0-14 0,0 13 0,13-13 16,-13 1-16,0-1 0,0 0 15,13-13-15,-13 13 0,0 1 16</inkml:trace>
  <inkml:trace contextRef="#ctx0" brushRef="#br0" timeOffset="160944.44">13639 12687 0,'27'-13'0,"-14"13"0,0 0 16,14-14-16,12 14 0,1 0 0,13-13 16,-13 13-16,13-13 0,-1 13 0,1 0 15,14 0-15,-15-13 0,54 13 16,-53 0-16,-13 0 0,0 0 16,-1 0-16,-12 0 0,-1 0 0,1 0 15,-1-14-15,-13 14 0,14 14 16,-14-28-16,0 28 0,0-14 0,1 0 15,-1 0-15,-13-14 0,13 14 16,0 0-16,1 0 0,-1-13 16</inkml:trace>
  <inkml:trace contextRef="#ctx0" brushRef="#br0" timeOffset="167816.14">22873 9446 0</inkml:trace>
  <inkml:trace contextRef="#ctx0" brushRef="#br0" timeOffset="169337">13904 13057 0,'26'-13'31,"-12"13"-15,-1 0-16,0 0 0,0-13 0,0 13 15,1-13-15,-1 13 0,0 0 16,0-14-16,1 14 0,-41 0 47,14 14-47,0-14 15,-1 0-15,1 0 0,0 13 16,0-13-16,0 0 0,-1 0 31,41 13-15,-14-13-16,0 0 15,0 13-15,1-13 16,-1 0-16,0 0 0,0 13 0,1-13 0,-1 0 16,-13 14-16,13-14 0,0 0 0,-13 13 15,0 0 1,0 14-16,-13-14 16,0 0-16,0 0 0,-1 0 15,1 1-15,0-14 0,0 13 16,-14 0-16,14-13 0,0 13 0,0 1 15,-1-14-15,1 0 0,0 13 0,0-13 16</inkml:trace>
  <inkml:trace contextRef="#ctx0" brushRef="#br0" timeOffset="169658.02">14274 13123 0,'0'0'0,"0"14"16,0-1-16,0 0 0,14 0 15,-1 0-15,-13 1 0,13-14 16,0 13-16,0-13 0,1 13 0,-1-13 16,0 0-16,0 0 0,1 0 15,-1 0-15,0-13 0,0 13 0,-13-13 16,13 13-16,-13-14 0,14 14 0,-14-13 15,-14-13 1,1 13-16,0-1 0,0 14 16,0-13-16,-1 13 0,-12 0 0,13-13 15,-14 13-15,14 0 0,-13 0 16,12 0-16,-12 0 0,13 13 16,-1-13-16,-12 0 0,13 0 0,-1 13 15,1 1-15,0-14 0</inkml:trace>
  <inkml:trace contextRef="#ctx0" brushRef="#br0" timeOffset="170806.13">10094 8877 0,'-13'26'16,"13"-13"-16,0 27 16,0 0-16,-14 13 0,14 0 15,0 13-15,0 0 0,0 0 0,0-13 16,0 0-16,0 0 0,0-13 0,0-1 16,0 1-16,0-14 15,0 1-15,0-1 0,0 1 0,0-1 16,0-13-16,0 1 0,0-1 0,0 0 15</inkml:trace>
  <inkml:trace contextRef="#ctx0" brushRef="#br0" timeOffset="171973.93">9803 8850 0,'39'-13'0,"-78"26"0,92-39 0,-27 26 16,14-13-16,0-1 0,12 14 16,-12-13-16,26 13 0,-13-13 0,27 0 15,-14 13-15,13-14 0,-13 14 0,14-13 16,-1 0-16,-13 13 0,14-13 15,-1 0-15,0 13 0,1-14 16,65 1-16,-92 0 0,0 13 16,53-13-16,-66 13 15,12-14-15,-12 14 0,-13 0 0,-1 0 16,1 0-16,-1-13 0,-13 13 0,14 0 16,-14 0-16,0 0 0,0 0 15,1 0-15,12 0 0,-13-13 16,1 13-16,-1 0 15,0 0-15,0 13 16,0-13-16,1 0 0,-14 13 16,13-13-16,0 14 0,0-14 15,1 13-15,-1-13 16,0 13-16,0-13 16,0 0-16,-13 13 0,14-13 15,-1 0-15,0 0 16,-13 14-16,13-14 0,1 0 15,-14 13-15,13-13 0,0 13 16,0-13-16,1 13 0,-1-13 16,0 13-16,0-13 15,0 14-15,1-14 16,-1 13 0,0-13-1,0 13 1,1-13-1,-1 0 17,0 13-32,0-13 15,1 0-15,-1 0 32,0 0-32,0 0 15,0 0 1,1 0-1,-1 0 1,0 0 0,0 14-1,1-14 1,-1 13-16,-13 0 16,13-13-16,0 13 0,-13 1 15,13-14-15,1 13 0,-14 0 16,13 0-16,-13 0 0,13-13 0,-13 14 15,13-1-15,1 13 0,-14-12 16,13-1-16,0 13 0,-13-12 16,0-1-16,13 0 15,-13 0-15,0 14 0,0-14 0,0 0 16,0 0-16,0 1 0,0-1 0,-13 13 16,13-12-16,0-1 0,0 0 15,0 0-15,0 0 0,-13 14 16,13-14-16,0 0 0,-13 14 15,13-14-15,-14 0 0,14 0 16,-13 1-16,13-1 16,-13 0-16,0-13 0,-1 13 0,1 1 15,0-1-15,0 0 0,0 0 16,-27 1-16,13-1 0,-12 0 0,-14 0 16,13 0-16,-26 1 0,13-1 15,-66 13-15,66-12 0,-13-14 16,13 13-16,0-13 0,-66 13 0,66-13 15,0 0-15,0 0 16,0 0-16,14-13 0,-41 0 16,41 13-16,12-14 0,1 1 0,12 13 15,-12-13-15,13 0 16</inkml:trace>
  <inkml:trace contextRef="#ctx0" brushRef="#br0" timeOffset="172754.12">10861 8215 0,'-26'0'0,"52"0"0,-79 0 16,53 14-16,-26-14 0,-1 26 16,14-13-16,-13 14 0,12-14 15,1 0-15,0 14 0,0-14 0,13 13 16,-14-12-16,14-1 0,-13 0 15,13 0-15,0 0 0,13 1 16,1-1-16,12-26 16,-13 13-16,1-14 15,-1 1-15,0 0 0,0-13 16,1 12-16,-1-12 0,0-1 0,0 14 16,-13 0-16,13-14 0,-13 14 0,14 0 15,-14 0-15,0 0 16,0 39-1,0-13 1,0 0-16,0 1 0,0-1 16,0 0-16,0 0 0,0 14 15,0-14-15,0 0 0,13 1 0,-13-1 16,0 0-16,13 0 0,0-13 16,1 0-16</inkml:trace>
  <inkml:trace contextRef="#ctx0" brushRef="#br0" timeOffset="172945.13">11126 8215 0,'-14'27'0,"1"-14"16,13 13-16,0-12 0,-13-1 16,13 13-16,0-12 0,0 12 0,-13-13 15,13 14-15,0-14 0,0 0 16,0 0-16,0 14 0,0-14 0,0 0 15,-13 1-15,13-1 0,0 0 16,13 0-16</inkml:trace>
  <inkml:trace contextRef="#ctx0" brushRef="#br0" timeOffset="173853.15">22595 8864 0,'-53'79'31,"40"-39"-15,0-1-16,0 14 0,0 0 15,-14 0-15,14 0 0,0 0 0,-14 0 16,14-14-16,0 1 0,0 0 0,13-14 15,-14 1-15,14-1 0,-13 1 16,13-14-16,0 13 0,0-12 0,-13-1 16,13 0-16,0 0 0,0 1 15</inkml:trace>
  <inkml:trace contextRef="#ctx0" brushRef="#br0" timeOffset="175318.11">1164 9591 0,'66'0'31,"-39"0"-31,65-13 16,-39 13-16,0-13 0,0 13 16,13-14-16,14 14 0,-14-13 15,13 0-15,-13 0 0,14 13 0,-14-13 16,0-1-16,0 1 0,0 0 0,0 0 16,-13 13-16,-13-14 0,13 1 15,-13 13-15,-14-13 0,1 13 0,-1 0 16,-13 0-16,14-13 0,-14 13 0,0 0 15,0 0-15,1 0 16,-1-14-16,0 14 16,0 0-16,1 0 31,-14 14-31,0-1 16,13-13-16,-13 13 0,0 0 15,13 1-15,-13-1 0,0 0 16,13 0-16,-13 14 0,13-14 0,1 13 15,-1-12-15,0 12 0,0 1 0,14-1 16,-1 14-16,-12-14 0,12 1 16,0-1-16,-12 14 0,12-14 0,1 1 15,-14 12-15,0-12 0,0-1 16,14 14-16,-14-14 0,-13 1 16,13-1-16,0 1 0,-13-14 0,0 14 15,14-14-15,-14 13 0,0-13 0,0 1 16,-14 12-16,14-13 0,-13 1 15,0 12-15,0-13 0,-14 1 0,-12 12 16,12-13-16,-13 14 0,-26-14 0,13 0 16,-13 0-16,0 14 0,-13-14 15,13 0-15,-27 1 0,14-1 0,-14 0 16,0 0-16,14 14 0,-27-14 16,0 13-16,14-12 0,-14 12 0,27 0 15,-1-12-15,1 12 0,13-13 16,-1 14-16,15-14 0,25 14 0,1-14 15,12-13-15,1 13 0,26-13 0,14 0 16,26-13-16</inkml:trace>
  <inkml:trace contextRef="#ctx0" brushRef="#br0" timeOffset="176285.27">22569 8718 0,'-40'0'31,"80"13"-31,-27-13 16,14 0-16,-1 0 0,1 0 0,-1 0 16,14 13-16,-1-13 0,14 0 0,-13 0 15,13 0-15,0 0 0,0 0 16,-14 0-16,-12 0 0,-1 0 0,1 0 16,-1 0-16,1 0 0,-14 0 15,0 14-15,0-1 16,-26 0-16,13 0 0</inkml:trace>
  <inkml:trace contextRef="#ctx0" brushRef="#br0" timeOffset="176559.14">22119 9657 0,'27'0'16,"-54"0"-16,67 0 0,0-13 0,12 0 0,15 13 16,-1-13-16,0-1 0,13 1 15,-13 0-15,14 13 0,-1-13 0,-13-1 16,14 1-16,-1 0 0,-13 0 0,0 13 16,1-13-16,-28-1 0,14 1 15,-13 13-15,-14-13 0,-13 13 0,14-13 16,-14 13-16,0-14 0,-39 14 15,-1 0 1,-25 0-16</inkml:trace>
  <inkml:trace contextRef="#ctx0" brushRef="#br0" timeOffset="177491.63">2156 10782 0,'-26'0'0,"52"0"0,-65 0 0,25 0 16,1 0-16,0 0 16,0 13-16,0-13 0,-1 13 0,1 14 15,0-14-15,0 13 0,-1-12 16,1 12-16,13-13 0,-13 14 16,13-14-16,-13 0 0,13 0 0,0 1 15,0-1-15,0 0 0,13-13 0,-13 13 16,13 1-16,0-14 15,1 0-15,-1 0 0,0 0 16,0-14-16,1 14 0,-1-13 0,0 0 16,0 0-16,0-1 15,1 1-15,-1 0 0,-13 0 0,13 13 16,-13-13-16,13-1 0,-13 1 16,14 13-1,-14-13 1,13 26-1,-13 0-15,0 1 16,13-1-16,-13 0 16,0 0-16,13 0 0,-13 1 15,13-1-15,-13 0 0,14-13 16,-14 13-16,13-13 0,0 14 0</inkml:trace>
  <inkml:trace contextRef="#ctx0" brushRef="#br0" timeOffset="178255.51">2540 10835 0,'13'-14'15,"14"14"1,-27 14-16,0-1 15,0 0-15,-14 0 16,1 14-16,0-14 0,0 14 0,0-1 16,-1-13-16,-12 0 0,26 1 0,-13-1 15,-1 0-15,14 0 0,-13-13 16,13 14-16,-13-1 16,39-13-1,-12 0 1,-1-13-16,13 13 0,-12 0 0,-1-14 15,0 14-15,13-13 0,-12 13 0,-1 0 16,0-13-16,14 13 0,-14 0 16,0 0-16,0-13 0,1 13 15,-1 0-15,-13-14 0,13 14 0,0 0 16,0 0 0,1-13-1,-1 13 1,0 0 46,-13-13 220,13 13-282,-13-13 15</inkml:trace>
  <inkml:trace contextRef="#ctx0" brushRef="#br0" timeOffset="179349.46">15729 11668 0,'53'-13'0,"-39"13"15,12 0-15,1-13 0,-1 13 16,0 0-16,1 0 0,-14-14 0,14 14 16,-1 0-16,-13 0 0,1 0 0,-1 0 15,0 0-15,0 14 0</inkml:trace>
  <inkml:trace contextRef="#ctx0" brushRef="#br0" timeOffset="179539.81">15729 11853 0,'0'14'0,"27"-28"15,-14 14 1,0 0-16,14 0 0,-14 0 0,14-13 16,-1 13-16,-13 0 0,14 0 0,-1-13 15,1 13-15,-1-13 0,1 13 16,-1 0-16,-13-14 0,14 14 15,-1-13-15</inkml:trace>
</inkml:ink>
</file>

<file path=ppt/ink/ink1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2:00.855"/>
    </inkml:context>
    <inkml:brush xml:id="br0">
      <inkml:brushProperty name="width" value="0.05292" units="cm"/>
      <inkml:brushProperty name="height" value="0.05292" units="cm"/>
      <inkml:brushProperty name="color" value="#FF0000"/>
    </inkml:brush>
  </inkml:definitions>
  <inkml:trace contextRef="#ctx0" brushRef="#br0">8017 2659 0,'13'0'63,"66"0"-47,67 0-16,39 0 15,27 0-15,119 0 16,-14 0-16,120 0 15,-40 0-15,-67 0 16,-12 0-16,-159 0 16,-54 0-16,-52 0 15,-40 13 267</inkml:trace>
  <inkml:trace contextRef="#ctx0" brushRef="#br0" timeOffset="1104.83">8109 1707 0,'-13'13'16,"53"0"31,13 27-47,53-40 15,79 13-15,0 0 16,27-13-16,119 0 16,105 0-16,27 0 15,-26 0-15,26 0 16,-146-53-16,-92 27 16,-40 13-16,-79-14 15,-66 27-15,-27 0 16</inkml:trace>
  <inkml:trace contextRef="#ctx0" brushRef="#br0" timeOffset="1655.93">11972 1693 0,'14'27'31,"-14"79"-15,13 39-16,0 1 15,-13 12 1,0 14-16,0 0 16,0 0-16,0 14 15,0-41-15,0-13 16,0-52-16,0-41 15,0-25-15</inkml:trace>
  <inkml:trace contextRef="#ctx0" brushRef="#br0" timeOffset="3106.43">8414 1720 0,'-13'0'47,"-14"-13"-47,-26 13 16,-53 0-16,27 0 15,13 0-15,-40 0 16,53 0-16,-13 0 15,13 0-15,13 0 16,27 0 0,13 13 62,-13 40-78,-14-14 15,27 28-15,0 38 16,0-25-16,0 39 16,-13-27-16,13-25 15,-26 52-15,26-66 16,0-1-16,-27 1 16,27-13-1,0-13-15,0-14 16,0 0-16,0 0 15,0 14 1,27-14 234,26-13-234,26 13-16,-13-13 15,80 0-15,12 0 16,-25 0-16,-1 0 16,-66 0-16,-39 0 15,-14 0 1</inkml:trace>
  <inkml:trace contextRef="#ctx0" brushRef="#br0" timeOffset="5073.96">10544 2686 0,'13'0'62,"13"105"-46,40 1-16,14 53 15,-1-14-15,40 27 16,-13 0-16,53 27 16,-27-67-16,27-13 15,158 53-15,-26-79 16,14-27-16,105-26 16,-40-40-16,-13 0 15,14-27-15,-14-39 16,-53 13-16,-79-13 15,-79 13-15,-67 27 16,-66 26 0</inkml:trace>
  <inkml:trace contextRef="#ctx0" brushRef="#br0" timeOffset="5897.04">14830 3982 0,'13'13'31,"27"14"-31,-1-27 16,41 26-16,12-13 15,14 1-15,13-1 16,-26-13-16,13 40 16,-27-40-16,-26 0 15,0 0-15,-40 13 94,-13 0-94,0 13 16,0 14-16,-13 13 15,-40 40-15,13-54 16,1 41-16,26-41 16,-27 14-16,27-26 15,13-1-15,-27 1 16,27-14-1</inkml:trace>
  <inkml:trace contextRef="#ctx0" brushRef="#br0" timeOffset="7793.73">10861 1852 0,'66'-26'78,"106"-80"-78,106-13 16,159-40-16,131-13 15,1 13-15,-39 40 16,65 79-16,-79-65 16,-53 39-16,-172 52 15,-93 14-15,-92 0 16,-53 0-16,-40 0 78,-13 14-47,0-1-31,0 0 16,0 0-16,0 0 15</inkml:trace>
  <inkml:trace contextRef="#ctx0" brushRef="#br0" timeOffset="8698.41">15690 529 0,'13'0'47,"66"53"-47,14-26 16,-14 12-16,40-12 16,-66-1-16,0-26 15,-13 13-15,-14-13 16,1 14-16,-14-1 125,-13 0-110,-26 0-15,-14 27 16,-13-27-16,0 27 16,27-27-16,12-13 15,-12 27-15,13-27 16,0 13 0,-1 0 62</inkml:trace>
  <inkml:trace contextRef="#ctx0" brushRef="#br0" timeOffset="13528.88">7885 2355 0,'13'0'78</inkml:trace>
  <inkml:trace contextRef="#ctx0" brushRef="#br0" timeOffset="16080.07">8956 4498 0,'13'0'0,"-13"-13"15,-26 26 17,26 0-32,-27 0 0,14 1 0,0 12 15,-13 1-15,-1-1 0,14 0 16,-14 1-16,1-1 0,13 1 0,-1-14 15,1 0-15,13 0 0,-13 1 0,0-1 16,13 0-16,0 0 16,13-13-1,0 14-15,0-14 0,14 0 16,-14-14-16,0 14 0,14 0 0,-1-13 16,1 13-16,-14 0 0,13-13 15,1 13-15,-14-13 0,14 13 16,-14 0-16,13-14 0,-12 1 15,-1 13-15,0 0 0,-13-13 16,13 13-16,0-13 0,-13 0 16,0-1-16,0 1 0</inkml:trace>
  <inkml:trace contextRef="#ctx0" brushRef="#br0" timeOffset="16269.49">9062 4577 0,'0'0'0,"-13"-39"0,13 25 0,0 1 16,-13 13-16,-1-13 15,1 26 1,13 0-1,0 1-15,0 12 0,0 1 0,0-1 16,0 0-16,-13 1 16,13-1-16,0 14 0,0-14 0,0 1 15,0-1-15,13 1 0,-13-1 0,0 1 16,0-1-16,0 14 0,13-27 16,-13 0-16,14 1 15,-1-14-15</inkml:trace>
  <inkml:trace contextRef="#ctx0" brushRef="#br0" timeOffset="16454.77">9313 4683 0,'0'-26'31</inkml:trace>
  <inkml:trace contextRef="#ctx0" brushRef="#br0" timeOffset="16771.84">9578 4538 0,'0'0'0,"0"-14"0,0 1 0,-13 13 16,-14 13-1,14-13-15,13 14 16,-13-1-16,0 0 0,13 0 16,0 1-16,13-1 15,-13 0-15,13-13 0,-13 13 0,13 0 16,0 1-16,-13-1 0,14 0 15,-14 0-15,0 1 16,0-1-16,0 0 16,-14 0-16,14 0 15,-13-13-15,13 14 0,-13-1 16,0-13-16,13 13 0,-13 0 0,-1-13 16,14 14-16,0-1 0,-13-13 0,13 13 15,-13 0-15</inkml:trace>
  <inkml:trace contextRef="#ctx0" brushRef="#br0" timeOffset="17387.86">9036 5702 0,'0'0'16,"-40"26"-16,27 1 0,-14-14 0,14 0 0,-14 14 16,1-14-16,13 13 0,-14 1 15,14-14-15,0 0 0,13 14 0,-13-14 16,-1 0-16,14 0 0,0 1 15,0-1-15,0 0 0,14-13 16,-14 13-16,13-13 0,-13 13 16,13-13-16,0 0 0,1 0 0,-1 0 15,13 0-15,-13 0 0,1-13 0,12 13 16,-13-13-16,14 13 0,-14-13 16,14 0-16,-14-1 0,0 1 0,0 0 15,0 0-15</inkml:trace>
  <inkml:trace contextRef="#ctx0" brushRef="#br0" timeOffset="17577.16">9115 5702 0,'-13'-27'0,"-1"14"16,1 26-1,13 1-15,0-1 16,-13 0-16,13 0 0,0 14 0,0-1 16,0-13-16,0 14 15,13 52-15,-13-52 0,0-1 16,0 1-16,0 12 0,0-12 0,0-1 15,13-13-15,-13 14 0,0-14 16,14 0-16,-14 14 0,13-27 0,-13 13 16,13-13-16</inkml:trace>
  <inkml:trace contextRef="#ctx0" brushRef="#br0" timeOffset="17727.1">9287 5900 0,'-13'0'0,"-1"0"32,1 0-17,13 13-15</inkml:trace>
  <inkml:trace contextRef="#ctx0" brushRef="#br0" timeOffset="18003.21">9472 5794 0,'0'93'31,"13"-80"-15,1 0-16,-1-13 15,0 14-15,0-14 0,0 0 16,1 0-16,-1 0 15,-13-14-15,13 14 16,-13-13-16,0 0 16,-13 0-16,0 0 15,-1 13-15,1 0 0,13-14 16,-26 14-16,13-13 0,-1 13 0,1-13 16,-13 13-16,12-13 0</inkml:trace>
  <inkml:trace contextRef="#ctx0" brushRef="#br0" timeOffset="18367.18">8559 5569 0,'66'-26'0,"-132"52"0,185-78 0,-66 38 16,0-12-16,13 13 0,14-1 15,-14 1-15,13 0 0,1 0 0,-1 0 0,-13 13 16,0 0-16,-13 0 0,27 13 16,-14 0-16,0 0 0,-13 14 15,0-1-15,0 1 0,-14 12 0,1 1 16,-14 0-16,-12-1 0,-1 1 0,-13 0 16,0 13-16,-13-14 0,-1 14 0,1 0 15,-13 0-15,-14 0 0,14-13 16,-14 13-16,0-14 0,1 1 0,-1-14 15,-13 14-15,0-13 0,13-1 0,-26-13 16,26 14-16,-12-27 0,12 13 16,0-13-16,1 0 0,-1-13 0,0-1 15,0 1-15,1-13 0,12-1 16,-12-12-16,12 12 0,1-13 0</inkml:trace>
  <inkml:trace contextRef="#ctx0" brushRef="#br0" timeOffset="18851.82">8758 5159 0,'0'0'0,"66"-13"0,-26 13 0,-1-13 0,1 0 15,13-1-15,13 1 0,-13 0 0,13 0 16,0 0-16,-13-14 0,0 14 16,13 0-16,-13-14 0,-13 1 0,-1 12 15,1 1-15,0-13 0,0-1 16,-1 14-16,54-66 15,-80 39-15,13 14 0,1-14 16,-14 0-16,0 14 0,-13-14 0,0 0 16,-13 1-16,0-1 0,0 14 0,-14-14 15,-12 0-15,12 14 0,-13-1 16,-26 1-16,13 13 0,-13-1 0,0 1 16,0 0-16,0 13 0,0 0 0,-14 13 15,14 0-15,0 1 0,13 12 0,-13-13 16,13 14-16,0 12 0,0-12 15,13-1-15,1 14 0,-1 0 16,14-1-16,-1-12 0,14 13 0,-14-14 0,14 14 16,0-14-16,13 14 0,-13-1 15,13 1-15,-13-13 0,-1 12 16</inkml:trace>
  <inkml:trace contextRef="#ctx0" brushRef="#br0" timeOffset="19716.08">7170 6046 0,'0'53'16,"0"-40"-1,13 0-15,-13 0 0,0 1 16,14 12-16,-1-13 16,-13 0-16,13 1 0,0-28 31,-13 1-31,0 0 0,0 0 16,0 0-16,0-14 0,14 14 0,-14 0 15,0-14-15,0 14 0,13 0 16,-13-1-16,0 1 0,0 0 15,13 13-15,-13-13 0,13 13 16,0 13-16,1-13 16,-14 13-16,13-13 15,-13 13-15,13-13 0,-13 14 16,13-14-16,1 0 0,-1 13 16,0-13-1,14 0 1,-14-13-16,0 13 15,0 0-15,0-14 16,1 14-16,12 14 16,-13-14-16,-13 13 15</inkml:trace>
  <inkml:trace contextRef="#ctx0" brushRef="#br0" timeOffset="20082.99">7646 5874 0,'27'-13'15,"-14"-1"-15,0 14 16,1 0-16,-1 0 0,0 0 16</inkml:trace>
  <inkml:trace contextRef="#ctx0" brushRef="#br0" timeOffset="20263.8">7686 6072 0,'0'0'0,"40"-13"31,-27 0-15,0 13-16,1 0 0,-1-14 15,0 1-15,0 13 16,0 0-16,1-13 0,-1 13 0,0-13 16,0 13-16,1-13 0,-1 13 0,-13-14 15</inkml:trace>
</inkml:ink>
</file>

<file path=ppt/ink/ink12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4:49.793"/>
    </inkml:context>
    <inkml:brush xml:id="br0">
      <inkml:brushProperty name="width" value="0.05292" units="cm"/>
      <inkml:brushProperty name="height" value="0.05292" units="cm"/>
      <inkml:brushProperty name="color" value="#FF0000"/>
    </inkml:brush>
  </inkml:definitions>
  <inkml:trace contextRef="#ctx0" brushRef="#br0">6906 1495 0,'39'13'0,"-78"-26"0,118 26 16,-26-13-16,0 0 0,26 0 0,1 0 16,78-13-16,-78 13 0,12-13 15,67 13-15,-93-14 0,0 14 16,-13 0-16,0 0 0,-13 0 16,0-13-16,-14 13 0,0 0 0,1 0 15,-1 0-15,-12 0 0,-1 0 0,13 0 16,-12 0-16,-1 0 15,13 0-15,-13 0 0,54 13 0,-41-13 16,14 0-16,-14 0 0</inkml:trace>
  <inkml:trace contextRef="#ctx0" brushRef="#br0" timeOffset="337.77">9750 1336 0,'0'0'0,"66"0"0,-26 0 15,13 0-15,-14 0 0,14-13 16,185 13-1,-185 0-15,66 0 0,-66 0 16,0 0-16,-13 0 0,0 0 16,-14 13-16,0-13 0,1 0 15,-1 0-15,-12 0 0,-1 0 0,13 0 16,-12 0-16,-1 0 0,0 13 16,0-13-16,0 0 15</inkml:trace>
  <inkml:trace contextRef="#ctx0" brushRef="#br0" timeOffset="914.12">13957 1296 0,'106'14'16,"-67"-28"-16,1 14 0,13 0 15,13 0-15,0 0 0,0 0 0,14 0 16,-1 0-16,-13 0 0,0 0 0,-13 0 16,13 0-16,-13 0 0,53 0 15,-66 0-15,-14 0 0,1 0 0,-14 0 16,13 0-16,-12 0 0,-1 0 15,0 0-15,0 0 0,-39-13 32,13 13-32,-1 0 15,1 0-15,0 0 0,0 0 16,0 0-16</inkml:trace>
  <inkml:trace contextRef="#ctx0" brushRef="#br0" timeOffset="3450.37">18680 3056 0,'79'13'0,"-158"-26"0,198 26 0,-53 0 0,0-13 16,13 0-16,1 0 0,12 14 0,-12-14 15,-1 0-15,0 0 0,54 0 16,-80 13-16,0-13 0,-14 0 16,-12 0-16,-1 0 0,1 0 0,-14 0 15,0 0-15,14 0 0,-14 0 16,0 0-16,-26-13 31</inkml:trace>
  <inkml:trace contextRef="#ctx0" brushRef="#br0" timeOffset="5846.19">15954 4008 0,'27'14'16,"-14"-14"-16,14 0 0,12 0 0,14 0 16,13 0-16,14 0 0,12 0 0,1 0 15,13 0-15,0 0 0,-1 0 16,133 0-16,-132 13 0,-13-13 15,13 0-15,-14 0 0,-12 0 0,12 0 16,-26 13-16,14-13 0,-27 0 16,0 0-16,0 0 0,-14 0 0,-12 0 15,-1 13-15,1-13 0,-1 0 0,-13 0 16,1 0-16,12 0 0,-13 0 16,1 0-16</inkml:trace>
  <inkml:trace contextRef="#ctx0" brushRef="#br0" timeOffset="6847.22">1548 5159 0,'92'-26'0,"-52"26"0,397-40 16,-345 27-1,1 13-15,-1-13 0,1 0 16,0 13-16,-1-14 0,-12 14 0,-1-13 16,0 13-16,27-13 0,-53 0 15,-13 13-15,0 0 16,-14 0-16,14-14 0,-27 14 15</inkml:trace>
  <inkml:trace contextRef="#ctx0" brushRef="#br0" timeOffset="7117.17">1998 5278 0,'251'-52'16,"-185"38"-1,0 1-15,0 13 0,1-26 16,12 12-16,-13 1 0,0 0 0,0 0 16,1-1-16,-15 14 0,-12-13 0,0 0 15,-14 13-15,14-13 16,-27 13-16,106-27 15</inkml:trace>
  <inkml:trace contextRef="#ctx0" brushRef="#br0" timeOffset="12121.89">14777 6390 0,'106'-14'0,"-67"14"0,226 0 31,-212-13-31,0 13 0,0 0 16,0 0-16,0 0 0,-14 0 0,14 0 16,-13 0-16,-14 0 0,1 0 15,-1 0-15,1 0 0,-14 0 0,0 0 16,0 0-16,1 0 0,-1 0 16,0 0-16,0 0 0,1 0 15,-1 0 1,0 0-1,-13 13-15,13-13 0,1 0 16,-1 0-16,13 0 0</inkml:trace>
  <inkml:trace contextRef="#ctx0" brushRef="#br0" timeOffset="12538.76">17555 6429 0,'172'14'31,"-119"-14"-31,0 0 0,0 0 0,13 0 16,-13 0-16,13 0 0,-13 0 0,-13-14 15,-1 14-15,-12 0 0,-1 0 16,-13 0-16,1 0 0,-14-13 16,-40 13-16,-13 0 15,-13 0-15,-27 0 0,-12 0 16,-41 0-16</inkml:trace>
  <inkml:trace contextRef="#ctx0" brushRef="#br0" timeOffset="13253.2">3969 7316 0,'-13'0'16,"158"0"15,-79-14-15,0 1-16,14 13 0,-1-26 15,0 26-15,1-13 0,-1-1 0,1 1 16,12 0-16,-12 0 0,12-1 0,-12 1 15,12 0-15,-12 13 0,12 0 16</inkml:trace>
  <inkml:trace contextRef="#ctx0" brushRef="#br0" timeOffset="13553.29">7752 7316 0,'0'0'0,"93"-14"0,-53 14 15,13 0-15,-14-13 0,14 13 0,-13 0 16,-1 0-16,-12-13 0,13 13 16,-14 0-16,40 0 15,-26-13-15,-14 13 0,-12 0 16,-1 0-16,0 0 0,0 0 0,1 0 16</inkml:trace>
  <inkml:trace contextRef="#ctx0" brushRef="#br0" timeOffset="18437.06">1640 8864 0,'14'0'16,"-1"13"-16,0-13 0,0 0 0,1 0 15,-1 0-15,0 0 16,0 0-16,14 0 0,-14 0 15,13 0-15,1 0 0,-14 0 0,27 0 16,-1 0-16,-12 0 0,26 0 16,-13 0-16,65 0 0,-52 0 15,0-13-15,0 13 0,0 0 0,0 0 16,0 0-16,13 0 16,-13-14-16,0 14 0,13 0 0,-13 0 15,13 0-15,-13 0 0,13-13 0,-13 13 16,13 0-16,14 0 0,-28 0 15,15 0-15,-1 0 0,-13 0 0,79 0 16,-66 0-16,13 0 0,-26 0 16,27 0-16,-27 0 0,13 0 15,-13 0-15,13 0 0,-13 0 0,13 0 16,-13 0-16,13 0 0,-13 0 0,13 0 16,-13 0-16,13 13 0,-13-13 15,13 0-15,-13 0 0,0 0 0,26 14 16,-26-14-16,0 0 0,13 0 0,-13 13 15,0-13-15,13 0 0,-13 0 16,0 0-16,0 13 0,0-13 0,-13 0 16,13 0-16,0 13 0,-14-13 0,14 0 15,0 0-15,0 0 16,0 0-16,0 0 0,13 13 0,-13-13 16,0 0-16,0 0 0,66 0 15,-66 0-15,53 0 16,-40 0-16,-13 0 0,0 0 0,-1 0 15,1 0-15,0 0 0,13 0 0,-13 0 16,0 0-16,13 0 0,-13 0 16,27 0-16,-27 0 0,13 0 0,-13 0 15,0 0-15,13 0 0,-13 0 0,0 0 16,-1 0-16,1 0 0,40 0 16,-40 0-16,0 0 0,39 0 15,-39 0-15,-13 14 16,0-14-16,-1 0 0,-12 0 0,13 0 15,-14 0-15,27 13 0,-13-13 16,-14 0-16,14 0 0,-14 0 0,14 0 16,-14 0-16,14 0 0,0 13 15,-14-13-15,67 0 16,-54 0-16,14 0 16,-13 0-16,-13 13 0,12-13 15,14 0-15,0 0 16,-26 0-16,-1 0 0,-13 0 15,14 0-15,-1 0 0,14 0 0,-14 0 16,1 0-16,-1 0 0,40 0 16,-26 0-16,0 0 0,52 0 15,-39 0 1,13-13-16,-26 13 0,26 0 16,-13-13-16,-26 13 0,12 0 15,1 0-15,0 0 0,13 0 16,-14 0-16,1-13 0,0 13 0,-14 0 15,14 0-15,-1 0 0,14 0 0,-13 0 16,53-14-16,-40 14 16,-14 0-16,14-13 0,0 13 15,0 0-15,-13 0 0,13-13 0,0 13 16,-1 0-16,1 0 0,-13-13 0,13 13 16,0 0-16,0 0 15,0-13-15,-14 13 0,14 0 0,93-14 16,-40 14-16,-67-13 15,14 13-15,40 0 16,-53 0-16,13 0 0,-14-13 0,14 13 16,-13 0-16,0 0 0,-1 0 0,14 0 15,-13 0-15,-1 0 0,54-13 16,-66 13-16,12 0 0,54 0 16,-53 0-16,12 0 0,-12 0 15,0 0-15,92 0 16,-92 0-16,-1-14 15,94 14-15,-94 0 16,14 0-16,-13 0 0,0 0 16,13-13-16,79 13 15,-92 0-15,52 0 0,-52 0 16,13 0-16,-13 0 0,-1 0 16,1 0-16,26 0 0,-26 0 15,-1 0-15,1 0 0,0 0 16,13 0-16,-14 0 0,14 0 15,-13 0-15,13 0 0,-27 0 0,14 13 16,0-13-16,-14 0 0,27 0 0,13 0 16,-26 0-16,-14 0 15,14 0-15,0 0 0,-14 0 0,27 0 16,-13 14-16,-14-14 0,27 0 0,-13 0 16,-14 0-16,14 0 0,-13 0 15,12 0-15,-12 0 0,12 0 0,-12 0 16,-1 0-16,14 13 0,-14-13 0,1 0 15,-1 0-15,1 0 0,-1 0 0,1 0 16,-14 0-16,13 0 0,1 0 16,-1 13-16,1-13 0,-14 0 0,13 0 15,1 0-15,-14 13 0,14-13 0,-1 0 16,-13 0-16,14 0 16,-1 0-16,-13 14 0,14-14 0,-14 0 15,14 0-15,-1 0 0,14 13 16,-27-13-16,40 13 15,-27-13-15,1 0 0,-14 13 0,14-13 16,-1 0-16,0 0 0,1 13 0,-1-13 16,14 0-16,-14 14 0,1-14 15,-1 0-15,1 0 0,-1 13 0,1-13 16,-1 0-16,1 0 0,-1 0 0,-13 0 16,14 13-16,-1-13 0,27 0 15,-26 0-15,-14 0 16,40 0-16,-40 0 0,13 0 15,1 0-15,-14 0 0,14 0 16,-1 0-16,-13 0 0,14 0 0,-14 0 16,13 0-16,1 0 0,-1 0 0,-12 0 15,12 0-15,1 0 0,-1 0 16,-13 0-16,40-13 16,-40 13-16,14 0 0,-1 0 0,-12 0 0,12 0 15,0 0-15,-12 0 0,12 0 16,1 0-16,-14 0 0,13 0 15,1 0-15,-1 0 0,1 0 0,12 0 16,-12 0-16,-1 0 0,1 0 16,-1 0-16,1 0 0,26 0 15,-27 0-15,-13 0 0,40 0 16,-40 0-16,14 0 0,-14 0 16,14 0-16,-14 0 0,13 0 15,-13 0-15,14 0 0,-14 0 0,14 0 16,-14 0-16,13 0 0,-13-13 0,14 13 15,-14 0-15,14 0 0,-14 0 16,27 0-16,-27 0 0,13 0 16,1 0-16,-14 0 0,13 0 15,-12-14-15,12 14 16,1 0-16,-1 0 16,-13 0-16,27-13 0,-27 13 15,0 0-15,1-13 0,12 13 16,-13 0-16,1 0 0,25-13 15,-26 13-15,1-13 0,25 13 16,-25-14-16,-1 14 0,0-13 16,0 13-16,1 0 0,-1-13 0,0 13 15,0-13-15,0 13 0,1-14 0,-1 1 16,0 13-16,-13-13 0,13 13 16,1-13-16,-1-1 0,0 1 0,0 13 15,0-13-15,1 0 0,-1 0 16,27-14-16,-27 14 0,0 0 15,14-1-15,-14 1 0,0-13 16,0 12-16,0 1 0,14 0 0,-14 0 16,0 0-16,1-1 0,-1 1 0,0 0 15,0 0-15,1-1 0,-14 1 16,13 0-16,13-13 0,-13-1 16,1 14-16,-1-14 15,0 14-15,-13 0 0,13-14 16,-13 14-16,14 0 0,-14-13 15,13 12-15,-13 1 0,0 0 0,0 0 16,0-14-16,0 14 0,0-14 16,0 14-16,0 0 0,-13-13 15,13 12-15,-14 1 0,1-13 16,0 12-16,-14-12 16,1 13-16,0 0 0,-1-14 0,1 14 15,-14 0-15,13-1 0,-12 1 0,-41-13 16,27 12-16,14 14 15,-1-13-15,-13 0 0,14 13 0,-14-13 16,-53 0-16,66 13 0,-13-14 16,-53 14-16,40-13 15,13 13-15,-13 0 0,-13-13 16,13 13-16,-1 0 0,-12-13 0,13 13 16,0-14-16,-80 14 0,67-13 15,13 13-15,-14-13 16,-12 13-16,12-13 0,1 13 0,-93-14 15,79 1-15,1 13 0,-93-13 16,79 13-16,-93-13 16,67 13-16,39-13 0,-12 13 0,-1 0 15,-27-14-15,14 14 0,14 0 0,-120-13 16,119 0-16,-26 13 16,26-13-16,-27 13 0,41-14 15,-173 1-15,146 13 0,13-13 16,-26 13-16,26 0 0,-13-13 15,-119-1-15,106 14 0,26 0 16,-132-13-16,105 13 0,28 0 16,-1 0-16,-26-13 0,26 13 15,0 0-15,-26 0 0,26 0 0,0 0 16,0 0-16,0 0 0,-13-13 0,13 13 16,1 0-16,-1 0 0,0 0 15,0 0-15,0 0 0,14 0 16,-14 13-16,0-13 0,0 0 0,-92 0 15,105 13-15,-13-13 0,0 0 16,1 13-16,12-13 0,-92 14 16,92-14-16,-13 0 0,-79 13 15,92 0-15,1-13 0,-1 0 16,14 13-16,-14-13 0,-92 0 16,106 14-16,-1-14 0,-12 0 15,12 0-15,1 13 0,0-13 0,-14 0 16,14 0-16,-14 0 0,14 13 15,-80-13-15,80 0 0,-1 13 16,1-13-16,-1 0 0,1 0 16,13 0-16,-13 14 0,-1-14 0,1 0 15,13 0-15,-14 0 0,1 0 16,-1 13-16,-65-13 0,92 0 16,-13 0-16,13 0 0,-13 0 15,13 0-15,-66 0 16,66 0-16,0 0 0,-13 0 0,-40 0 15,40 0-15,13 0 0,0-13 16,0 13-16,0 0 0,-13 0 0,13 0 16,0-14-16,-26 14 0,26 0 0,-13 0 15,13-13-15,0 13 0,-13 0 16,13 0-16,0-13 0,0 13 16,-13 0-16,13 0 0,0 0 0,0 0 15,0 0-15,0 0 0,0 0 0,1 0 16,-1 0-16,13 0 0,-13 0 15,-53 13-15,53-13 0,0 0 16,-39 0-16,39 13 16,13-13-16,-13 0 0,14 0 0,-1 0 15,-26 14-15,26-14 0,14 0 16,-14 0-16,13 0 0,-12 0 16,-1 0-16,-26 0 0,39 0 15,-12 0-15,-41 0 0,41-14 16,-1 14-16,-13 0 0,27 0 15,-27-13-15,13 13 0,0 0 16,1-13-16,-1 13 0,-53 0 16,54 0-16,12 0 0,-13 0 15,1 0-15,12 0 0,-12 0 0,-27 0 16,26 13-16,13-13 0,-52 13 16,53-13-16,-1 14 0,-13-14 15,1 13-15,12 0 0,1-13 16,-40 26-16,39-12 0,-65 25 15,78-25-15,-12-1 16,13 0-16,-14 0 16,14 1-16,-27 12 0,27 0 15,-13-12-15,-1 12 0,14-13 16,0 1-16,-1-1 0,1 0 16,0 0-16,-13 14 0,26-14 15,-14 0-15,-25 40 16,25-40-16,14 1 0,-13 12 15,0-13-15,0 27 16,-1-14-16,14-12 0,-13 25 16,0-12-16,13-14 0,0 13 15,-13-12-15,13 12 0,-13 14 16,13-14-16,0 1 0,0-1 16,0 14-16,0-14 0,0 1 15,13-1-15,-13 1 0,13-1 16,13 14-16,1-14 0,-14 1 15,40 12-15,-26-25 0,78 39 16,-78-40 0,52 0-16,-39 0 0,0 1 15,-1-14-15,54 13 0,-40-13 16,39 0-16,-25 0 16,91 0-16</inkml:trace>
  <inkml:trace contextRef="#ctx0" brushRef="#br0" timeOffset="19765.28">16219 9657 0,'0'0'0,"-13"40"16,13-27-1,0 14 1,0-14-16,0 0 16,-14 0-16,14 1 0,0-1 15,0-40 32,0 14-47,0 0 16,0 0-16,14-1 0,-14 1 15,0 0-15,0 0 16,13 0-16,0 13 31,0 13-31,-13 0 16,14 0-16,-1 0 0,0 1 16,-13-1-16,13 0 15,1-13-15,-1 0 16,0 0-1,0-13-15,0 0 0,1-1 0,-1 14 16,0-13-16,-13 0 0,13 13 0,1-13 16,-1 0-1,0 13-15,0 13 16,-13 0-16,14 0 16,-1 0-16,-13 1 15,0-1-15,0 13 0,13-12 16,-13-1-16,0 0 0,0 0 15,0 0-15,13-13 16,0 0-16,1 0 16,-1 0-16</inkml:trace>
  <inkml:trace contextRef="#ctx0" brushRef="#br0" timeOffset="20106.77">16801 9790 0,'13'-27'16,"-26"54"-16,26-67 0,-13 13 0,0 14 0,0 0 15,0-13 1,0 12-16,-13 28 31,0-1-15,13 0-16,0 0 0,-13 14 0,13-14 15,0 0-15,0 0 0,0 14 0,0-14 16,0 0-16,0 0 0,13 14 16,0-27-16,0 13 0,14 0 15,-14-13-15,0 0 0,27 0 16,-14 0-16,1-13 15,-14 13-15,13-13 0</inkml:trace>
  <inkml:trace contextRef="#ctx0" brushRef="#br0" timeOffset="20637.3">17343 9684 0,'-13'-13'0,"-26"13"16,25 0-1,1 0-15,0 0 16,13 13-16,-13-13 0,-14 13 16,14 0-16,0-13 0,-1 27 15,1-27-15,13 13 0,-13 0 16,13 0-16,-13 1 16,26-1-16,-13 0 15,13-13 1,0 0-16,1 0 15,-1-13-15,0 13 0,14-13 16,-14-1-16,0 1 0,-13 0 16,13 13-16,1-13 0,-1-1 15,0 14-15,-13-13 16,13 13-16,0 0 31,-13 13-31,0 1 16,14-1-1,-14 0 1,13-13 0,0 0-1,0 0-15,1 0 0,-1 0 16,13 0 0,-13 0-16,1 0 15,-1 0-15,0 0 16,0 0-1,1 0-15,12 0 16,-13 0-16,1-13 16,-1 13-16</inkml:trace>
  <inkml:trace contextRef="#ctx0" brushRef="#br0" timeOffset="21874.1">16404 10425 0,'0'26'31,"-13"-26"-31,13 13 0,0 1 15,0-1-15,-13 0 16,13 0 0,0-39 15,13 13-15,-13-1-16,0 1 0,13 0 15,-13 0-15,0-1 16,13 1-16,1 13 31,-14 13-31,13-13 16,0 14-16,0-1 15,1 0 1,-1-13 0,0-13-16,0 13 15,0-13-15,1 13 16,-14-14-16,13 14 15,0-13-15,0 13 16,1 13 0,-1 1-1,-13-1 1,0 0-16,0 0 16,0 1-16,0-1 15,13-13-15,-13 13 16,0 0-16,0 0 0,13-13 15,1 14-15,-1-14 16,0 0-16,-13 13 0</inkml:trace>
  <inkml:trace contextRef="#ctx0" brushRef="#br0" timeOffset="22194.04">16841 10544 0,'0'-14'0,"0"1"31,0 0-31,0 0 16,13 13-16,-26-13 31,0 26-15,-1 0-16,14 0 15,-13 0-15,13 1 16,0-1-16,0 0 0,13 0 16,-13 1-16,14-1 15,-1-13-15,-13 13 16,13-13-16,0 0 16,14 0-16,-14 0 15</inkml:trace>
  <inkml:trace contextRef="#ctx0" brushRef="#br0" timeOffset="22878.01">17238 10425 0,'0'0'0,"-14"-14"0,1 14 16,0 0-16,0 0 15,-1 0 1,1 14-16,0-14 0,0 13 0,0-13 16,-1 13-16,14 0 0,-13-13 0,13 14 15,-13-1-15,13 0 0,-13 0 16,26 0-16,0-13 16,-13 14-16,13-14 15,14-14-15,-14 14 0,0 0 16,0-13-16,1 0 0,12 0 0,-13 0 15,1-1-15,-1-12 0,0 13 0,0-40 16,1 39-16,-1-12 16,-13 0-16,0 12 0,13 1 15,-13-13-15,0 12 0,13 1 16,-13 0-16,-13 26 31,0 0-31,13 1 0,-13-1 16,13 0-16,-14 0 0,14 14 0,0-14 15,0 0-15,0 14 0,0-14 16,14 0-16,-1 14 0,0-14 16,0-13-16,0 0 0,1 0 15,-1 0-15,0 0 0,0 0 16,14 0-16,-14 0 16,0 0-1,0 13-15,-13 0 16,14 1-1,-14-1 1,0 0-16</inkml:trace>
  <inkml:trace contextRef="#ctx0" brushRef="#br0" timeOffset="23361.93">17661 10319 0,'-40'26'31,"27"-13"-31,13 1 0,-13-14 16,13 13-16,-13-13 16,13 13-16,0 0 15,0 1-15,13-14 16,0 0-16,0-14 15,0 14-15,1-13 16,-1 13-16,0-13 0,0 13 16,1 0-16,-1 13 31,0-13-31,0 13 16,1 1-1,-1-14 1</inkml:trace>
  <inkml:trace contextRef="#ctx0" brushRef="#br0" timeOffset="24410.31">16457 11390 0,'0'27'16,"0"-14"-1,0 0-15,0 14 16,0-14-16,0 0 16,0 0-16,0 1 0,0-1 15,27-40 16,-27 14-15,0 0-16,13 0 0,-13-1 16,0 1-16,0 0 0,13 0 15,-13 0-15,0-1 16,0 1-16,13 40 47,-13-14-32,13-13-15,-13 13 16,27-26 0,-14 13-1,0 0-15,-13-13 0,14 13 16,-1 0-16,0 0 16,-13 13-1,13-13-15,-13 13 16,14-13-16,-14 13 15,13-13-15,0 0 16,0 0 0,0 0-16,1 0 0,-14-13 0,13 13 15,0-13-15,0 13 0,1-13 16,-1 13-16,-13-14 0,13 14 16,0-13-16,1 0 15,-14 26 16,13 0-31,-13 1 0,0-1 16,0 0-16,13 0 16,-13 0-1,13 1-15,0-14 0,1 13 16,-1-13-16,0 0 0,0 0 16,1 0-16,-1-13 0,0-1 15,0 1-15,-13 0 16,0 0-1,0 0-15,-13-1 16,0 1-16,0 13 16,-1-13-16</inkml:trace>
  <inkml:trace contextRef="#ctx0" brushRef="#br0" timeOffset="25061.55">17277 11284 0,'-26'14'31,"13"-1"-31,-1 0 15,14 0-15,-13-13 0,13 14 16,0-1-16,-13-13 0,0 26 16,13-12-16,0-1 15,0 0 1,13 0-16,0-13 16,0 0-1,1-13-15,-1 13 0,-13-13 16,26-14-16,-12 14 0,-1 0 15,-13-14-15,13 1 0,0-1 16,0 1-16,1-27 16,-14 27-16,13 12 0,-13-12 0,0 13 15,0-1-15,0 1 16,0 0-16,-13 26 31,-1 0-31,14 1 16,0-1-16,-13 13 0,13 1 15,0-14-15,0 14 0,0-1 16,13-13-16,-13 14 0,14-14 16,-1 0-16,-13 0 15,26-13-15,-12 14 0,-14-28 16,13 14-16,0 0 0,0-13 0,40-13 16,-53 12-1,27 1-15,-14 13 16,0 0-16,0 13 15,-13 1 1,0-1 0,14 0-16,-14 0 15,13-13-15,0 0 16,13 0 0,-12 0-16,-1-13 0</inkml:trace>
  <inkml:trace contextRef="#ctx0" brushRef="#br0" timeOffset="25355.54">18018 11086 0,'13'13'15,"14"-26"1,-27 0-16,13 13 15,-13-13-15,13 13 0</inkml:trace>
  <inkml:trace contextRef="#ctx0" brushRef="#br0" timeOffset="25619.49">18296 10253 0,'40'0'31,"-27"0"-31,0 0 0,0 0 16,1-14-16</inkml:trace>
  <inkml:trace contextRef="#ctx0" brushRef="#br0" timeOffset="25948.14">18058 9525 0,'53'0'15,"-40"0"-15,13 0 16,1 0-16,79-13 16,-53 13-16,-14 0 0,41 0 15,-41 0-15</inkml:trace>
  <inkml:trace contextRef="#ctx0" brushRef="#br0" timeOffset="27195.31">18759 9327 0,'26'0'0,"1"0"0,-14 0 16,14 0-16,-1 0 0,0-14 15,1 14-15,26 0 16,-40 0-16,0-13 0,40 26 31,-40 1-15,-13-1-16,0 0 0,14 13 16,-14 14-16,0 0 15,13 66-15,0-40 0,-13 0 16,13 0-16,-13 13 0,14-12 0,-1 12 15,0 0-15,0 1 0,-13-14 0,14 13 16,-1 1-16,-13-1 0,13-13 16,-13 0-16,0 53 0,0-66 15,0 0-15,0-13 0,0 13 16,0-13-16,-13 39 0,0-39 16,-1-1-16,1 1 0,0-14 15,13-12-15,-13 12 16,-1-13-16,1 1 0,0 12 15,0-26-15,-1 13 0,1 0 0,0-13 16,0 0-16,0 14 0,-1-14 16,1 0-16,0 0 0,-14 0 15,14 0-15,0 0 0,0 0 0,-1-14 16,1 14-16,0 0 16,13-13-16,-13 13 0,13-13 0,-13 0 15</inkml:trace>
  <inkml:trace contextRef="#ctx0" brushRef="#br0" timeOffset="28797.64">20055 9842 0,'-26'0'0,"26"14"15,-13-1-15,-1 0 0,-12 14 0,-14 26 16,27-27-16,-13 14 15,12-14-15,1 1 0,0-1 16,0 14-16,0-27 0,13 0 16,0 0-16,0 14 0,0-14 15,13 0-15,0-13 16,0 0-16,14 0 0,-14 0 16,0 0-16,0-13 0,14 13 15,-14-13-15,27-14 0,-27 14 16,0 0-16,14-13 15,-27 12-15,13 1 0,0 13 0,-13-13 16,13 26 0,-13 0-16,0 1 15,0-1-15,0 0 0,14 0 16,-14 0-16,0 14 16,13-14-16,-13 0 15,13 1-15,0-14 16,0 0-16,1 0 15,12-14-15,-13 1 16,1-13-16,-1 12 0,-13 1 16,0-13-16,0 13 15,0-14-15,0 14 16,0 0-16,-13-14 0,-1 27 16,14-13-16,-13 13 15,0 0-15,0 0 16,-1 13-16,14 0 15,0 1 17,14-14-32,-1 13 0,0-13 15,0 0-15,14 0 16,-14 0-16,0 0 16,1 0-16,-1 13 15,0-13-15,0 13 16,-13 1-16,13-14 15,-13 13-15,0 0 16,14-13 0,-14 13-16,0 0 31,26-26 0,-26 0-31,13 0 16,1 13-16,-1-13 15,0 13-15,0-14 0,1 14 16,-1 14 0,0-14-1,0 13 1,0-13 0,-13 13-16,14-13 15,-1 13 1,0-13-1,0 0-15,1 0 16,-1 0-16,-13-13 16,13 13-16,0-13 15,1 0-15,-1-1 16,0 14-16</inkml:trace>
  <inkml:trace contextRef="#ctx0" brushRef="#br0" timeOffset="29361.51">21048 9618 0,'-27'79'31,"14"-39"-31,13-1 0,-27 27 16,14-26-16,-13 40 15,13-54-15,-1 14 0,14-14 16,-13-13-16,13 14 0,-13-14 0,0 14 16,13-14-16,-14 0 15,1-13 1,26-26 0,-13 12-16,14 1 0,-1-27 15,13 27-15,-12 0 0,-1 0 16,13-1-16,-13 1 0,27 0 15,-13 13-15,-14 0 0,0 0 16,14 0-16,-14 13 16,-13 0-16,13-13 0,-13 14 15,13-1-15,-26 13 16,-13 14-16,12-27 16,1 1-16,0-14 15,13 13-15,-13-13 0,-14 13 16,14-26-16,26 0 31</inkml:trace>
  <inkml:trace contextRef="#ctx0" brushRef="#br0" timeOffset="29498.47">21299 9962 0,'0'13'15,"0"-26"-15,0 39 0,0-13 16,0 0-16,0 1 0,-13-1 15,13 0-15,-14 0 0,14 1 16,-13-1-16</inkml:trace>
  <inkml:trace contextRef="#ctx0" brushRef="#br0" timeOffset="29660.79">21352 9750 0,'-13'0'0,"-1"0"15,-12 13-15,26 0 16</inkml:trace>
  <inkml:trace contextRef="#ctx0" brushRef="#br0" timeOffset="30076.41">21550 9909 0,'-13'13'0,"13"0"15,0 0-15,-13 1 0,0 12 16,13-13-16,-27 27 15,27-27-15,-13 14 16,0-14 0,13 0-16,-14 0 15,41-39 17,-14 13-32,0-1 0,-13 1 15,27 0-15,-14 0 16,-13-1-16,27 14 0,-14 0 15,0 0 1,0 0-16,0 14 0,1-1 16,-14 0-1,13-13-15,-13 13 0,13 1 16,0-14 0,1 13-16,-1-13 0,0 0 15,0 0-15</inkml:trace>
  <inkml:trace contextRef="#ctx0" brushRef="#br0" timeOffset="30900.6">22027 10001 0,'0'-13'0,"-14"0"31,1 13-31,0 0 16,0 0-16,-1 0 0,1 0 0,0 13 16,0-13-1,0 13-15,-14-13 0,27 13 16,-13-13-16,0 14 16,-1-14-16,14 13 15,14 0 1,-1 0-16,0-13 15,0 0-15,-13 14 16,14-14-16,-1 0 0,13 0 16,-13 0-16,1-14 15,-1 14-15,0 0 16,14-13-16,-14 0 0,40-40 16,-14-13-16,1 13 15,0-26 1,-1 12-16,-12 28 15,-1-1-15,-26 27 16,14 0-16,-14 39 31,-27 40-15,14-53-16,0 27 0,-1 13 16,1-27-16,106-39 218,-40 13-202,-14 13 0,-25-13-16,-1 27 15,0-14-15,-13 0 16,0 1-16,0-1 0,0 13 15,0-12 1,-13-14-16,13 13 0,-13 0 16</inkml:trace>
  <inkml:trace contextRef="#ctx0" brushRef="#br0" timeOffset="31015.06">22542 9816 0,'14'-13'16</inkml:trace>
  <inkml:trace contextRef="#ctx0" brushRef="#br0" timeOffset="31463.35">22781 9750 0,'-14'0'16,"28"0"-16,-41 13 0,14 0 15,0 1-15,-1-1 0,1 0 16,0 0-16,13 0 16,0 1-16,0-1 15,13-13 1,14-13 0,-14-1-16,0 1 15,0 13-15,-13-13 0,14 0 16,-1 0-1,-13 39 17,0-13-17,13-13-15,0 13 16,1-13-16,-1 0 16,0 0-16,0 0 0,-13 14 15,13-14-15,1 0 16</inkml:trace>
  <inkml:trace contextRef="#ctx0" brushRef="#br0" timeOffset="32044.41">20558 10583 0,'80'-26'16,"-160"52"-16,186-52 0,-66 13 0,-1-1 0,54 1 15,0 0-15,39-13 16,53-14-1,-66 27 1,-53-1 15,-26 1-31,-27 13 16,14 0-16,-14-13 16,0 13-1,0 0-15,1 0 16,-1 0-1,0 0 17,0 0 15,-13-13 31,0 26-47</inkml:trace>
  <inkml:trace contextRef="#ctx0" brushRef="#br0" timeOffset="-60341">21788 1746 0,'40'13'78,"53"14"-62,-27-27-16,26 0 15,-39 26-15,-13-26 16,0 14-16,-27-14 15,0 0-15,0 0 16,-13 13 0,14 0-16,-1 0 15,13 80-15,14 0 16,13 52-16,0 40 16,26 14-16,-26-41 15,0 28-15,0-41 16,-13 54-16,26 25 15,0-12-15,27 145 16,-1-66-16,14 67 16,-53-107-16,53 80 15,0 92-15,-1-66 16,15 80-16,-1 52 16,0-26-16,-27 106 15,-26-185 1,-13-40-16,-13-40 15,0-39-15,26 52 16,-53-145-16,0 0 16,-13 0-16,14 0 15,12 0-15,-26 26 16,40 54-16,-27 12 16,40-52-16,-40-27 15,0-52-15,14-41 16,-27-39-16,13 0 15,-13-40-15,0 0 16,0 1 93,-66-14-109,-40 0 16,-40 0-16,-118 0 16,-40 39-1,-186 41-15,40-41 16,1 54-16,25-27 16,93-26-16,80 26 15,53 0-15,132-39 16,-14 12-16,54-26 15</inkml:trace>
</inkml:ink>
</file>

<file path=ppt/ink/ink12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2:38.182"/>
    </inkml:context>
    <inkml:brush xml:id="br0">
      <inkml:brushProperty name="width" value="0.05292" units="cm"/>
      <inkml:brushProperty name="height" value="0.05292" units="cm"/>
      <inkml:brushProperty name="color" value="#FF0000"/>
    </inkml:brush>
  </inkml:definitions>
  <inkml:trace contextRef="#ctx0" brushRef="#br0">7673 238 0,'0'-13'15,"0"53"1,0-14 0,-13 27-16,13 0 0,0 26 15,0-13-15,0 14 0,0 12 0,-14-12 16,14 12-16,0-12 0,0-1 0,14 14 16,-14-14-16,0-13 0,0 14 15,0-27-15,13-1 0,-13 1 0,0-13 16,13-13-16,-13-1 0,0 0 0,0-12 15,13-1-15,-13 0 0,14 0 16,-1-26 0</inkml:trace>
  <inkml:trace contextRef="#ctx0" brushRef="#br0" timeOffset="336.77">7633 397 0,'53'-13'31,"-40"13"-31,27-14 0,0 14 16,-1-13-16,14 13 0,0-13 16,0 0-16,13 0 0,0-1 0,1 1 15,12 0-15,-13 0 0,14-1 0,-1-12 16,0 13-16,1-14 0,-1 14 0,0 0 16,14-14-16,-14 14 0,1 0 15,12 0-15,-12-1 0,-1 1 16,0 0-16,1 0 0,-14-1 0,27 1 0</inkml:trace>
  <inkml:trace contextRef="#ctx0" brushRef="#br0" timeOffset="2412.01">15121 26 0,'26'-13'0,"-12"26"0,-1 1 15,0-14-15,-13 13 0,13-13 16,1 13-16,-1 0 0,0-13 0,-13 14 15,13-14-15,0 13 0,1 0 0,-1 0 16,13-13-16,-12 14 0,-1-1 16,0 0-16,0-13 0,1 13 0,-1 0 15,0-13-15,0 14 0,0-14 16,-13 13-16,14-13 0,-1 13 0,0 0 0,0 1 16,1-14-1,-14 13-15,13 0 0,-13 0 0,13 1 16,0-1-16,-13 0 0,14 0 0,-14 0 15,13 1-15,-13-1 0,13 13 0,0-12 16,-13 12-16,13 0 0,1-12 16,-14 12-16,13-13 0,0 14 0,-13-14 15,13 14-15,1-1 0,-14-13 0,13 14 16,-13-1-16,13-13 0,-13 1 0,0 12 16,0-13-16,13 1 0,-13 12 15,0-13-15,0 0 0,0 14 16,13-14-16,-13 0 0,0 1 0,0-1 15,0 13-15,0-13 0,0 14 16,0-14-16,0 0 0,-13 1 16,13 12-16,0-13 0,0 1 0,0-1 15,-13 13-15,13-13 0,0 1 0,-13-1 16,13 0-16,-13 0 0,13 1 0,-14-1 16,1 0-16,0 0 0,0 1 15,-1-1-15,-12 0 0,13 0 0,-27 0 16,0 1-16,1-1 0,-14-13 15,-13 13-15,13 0 0,-13 1 0,-14-1 16,14-13-16,-13 13 0,12 0 16,-12 1-16,13-14 0,-80 26 15,67-13-15,13-13 0,-13 13 0,-1 1 16,-12-14-16,12 13 0,-12-13 0,12 0 16,-12 13-16,-1-13 0,-13 0 15,-26 13-15,26-13 0,-13 14 0,-13-14 16,26 0-16,-26 13 0,39-13 0,0 0 15,1 13-15,-1-13 0,14 0 0,-14 13 16,14-13-16,13 0 0,0 14 16,-1-14-16,14 0 0,1 0 0,-1 13 15,-14-13-15,1 13 0,13-13 0,1 0 16,-1 13-16,0-13 16,0 13-16,0-13 0,-13 0 0,26 14 15,-13-14-15,0 0 0,0 13 0,14-13 16,-1 0-16,13 0 0,1 0 0,-1 13 15,1-13-15,0 0 0,-1 0 16,1 0-16,-1-13 0,14 13 0,-13 0 16,-1 0-16,-13 0 0,14 0 0,-27 0 15,13 0-15,-13-13 0,0 13 16,1 0-16,12 0 0,-26 0 0,13 0 16,0 0-16,0 0 0,0 0 0,0 0 15,-13 0-15,13 0 0,0-14 16,-13 14-16,13 0 0,0 0 15,0 0-15,0 0 0,0 0 0,1 0 16,12 0-16,-13 0 0,0 14 0,0-14 16,13 0-16,-13 0 0,14 0 15,12 0-15,-12 0 0,-1 0 0,14 0 16,-14 0-16,13 0 0,1 0 0,-14 0 16,14 0-16,-1 0 0,-12 0 0,12 0 15,1 0-15,-1 0 0,1 0 16,-1 13-16,-12-13 0,12 0 15,1 0-15,-1 0 0,1 0 0,-1 13 16,1-13-16,-1 0 0,1 13 16,-1-13-16,1 0 0,0 14 0,-1-14 15,1 13-15,-1-13 0,1 0 0,13 13 16,-14-13-16,14 13 0,-14-13 0,14 0 16,-13 13-16,12-13 0,-12 0 15,13 14-15,0-14 0,-1 0 0,-12 13 16,13-13-16,-1 0 0,1 0 0,0 13 15,0-13-15,-1 0 0,1 13 16,0-13-16,0 0 0,0 0 0,13 14 16,-27-14-16,14 0 15,0 0-15,-1 13 0,1-13 0,0 0 16,0 13-16,0-13 16,-1 0-16,1 0 0,0 13 0,0-13 15,-1 0-15,1 0 0,0 0 16,0 14-16,-1-14 0,1 0 15,0 0-15,0 0 0,0 0 16,-14 0-16,14 0 16,0 0-1,-1 0-15,1 0 16,0 0 0,13 13-16,-13-13 31,-1-13-16,1 13 1,0-14 15,13 1-31,0 0 16,-13 13-16,13-13 0,0-1 16,0 1-16,0 0 15,0 0-15,0-1 0,0 1 0,0 0 16,0 0-16,0 0 0,0-1 15,0 1-15,0 0 0,0 0 0,0-1 16,13 1-16,-13 0 16,0 0-16,0 0 0,13-1 15,-13 1-15,0 0 0,0 0 0,13-1 16,-13 1-16,0 0 0</inkml:trace>
  <inkml:trace contextRef="#ctx0" brushRef="#br0" timeOffset="21540.72">2778 4736 0,'-26'0'16,"79"0"15,-27 0-31,1 0 0,-1 0 0,27 0 16,0 0-16,0 0 0,0 0 0,0 0 16,13 0-16,-13-13 0,13 13 15,-13 0-15,0 0 0,-1 0 0,15 0 16,-28 0-16,14-13 0,0 13 0,-13 0 15,-14 0-15,1 0 0,-1 0 16,1 0-16,-1-14 0,-13 14 0,1 0 16,-1 0-16,0 0 0,0 0 15,-39 14 1,13-14-16,-14 0 16</inkml:trace>
  <inkml:trace contextRef="#ctx0" brushRef="#br0" timeOffset="22465.7">2805 4882 0,'0'0'15,"39"0"-15,-12 0 0,26-14 16,-14 14-16,14-13 0,0 13 16,13-13-16,14 13 0,-14-13 0,0 13 15,13 0-15,-26-14 0,13 14 0,-13 0 16,0 0-16,0 0 15,0 0-15,-13 0 0,-1 0 0,1 0 16,-13 0-16,-1 0 0,1 0 0,-14 0 16,13 0-16,-13 0 0,1 0 15,-1 0-15,0 0 0,0 0 0,1 0 16,-1 0-16,0 0 16,0 0-1,1 0-15,-41 0 219,14 0 172,0 0-376,-1 0 1</inkml:trace>
  <inkml:trace contextRef="#ctx0" brushRef="#br0" timeOffset="26688.67">9644 4842 0,'27'-66'16,"-54"132"-16,54-146 0,-14 67 0,-13-13 16,13 13-16,-13-1 0,13 1 0,-13 0 0,0-14 15,13 14-15,-13 0 0,14 13 0,-14-13 16,0 0-16,0-1 16,13 14-16,-13-13 0,0 0 0,13 13 15</inkml:trace>
  <inkml:trace contextRef="#ctx0" brushRef="#br0" timeOffset="27304.9">10332 4723 0,'26'-40'0,"-52"80"0,52-93 0,-12 40 15,-14-1-15,13 1 0,0 0 16,-13 0-16,13 0 0,-13-1 0,14-12 16,-1 26-16,-13-13 0,13-1 0,0 1 15,-13 0 1,14 13-16,-1 0 16,0 13-16,0-13 0</inkml:trace>
  <inkml:trace contextRef="#ctx0" brushRef="#br0" timeOffset="27744.86">10980 4683 0,'13'-26'0,"-13"12"0,27-52 32,-14 53-17,-13 0-15,13 0 0,-13-1 0,14 1 16,-14 0-16,13 13 0,-13-13 0,13 13 15,0-14-15,0 1 16,1 13-16,-1 0 0,0 0 16</inkml:trace>
  <inkml:trace contextRef="#ctx0" brushRef="#br0" timeOffset="28144.78">12144 5106 0,'-13'0'15</inkml:trace>
  <inkml:trace contextRef="#ctx0" brushRef="#br0" timeOffset="28769.85">12435 4789 0,'0'0'0,"-13"40"16,13-27-16,0 13 16,-13 14-16,13 13 0,0-13 15,-13 13-15,13-14 0,0 1 0,0 13 16,0-13-16,0-1 0,0-12 15,0-1-15,0 1 0,0-1 0,0-13 16,0 14-16,0-14 0,0 0 0,0 0 16,0 1-16,0-1 0</inkml:trace>
  <inkml:trace contextRef="#ctx0" brushRef="#br0" timeOffset="29409.82">12475 4710 0,'0'0'0,"79"-14"16,-39 1-16,384-53 16,-332 53-1,1 13-15,-1-13 0,14-1 16,0 14-16,-13-13 0,12 13 0,-12 0 15,0-13-15,-1 13 0,-12 0 0,12 0 16,-12-13-16,-14 13 0,0 0 16,0 0-16,-13 0 0,-13 0 0,-1 0 15,1 0-15,0 0 0,-14 0 0,1 0 16,-1 0-16,-13 13 0,14-13 16,-1 0-16,-13 0 0,1 13 15,12-13-15,-13 13 0,1-13 0,-1 14 16,0-1-16,0 13 0,0 1 0,14-1 15,-14 1-15,0 12 0,-13 1 16,14 0-16,-1-14 0,0 14 0,0-1 16,-13 14-16,14-13 0,-14-13 0,13 12 15,-13 1-15,13 0 0,-13-14 16,13 1-16,-13-1 0,0 0 0,0 1 16,13-14-16,-13 0 0,0 14 15,0-14-15,0 14 0,0-14 0,0 0 16,0 0-16,0 0 0,-13 1 15,13-1-15,0 0 0,-13-13 0,13 13 16,-13 1-16,-14-14 0,14 13 0,-27 0 16,1-13-16,-14 13 0,-13-13 15,0 13-15,-14-13 0,1 14 0,-14-14 16,-13 0-16,-26 13 0,-13-13 0,12 13 16,-26 0-16,14-13 0,-14 14 15,14-1-15,-14 0 0,13 0 0,1 1 16,13-1-16,13 0 0,-14 0 0,54 0 15,-14 1-15,14-14 0,13 13 16,13-13-16,0 13 0,26-13 16,-12 0-16,26 0 0,-14 0 0,14 13 15,0-13-15,-1 0 16</inkml:trace>
  <inkml:trace contextRef="#ctx0" brushRef="#br0" timeOffset="33472.61">1482 5345 0,'-14'26'15,"1"-26"1,13 13 31,-13-13 250,26 14-219,0-14-63,1 0-15</inkml:trace>
  <inkml:trace contextRef="#ctx0" brushRef="#br0" timeOffset="34096.51">1429 5331 0,'0'0'0,"-13"-13"0,-1 13 0,1 0 31,13 13-31,0 1 16,0 12-16,13-13 0,1 14 16,12 12-16,0-12 0,1 13 0,13-14 15,-1 14-15,1-1 0,13-12 16,0 13-16,0-14 0,13 0 0,0 14 15,13-13-15,-12-1 0,12 1 0,13-14 16,-12 13-16,-1-13 16,14 14-16,-14-14 0,1 14 0,-1-14 15,0 0-15,-12 13 0,-1-12 0,0-1 0,-27 0 16,1 0-16,0 1 16,0-1-16,-14-13 0,0 13 0,-12-13 15,-1 13-15,0-13 0,0 0 0,1 14 16</inkml:trace>
  <inkml:trace contextRef="#ctx0" brushRef="#br0" timeOffset="34660.85">1402 5345 0,'0'0'0,"0"-14"0,0 1 16,14 0-16,-14-14 0,26 1 15,-13 13-15,14-14 0,-1 1 0,1-1 16,12 1-16,1-14 0,0 14 0,-1-1 15,1 1-15,0-1 0,-1 14 16,1-13-16,39-1 0,-39 1 16,0 13-16,0-1 0,-14 1 0,14 0 15,-14 0-15,-13-1 0,1 14 16,-1-13-16,0 13 0</inkml:trace>
  <inkml:trace contextRef="#ctx0" brushRef="#br0" timeOffset="34954.78">1786 4802 0,'40'-13'0,"52"26"31,-65 0-31,-1-13 0,1 14 16,-1-14-16,1 13 16,-1 0-16,-13 0 0,14 1 0,-14-1 15,0 0-15,0 0 0,-13 0 0,0 14 16,0-14-16,0 27 0,-26-14 16,13 14-16,-14 0 0,-12-1 0,12 1 15,-13 0-15,1-1 0,12 1 16,-12 0-16</inkml:trace>
  <inkml:trace contextRef="#ctx0" brushRef="#br0" timeOffset="41788.04">14420 6985 0,'0'0'0,"39"0"0,-12-13 16,13 13-16,13-13 0,13 13 0,13-14 16,0 1-16,14 13 0,0-13 0,-1 13 15,-12-13-15,12 13 0,1 0 16,-1-14-16,1 14 0,-14 0 15,1 0-15,-1 0 0,-26 0 0,0 14 16,0-14-16,-27 0 0,1 0 0,-1 0 16,1 13-16,-14-13 0,0 0 15,-13 13-15,-13 0 16,0-13-16,-14 14 0,-26-14 0</inkml:trace>
  <inkml:trace contextRef="#ctx0" brushRef="#br0" timeOffset="42024.56">14565 7091 0,'0'0'0,"53"0"15,-13 0-15,13 0 16,0 0-16,26 0 0,0 0 0,14 0 16,-14 0-16,14 0 0,-14 0 0,1 0 15,-1 0-15,1 0 0,-27 0 16,13 0-16,-13 0 0,-1 0 0,-12 0 15,-13 0-15,-1 0 0,1 0 0,-14 0 16,13 0-16,-13 0 0,1 0 0,-1 0 16,0 0-16,0 0 15,1 13-15</inkml:trace>
  <inkml:trace contextRef="#ctx0" brushRef="#br0" timeOffset="42535.8">15756 7250 0,'-13'39'15,"26"-78"-15,-26 91 0,13-25 0,0-1 0,13-12 16,0 25-16,14 1 0,-1 13 16,14-13-16,13-1 0,-14 1 0,28-14 15,-1 14-15,0-13 0,26 12 16,14-12-16,-26-14 0,25 13 0,15 1 15,-1-14-15,13 0 0,0 1 16,0-1-16,14 0 0,-14 0 0,1-13 16,-1 0-16,0 14 0,-13-14 0,-13 0 15,-13 0-15,12 0 0,-12 0 16,0 0-16,-1 0 0,-12 0 0,-1 0 16,-13 0-16,-13 0 0,0 0 0,0 0 15,-13 0-15,-14 0 0,1 0 16,-14 0-16,0 0 0,0 0 0,0 0 15,1 0-15,-1 0 0,0 0 16,0-14 0,-13 1-1,0 0 1</inkml:trace>
  <inkml:trace contextRef="#ctx0" brushRef="#br0" timeOffset="42843.77">18799 7620 0,'26'13'31,"1"-13"-31,-1 13 0,0 1 16,54 12-16,-40-13 0,-1 1 15,1 12-15,-14-13 0,14 1 0,0 12 16,-14-13-16,1 0 0,12 14 16,1-1-16,-27-12 0,-13-1 15,14 0-15,-14 14 0,0-14 0,-14 13 16,1 1-16,-13-1 0,-14 1 0,-13-1 16,0 14-16,-13-14 0,0 1 15,0-1-15,-1 14 0,-38-14 0,38 1 16,-12 12-16,13-12 0,0-1 15,13 1-15</inkml:trace>
  <inkml:trace contextRef="#ctx0" brushRef="#br0" timeOffset="95892.59">20386 4207 0,'-13'26'16,"13"27"-1,0-26-15,0-1 0,0 14 16,0-14-16,0 1 0,13-1 16,-13 1-16,0-14 0,0 13 0,0-12 15,0 12-15,0-13 0,0 1 0,0-1 16,0 0-16,0-53 31,0 14-31,13-14 16,-13 0-16,14 1 0,-1-14 0,0-13 15,14 13-15,-14-13 0,0 26 0,0 0 16,0 1-16,1 12 16,-14 14-16,13-14 0,0 14 15,0 26-15,1 1 16,-14-1-16,13 13 0,-13 1 15,13 13-15,0-14 0,1 14 16,-14-14-16,13 14 0,0-14 0,0-13 16,0 1-16,1 12 0,-1-13 0,0 1 15,0-1-15,1-13 16,-14 13-16,13-13 0,13 13 16,-26 1-16,13-1 0,1 0 0,-14 0 15,13 0-15,0 1 0,-13-1 0,13 0 16,-13 14-16,14-14 15,-1 13-15,-13-12 0,0-1 0,13 0 16,0 0-16,-13 0 16,14-13-16,-14 14 15,13-14-15,0 0 0</inkml:trace>
  <inkml:trace contextRef="#ctx0" brushRef="#br0" timeOffset="97141.97">20413 4458 0,'13'-39'0,"-26"78"0,39-92 0,-13 40 16,-13 0-16,14-14 0,-1 1 0,0-1 15,0-12-15,0-1 0,14-39 16,-14 39-16,0 14 16,1-14-16,-14 13 0,13 14 0,0-13 15,-13 13-15,0-1 0,13 14 0,1 14 31,-14-1-31,0 13 0,0 1 0,13 12 16,-13 1-16,0 0 0,13-1 16,0 1-16,-13 0 0,13-1 0,1-12 15,-1 13-15,0-27 0,-13 13 16,13-12-16,1-1 0,-14 0 0,13-13 16,13 0-1,-26-13-15,13 0 0,1-14 16,12 1-16,1-41 0,-14 41 15,0-14-15,0 14 0,1-1 0,-1 14 16,0 0-16,0 0 0,0 0 16,1 26-16,-14 0 15,13 13-15,-13 1 0,0 13 16,0-1-16,13 1 0,-13 0 0,0 13 16,13-14-16,-13-12 0,14 12 15,-14-12-15,13-1 0,-13 1 0,13-14 16,-13 0-16,0 14 0,13-14 0,-13 0 15,0 0-15,14-13 16,-14 14-16,13-14 0,-13-14 16,26 1-16,-13 13 0,1-13 15</inkml:trace>
  <inkml:trace contextRef="#ctx0" brushRef="#br0" timeOffset="97584.8">21352 4313 0,'26'-14'0,"-52"28"0,66-28 0,-27 14 0,13 0 15,-13 0-15,27 0 0,-13 0 0,26 0 16,-1 14-16,1-1 0,14 13 15,-15-12-15,1 12 0,0 1 0,-13-1 16,-14 0-16,14 1 0,-13-14 16,-1 14-16,0-1 0,14 27 15,-27-40-15,-13 0 0,14 1 16,-14-1-16,13 0 0,-13 0 0,0 1 16,13-1-16,-13 0 0,0 0 15</inkml:trace>
  <inkml:trace contextRef="#ctx0" brushRef="#br0" timeOffset="97974.79">22185 4339 0,'27'27'0,"-54"-54"0,67 67 0,-27-27 0,0 0 16,1 14-16,12-1 0,-13-13 0,14 14 16,-14-1-16,14 1 0,-14-1 15,0-12-15,-13 12 0,13-13 0,-13 14 16,0-14-16,0 13 0,-13 14 16,-13-14-16,-1 14 0,-13 0 0,1 0 15,-14 12-15,-13 1 0,-14 0 0,-12 0 16,26 0-16,-93 40 0,93-54 15,-1 1-15</inkml:trace>
  <inkml:trace contextRef="#ctx0" brushRef="#br0" timeOffset="102420.96">1363 9194 0,'225'-26'47,"-159"26"-47,0-13 0,13-1 0,-13 1 15,14 0-15,-1 0 0,-13-1 0,14 14 16,-14-13-16,0 0 0,13 0 16,-13 0-16,1-1 0,-28 1 0,14 13 15,-13-13-15,0 13 0,-14 0 16,-13-13-16,0 13 0,1 0 0,-1 0 16</inkml:trace>
  <inkml:trace contextRef="#ctx0" brushRef="#br0" timeOffset="102721.7">1019 9525 0,'53'-13'0,"-14"0"0,1-1 16,304-78-1,-265 78-15,-13 1 16,14-13-16,-1 13 0,-13-1 0,14 1 16,-14 0-16,0 0 0,0 13 0,-13-14 15,-13 14-15,13-13 0,-14 0 16,1 13-16,-14 0 0,-12 0 0,12-13 16,-13 13-16,1 0 0,-1 0 0,0 0 15,0 0-15,1 0 0,12 0 16,-26-13-1,13 13-15</inkml:trace>
  <inkml:trace contextRef="#ctx0" brushRef="#br0" timeOffset="104665.16">4577 9168 0,'40'-13'0,"-14"13"16,14 0-16,13-14 0,26 14 0,1-13 16,12 13-16,1 0 15,13-13-15,-14 0 0,41 13 0,-1-14 16,0 14-16,1-13 0,-1 13 0,-13-13 15,-13 13-15,-14 0 0,1-13 16,0 13-16,-14 0 0,0-13 0,-26 13 16,0 0-16,0 0 0,-13-14 0,-14 14 15,1 0-15,-14 0 0,0 0 16,0 0-16</inkml:trace>
  <inkml:trace contextRef="#ctx0" brushRef="#br0" timeOffset="104980.81">4961 9234 0,'185'0'0,"-105"0"0,-1-13 16,0 13-16,358-13 31,-345 13-31,1 0 0,-14 0 0,1 0 16,-1-14-16,-13 14 0,-13 0 15,0 0-15,-13 0 0,0 0 0,-14 0 16,0 0-16,-12 0 0,12 0 0,-13 0 16,1 0-16,-1 0 0,-13-13 15,13 13-15</inkml:trace>
  <inkml:trace contextRef="#ctx0" brushRef="#br0" timeOffset="107292.51">21167 6085 0</inkml:trace>
  <inkml:trace contextRef="#ctx0" brushRef="#br0" timeOffset="107980.77">23072 6099 0</inkml:trace>
  <inkml:trace contextRef="#ctx0" brushRef="#br0" timeOffset="109110.75">21127 6099 0,'40'0'16,"-27"0"0,0 0-16,14 13 0,-14-13 15,26 0-15,-12 0 0,26 0 16,-13 0-16,12 0 0,15 0 0,-14 0 16,13 0-16,-13 0 0,13 0 0,-13 13 15,13-13-15,-13 0 0,0 0 0,13 0 16,-13 0-16,0 0 0,0 0 15,-1 0-15,1 0 0,0 0 16,-26 0-16,12 0 0,-12 13 0,-1-13 16,1 0-16,-14 0 0,13 0 0,-12 0 15,-1 0-15,0 0 0,0 0 16,1 0-16,-1 0 0,0 0 16,0 0-16,1 0 15,-1 0 1,0 0-1,0 0 79,-26-13 62,0 13-140</inkml:trace>
  <inkml:trace contextRef="#ctx0" brushRef="#br0" timeOffset="110449.74">22569 6006 0,'13'26'62,"0"-26"-46,-13 14 0,14-14-16,-14 13 0,13-13 15,-13 13-15,13-13 0,0 13 16,1-13-16,-14 14 15,13-14-15,0 0 0,-13 13 0,13-13 16,0 0-16,-13 13 0,14-13 16,-1 0-16,-13 13 0,13-13 15,0 0-15,1 0 16,-1 14-16,0-14 31,0 0-15,-13 13-1,14-13 48,-41 0 187,27 13-250,-13-13 16,13 13-16,-13-13 15,13 13-15,-14-13 0,14 14 16,-13-14-16,13 13 0,-13-13 0,0 13 15,-1 0-15,1 1 32,0-1-32,0 0 31,0-13 0,13 13 0,0-39 188,13 26-219</inkml:trace>
  <inkml:trace contextRef="#ctx0" brushRef="#br0" timeOffset="112382">21140 6998 0,'40'0'47,"-27"0"-47,0 0 16,14 0-16,-14 0 0,0 0 15,14 0-15,-1 0 0,1 0 0,-1 0 16,14 0-16,-1-13 0,1 13 0,13 0 16,0 0-16,0 0 0,0 0 15,13 0-15,-26-13 0,26 13 0,-13 0 16,0 0-16,0 0 0,-1-13 0,15 13 16,-14 0-16,-1 0 0,15 0 15,-14 0-15,-14 0 0,1-14 16,0 14-16,-14 0 0,0 0 0,1 0 15,-1 0-15,-12 0 0,12 0 0,-13 0 16,1 0-16,-1 0 0,0 0 16,0 0-16,14 0 15,-14 0-15,0 0 16,0-13 0,1 13-1,-1 0 48</inkml:trace>
  <inkml:trace contextRef="#ctx0" brushRef="#br0" timeOffset="113017.71">22622 6760 0,'26'13'47,"-26"1"-47,14-14 0,-14 13 16,13-13-16,0 0 0,0 13 0,0-13 15,1 13-15,-1-13 0,0 13 16,0 1-16,1-14 0,-1 0 16,0 13-16,0-13 0,1 0 15,-14 13-15,13-13 0,0 0 16,0 13-16,0-13 15,1 0 1,-14 14 0,13-14-1,0 13 17,-26 0-17,13 0 1,-13 1-16,-1-1 0,1 0 0,0 0 15,-13 14-15,-27 12 16,26-12-16,-13-14 0,1 14 0,12-14 16,-12 13-16,-1 1 0,13-14 0,-12 0 15</inkml:trace>
  <inkml:trace contextRef="#ctx0" brushRef="#br0" timeOffset="113949.96">2421 10081 0,'-13'53'16,"-1"-40"-16,14 0 16,0 13-16,0-12 0,0 12 15,-13 1-15,13-1 0,0 1 0,-13-1 16,13 0-16,-13 1 0,13-14 0,0 14 16,0-14-16,-13 0 0,13 0 15,0 1-15,0-1 0</inkml:trace>
  <inkml:trace contextRef="#ctx0" brushRef="#br0" timeOffset="114181.95">2646 10173 0,'0'-13'0,"-13"13"16,26 26-1,-13-12 1,0 12-16,0-13 0,0 1 16,0 12-16,0-13 0,0 14 0,0-14 15,0 13-15,0-12 0,0-1 0,0 0 16,0 14-16,0-14 0,0 0 16,0 0-16,0 1 0</inkml:trace>
  <inkml:trace contextRef="#ctx0" brushRef="#br0" timeOffset="114377.9">2514 10332 0,'0'-13'0,"0"26"0,39-13 31,-26 0-31,1 0 15,-1 0-15,13 0 0,-12 0 0,-1 0 16,13 0-16,-12 0 0,-1 0 16,13-13-16</inkml:trace>
  <inkml:trace contextRef="#ctx0" brushRef="#br0" timeOffset="114580.93">3043 10134 0,'0'26'32,"0"-13"-32,0 0 0,0 1 15,0-1-15,0 13 0,0-12 0,0-1 16,0 0-16,0 0 0,0 1 16,-14-1-16,14 0 0,14 0 15,-14 0-15,0 1 0,0-1 0,13-13 16,-13 13-16,13-13 0</inkml:trace>
  <inkml:trace contextRef="#ctx0" brushRef="#br0" timeOffset="114933.86">3532 10134 0,'0'26'31,"13"-13"-31,-13 0 0,0 1 16,0 12-16,0-13 0,0 1 15,0-1-15,14 0 0,-14 0 0,0 14 16,0-14-16,0 0 16,0 0-16,13 1 0,-13-1 15</inkml:trace>
  <inkml:trace contextRef="#ctx0" brushRef="#br0" timeOffset="115196.71">3321 10292 0,'0'0'0,"26"14"16,-13-14-16,0 0 15,1 0-15,12 0 0,1 0 16,-14 0-16,13-14 0,14 14 0,-27 0 16,27 0-16,-14 0 0,1-13 0,-1 13 15,1 0-15,-14-13 0,13 13 16,-12 0-16,12-13 0,-13 13 0,1-14 16,-1 14-16,0 0 0,0-13 15,0 13-15,1 0 0,-1-13 16</inkml:trace>
  <inkml:trace contextRef="#ctx0" brushRef="#br0" timeOffset="116678.68">4101 10134 0,'0'0'0,"13"-14"0,-13 1 0,14 13 0,-1 0 16,0 0-16,0 0 0,0 0 15,1 0-15,-1 13 0,0-13 16,0 14-16,1-1 0,-14 0 16,0 0-16,0 0 15,-14 1-15,14-1 0,-13 0 0,0 0 16,-14 14-16,14-14 0,0-13 0,0 13 16,0 1-16,-1-1 15,1-13-15,13 13 0,-13-13 16,0 13-16,26 0 31,0-13-31,0 0 0,14 14 16,-14-14-16,0 0 15,0-14-15,14 14 0,-14 0 0,0 0 16,14-13-16,-14 13 0,13-13 0,-12 13 16,12-13-16</inkml:trace>
  <inkml:trace contextRef="#ctx0" brushRef="#br0" timeOffset="116861.85">4617 10054 0,'-13'-13'0,"13"39"31,-13-12-31,13-1 16,0 13-16,0-12 0,0-1 15,0 13-15,0-13 0,0 1 16,0-1-16,-14 0 0,14 0 0,0 1 15,0-1-15,0 0 0,0 0 0</inkml:trace>
  <inkml:trace contextRef="#ctx0" brushRef="#br0" timeOffset="117047.71">4392 10213 0,'27'13'47,"-14"-13"-32,0 0-15,0-13 0,14 13 0,-1 0 16,-13 0-16,14 0 0,-1-13 0,14 13 16,-14 0-16</inkml:trace>
  <inkml:trace contextRef="#ctx0" brushRef="#br0" timeOffset="117465.25">4948 10041 0,'26'-13'0,"-13"13"0,1 0 15,-1 0-15,0 0 0,0 0 16,1 0-16,-14 13 0,13-13 0,-13 13 16,0 0-16,13 1 0,-26-1 0,13 0 15,-13 0-15,-1 14 0,-12-1 16,13-13-16,-1 1 0,1-1 0,0 0 15,0 0-15,-1 1 0,1-14 0,13 13 16,-13-13-16,13 13 0,-13-13 16,13 13-16,-13 1 15,26-1 1,0-13-16,0 0 0,0 0 16,1 0-16,-1 0 0,13 0 0,1-13 15,-1 13-15,1-14 0,12 1 0,1 0 16,0 0-16,-14-1 0,1 1 15</inkml:trace>
  <inkml:trace contextRef="#ctx0" brushRef="#br0" timeOffset="117630.19">5398 10081 0,'13'-27'16,"-26"54"-16,26-67 0,-13 27 0,0-1 15,0 54 32,-13-27-47,13 1 0,0-1 16,0 13-16,0-12 0,0 12 0,0-13 15,0 0-15,0 14 0,0-14 0,0 0 16,13 1-16,-13-1 0,0 0 16</inkml:trace>
  <inkml:trace contextRef="#ctx0" brushRef="#br0" timeOffset="117805.8">5252 10173 0,'0'0'0,"40"13"31,-27-26-31,0 13 0,14 0 16,-14 0-16,0 0 0,14 0 0,-14 0 16,13 0-16,1-13 0</inkml:trace>
  <inkml:trace contextRef="#ctx0" brushRef="#br0" timeOffset="118112.82">5728 10014 0,'0'-13'15,"13"13"-15,14 40 31,-27-27-31,0 0 0,0 1 0,-13-1 16,-1 0-16,14 14 16,-13-14-16,0 0 0,0 13 0,0-12 15,13-1-15,0 0 0,-14-13 16,14 13-16,0 1 16,0-1-16,14-13 15,-1 0-15,0 0 16,0-13-16,0 13 0,14 0 15,-14-14-15,0 14 0,14-13 16,-14 0-16,14 0 0</inkml:trace>
  <inkml:trace contextRef="#ctx0" brushRef="#br0" timeOffset="118293.73">6072 10001 0,'13'-13'0,"-26"26"0,26-39 0,1 13 31,-28 39 0,14-13-31,0 0 0,0 1 0,0-1 16,0 0-16,0 0 0,0 1 16,-13-1-16,13 0 0,0 0 0,0 1 15,0-1-15,13 0 0,-13 0 16,0 0-16,0 1 0,0-1 16</inkml:trace>
  <inkml:trace contextRef="#ctx0" brushRef="#br0" timeOffset="118470.98">5927 10160 0,'26'-13'31,"-13"13"-31,1 0 16,-1-13-16,13 13 0,1 0 15,-14-14-15,13 14 0,1 0 16,-1-13-16,1 13 0,12 0 0</inkml:trace>
  <inkml:trace contextRef="#ctx0" brushRef="#br0" timeOffset="118873.81">6482 9975 0,'0'0'0,"27"0"16,12 26-1,-39-13 1,0 1-16,0-1 0,-13 13 16,13-12-16,-13-1 0,0 0 0,0 14 15,13-14-15,-14 0 0,1-13 0,13 13 16,-13 0-16,13 1 0,0-1 16,-13-13-16,26 13 15,0 0-15,0-13 16,1 0-16,-1 0 0,0 0 0,0 0 15,0 0-15,14-13 0,-1 13 16,1-13-16,-14 13 0,14-13 16,12-1-16</inkml:trace>
  <inkml:trace contextRef="#ctx0" brushRef="#br0" timeOffset="119035.86">7011 9988 0,'0'-13'31,"-13"26"-31,13 0 15,-13-13-15,13 13 0,-13 1 16,13-1-16,0 13 0,-13-12 0,13-1 16,0 0-16,-14 14 0,14-14 15,0 0-15,0 0 0,0 0 0,-13 1 0,13-1 16,0 0-16</inkml:trace>
  <inkml:trace contextRef="#ctx0" brushRef="#br0" timeOffset="119202.27">6813 10160 0,'66'-13'32,"-53"13"-32,1 0 15,-1 0-15,13 0 0,-12-13 0,-1 13 16</inkml:trace>
  <inkml:trace contextRef="#ctx0" brushRef="#br0" timeOffset="119537.93">7302 9988 0,'14'0'0,"12"13"15,-13-13-15,-13 13 16,14 1-16,-14-1 16,0 0-16,-14 0 0,14 1 15,-13-1-15,13 0 0,-13 0 0,13 1 16,-13-1-16,13 0 16,-14-13-16,14 13 15,0 0-15,14-13 16,-1 14-16,0-14 15,0-14-15,1 14 16,12 0-16,-13 0 0,1 0 0,-1-13 16,13 13-16,-13 0 0,1-13 0,-1 13 15,0 0-15,0-13 0,1 13 16,-1-13-16,0 13 0</inkml:trace>
  <inkml:trace contextRef="#ctx0" brushRef="#br0" timeOffset="119750.56">7858 9895 0,'-13'27'16,"0"-14"0,13 0-16,-14 1 0,14-1 15,0 0-15,-13 13 0,13-12 0,-13-1 0,13 0 16,-13 14-16,13-14 0,0 0 15,-13 0-15,13 1 0,0-1 16,-14 0-16,14 0 0,-13-13 16</inkml:trace>
  <inkml:trace contextRef="#ctx0" brushRef="#br0" timeOffset="119956.13">7594 9988 0,'26'0'31,"-13"0"-31,0-13 0,1 13 16,-1 0-16,13 0 0,-12 0 0,12-13 16,-13 13-16,27 0 0,-14-14 15,1 14-15,-1-13 0,1 13 0,13-13 16</inkml:trace>
  <inkml:trace contextRef="#ctx0" brushRef="#br0" timeOffset="120845.71">21220 7779 0,'39'-13'32,"-26"-1"-32,27 14 0,0 0 15,0-13-15,12 13 0,1 0 0,0 0 16,27-13-16,-27 13 0,13 0 15,-13 0-15,13 0 0,0-13 0,-13 13 16,13 0-16,-13 0 0,0 0 16,0-14-16,-14 14 0,1 0 0,-13 0 15,-1 0-15,-13 0 0,1 0 0,12 0 16,-13-13-16,0 13 0,1 0 16,-1 0-16,-13-13 15,13 13-15,-26-13 31</inkml:trace>
  <inkml:trace contextRef="#ctx0" brushRef="#br0" timeOffset="121153.34">22278 7541 0,'26'0'32,"1"13"-32,-14-13 0,0 13 0,14-13 0,-14 13 15,13 1-15,1-1 0,-1 0 0,1 0 16,-1 0-16,-13 1 16,14 12-16,-14-13 0,0 14 15,1-14-15,-14 0 0,0 1 0,0-1 16,-14 0-16,1 0 0,0 0 15,-14 14-15,-12-14 0,12 0 0,-12 14 16,-1-14-16,0 0 0,1 1 0,-14-1 16,-13 0-16,13 0 0,-27 0 15,14 1-15,-13-14 0,-14 13 0</inkml:trace>
  <inkml:trace contextRef="#ctx0" brushRef="#br0" timeOffset="122022.65">8440 9842 0,'-26'14'16,"13"-14"-16,13 13 15,-14 0-15,1-13 0,0 13 0,0 1 16,-1-1-16,-12 0 0,13-13 0,-1 13 15,1 1-15,0-1 16,0-13-16,13 13 0,-13-13 0,-1 13 16,14 0-1,14-13 1,-1 0 0,-13 14-16,13-14 0,0 0 15,14 0-15,-14 0 0,0 0 16,14-14-16,-1 14 0,-13 0 0,14 0 15,-14 0-15,13 0 0,-12 0 16,-1 0-16,0-13 0,0 13 0,1 0 16,-1 0-16,0 0 0</inkml:trace>
  <inkml:trace contextRef="#ctx0" brushRef="#br0" timeOffset="123206.57">8202 9776 0,'-13'-13'31,"26"13"-31,0-13 16,1 13-16,-1 0 0,0 0 0,0 0 16,0 0-16,1 0 0,-1 0 15,13 0-15,-12 0 0,-1 13 0,0-13 16,0 0-16,14 13 0,-14 1 16,0-14-16,-13 13 15,0 0-15,0 0 0,-13-13 16,13 13-16,-13 1 0,0-1 15,-1 0-15,1-13 16,-13 13-16,12 1 0,1-14 0,0 13 16,0-13-16,-14 13 0,14-13 0,0 13 15,0-13-15,-1 0 0,1 14 16,0-14-16,0 0 0,13 13 0,-14-13 16,1 0-16,40 13 31,-14-13-16,0 0-15,0 0 0,1 0 16,-1 0-16,13 0 0,-13 13 16,14-13-16,-14 0 0,14 0 15,-1 13-15,1-13 0,-1 14 0,0-14 16,1 13-16,-14-13 0,0 13 0,14-13 16,-27 13-16,13 1 0,0-1 15,-13 0-15,0 0 16,0 1-16,-13-1 0,13 0 0,-13 0 15,0 14-15,-14-14 16,14 0-16,0-13 0,-14 13 0,14 1 0,-13-1 16,12 0-16,1-13 0,-13 0 0,12 13 15,1-13-15,0 0 0,13 14 16,-13-14-16,-1 0 0,1 0 16,13-14-16,13 1 15,1 0 1</inkml:trace>
  <inkml:trace contextRef="#ctx0" brushRef="#br0" timeOffset="123596.25">8850 9869 0,'0'-13'31,"0"39"-31,0-13 0,0 1 16,0 12-16,0-13 0,0 14 0,0-14 16,0 13-16,0 1 0,0-14 15,0 14-15,0-14 0,0 0 0,0 14 16,0-14-16,0 0 0,0 0 0,0 0 15</inkml:trace>
  <inkml:trace contextRef="#ctx0" brushRef="#br0" timeOffset="123807.72">8652 10107 0,'13'-13'15,"0"13"-15,1 0 0,65-13 32,-53 13-32,1 0 0,-14 0 0,14 0 15,-1 0-15,0 0 0,1-14 16,-1 14-16,1 0 0,-1 0 0,1 0 16,-1-13-16,1 13 0,-1 0 0,1 0 15</inkml:trace>
  <inkml:trace contextRef="#ctx0" brushRef="#br0" timeOffset="124216.62">9327 9882 0,'13'0'0,"13"0"31,-26 13-31,0 1 0,-13-1 16,13 0-16,-13-13 0,13 13 15,0 1-15,-13-14 0,13 13 16,0 0-16,0 0 0,13 0 15,-13 1-15,13-1 0,0 0 16,0 0-16,1 1 0,-1-14 16,0 13-16,-13 0 0,13 0 0,-13 1 15,0-1-15,0 0 0,0 0 0,0 0 16,-13 1-16,0-14 0,0 13 16,-1 0-16,1 0 0,0 1 15,0-14-15,0 13 0,-1-13 0,1 0 16</inkml:trace>
  <inkml:trace contextRef="#ctx0" brushRef="#br0" timeOffset="124405.96">9591 9816 0,'27'-13'0,"-1"26"15,-13 0 1,1 0-16,-14 14 15,0-14-15,13 0 0,-13 14 0,0-14 16,0 14-16,13-14 0,-13 13 0,0-13 16,0 14-16,0-14 0,0 0 0,0 1 15,0 12-15,0-13 16</inkml:trace>
  <inkml:trace contextRef="#ctx0" brushRef="#br0" timeOffset="124597.98">9472 10041 0,'13'0'15,"1"0"1,-1 0-16,0-13 0,0 13 16,14 0-16,-14 0 0,13 0 15,1 0-15,-1-14 0,14 14 0,-14 0 16,1 0-16,13-13 0,-14 13 15,0 0-15,1 0 0</inkml:trace>
  <inkml:trace contextRef="#ctx0" brushRef="#br0" timeOffset="125632.62">10200 9803 0,'13'0'0,"-26"0"0,39 0 15,-13 0-15,1 13 16,-14 0 0,0 0-16,0 1 0,-14-1 15,14 0-15,-13-13 0,13 13 16,0 1-16,-13-14 0,13 13 0,0 0 15,0 0 1,0 1-16,13-14 0,-13 13 0,13-13 16,1 13-16,-1 0 15,0 0-15,0 1 0,-13-1 16,0 0-16,0 0 16,0 1-16,-13-1 15,13 0-15,-13 0 0,0 1 0,-1-14 16,1 13-16,0 0 0,0-13 0,-14 0 15,27 13-15,-13-13 0,0 0 16,0 0-16,-1 0 16</inkml:trace>
  <inkml:trace contextRef="#ctx0" brushRef="#br0" timeOffset="125849.76">10583 9829 0,'14'13'15,"-1"1"-15,-13-1 16,0 0-16,0 0 0,0 14 0,0-14 16,0 0-16,0 14 0,0-14 15,0 13-15,0-12 0,13-1 0,-13 0 16,-13 0-16,13 14 0,0-14 15,0 0-15</inkml:trace>
  <inkml:trace contextRef="#ctx0" brushRef="#br0" timeOffset="126040.66">10372 10067 0,'0'0'0,"13"0"31,0 0-31,14 0 0,-14 0 0,13 0 16,1 0-16,-14-13 0,13 13 16,1 0-16,-1 0 0,1-13 15,12 13-15,-25 0 0,12-13 0,1 13 16,-1 0-16,-13 0 0,14-14 0</inkml:trace>
  <inkml:trace contextRef="#ctx0" brushRef="#br0" timeOffset="126580.61">10927 9803 0,'14'0'47,"-1"13"-31,0 0-16,-13 0 16,13 1-16,-13-1 15,0 0-15,13 0 0,-13 1 16,0-1-16,14 0 0,-1 0 15,-13 1-15,0-1 0,13 0 16,-13 0-16,0 0 0,-13 1 16,13-1-16,-13 0 15,13 0-15,-14-13 0,1 14 16,0-14-16,13 13 0,-13-13 16,0 13-16,-1-13 0,1 13 15</inkml:trace>
  <inkml:trace contextRef="#ctx0" brushRef="#br0" timeOffset="126785.5">11218 9842 0,'27'0'16,"12"27"15,-39-14-31,0 0 0,0 14 15,0-14-15,0 0 0,0 1 0,0-1 16,0 13-16,0-13 0,0 14 16,0-14-16,-13 0 0,13 1 0,0-1 15,-13 0-15,13 0 0,0 1 16</inkml:trace>
  <inkml:trace contextRef="#ctx0" brushRef="#br0" timeOffset="127000.83">11099 9935 0,'27'13'16,"-14"-13"-16,27 0 15,-14 0-15,1 0 0,-1 0 0,0-13 16,14 13-16,-27 0 0,27 0 0,-27 0 15,14-13-15,-1 13 0,-13 0 16,14-13-16,-14 13 0,0 0 0,1 0 16,-1-14-16</inkml:trace>
  <inkml:trace contextRef="#ctx0" brushRef="#br0" timeOffset="127762.72">21656 8533 0,'0'0'0,"13"13"0,1-13 16,12 0-16,1 0 0,-1 0 0,27 0 15,0 13-15,0-13 0,0 0 0,0 0 16,13 0-16,13 0 0,-26 0 16,13 0-16,0 0 0,-13 0 0,0-13 15,-13 13-15,-1 0 0,1 0 16,-27 0-16,14 0 0,-1 0 0,-12 0 15,-1 0-15,0 0 0,0 0 16,-13-13-16,13 13 0,1-13 16</inkml:trace>
  <inkml:trace contextRef="#ctx0" brushRef="#br0" timeOffset="128061.75">22569 8401 0,'40'13'31,"-40"0"-15,13-13-16,0 13 0,0 0 0,1 1 16,-1-14-16,0 13 0,13 0 15,-12 0-15,-1 1 0,0-1 0,14 13 16,-27-13-16,13-13 0,0 14 15,-13-1-15,13 0 0,-13 0 16,0 1 0,0-1-16,-13-13 0,13 13 0,-13 0 15,0 1-15,-1-14 0,1 13 16,0-13-16,0 13 0,-1 0 16,1-13-16,0 13 0,-13-13 15,12 14-15</inkml:trace>
  <inkml:trace contextRef="#ctx0" brushRef="#br0" timeOffset="128873.59">11959 9763 0,'-40'27'15,"14"-14"1,13 0-16,0 0 0,-14 0 15,14 1-15,0-1 0,-1 0 0,1-13 16,13 13-16,-13 1 0,0-1 16,13 0-16,-13-13 0,13 13 15,13 1-15,0-14 16,0 13-16,0-13 0,1 0 16,12 0-16,-13 0 0,14 0 15,-1 0-15,1 0 0,-1-13 0,1 13 16,-1 0-16,1-14 0,-1 14 0,0-13 15,-12 13-15,-1 0 0,0-13 16,0 13-16,1 0 0,-14-13 16</inkml:trace>
  <inkml:trace contextRef="#ctx0" brushRef="#br0" timeOffset="129077.85">11933 9790 0,'0'0'0,"0"13"16,13 13-16,-13-13 15,0 14-15,0-14 0,13 0 16,-13 1-16,0 12 0,0-13 0,0 1 16,0 12-16,0-13 0,13 0 15,-13 1-15,0-1 0,0 0 0,14 0 16</inkml:trace>
  <inkml:trace contextRef="#ctx0" brushRef="#br0" timeOffset="129297.57">12316 9737 0,'14'0'0,"-28"0"16,14 26 15,0-13-31,-13 1 0,13 12 0,0-13 16,0 0-16,0 1 0,0-1 0,0 0 15,0 0-15,0 1 0,0-1 16,-13 0-16,26 0 0,-13 1 0,0-1 16</inkml:trace>
  <inkml:trace contextRef="#ctx0" brushRef="#br0" timeOffset="129512.92">12144 9895 0,'14'-13'15,"-1"13"-15,0 0 0,0 0 16,1-13-16,-1 13 0,0 0 0,13 0 15,-12 0-15,-1 0 0,0 0 16,14 0-16,-14 0 0,0 0 0,0 0 16,14-13-16,-14 13 0,13 0 0</inkml:trace>
  <inkml:trace contextRef="#ctx0" brushRef="#br0" timeOffset="130020.63">12846 9723 0,'-27'14'31,"14"-14"-31,0 13 16,-1-13-16,1 13 0,0 0 16,-14 1-16,14-1 0,-13 0 0,-1 0 15,14 0-15,0 1 0,0-1 0,-1-13 0,1 13 16,0 0-16,0 1 15,13-1-15,0 0 16,13 0 0,-13 1-16,13-14 0,0 0 15,1 13-15,-1-13 0,0 0 0,0 0 16,14 0-16,-14 0 0,0 0 0,14 0 16,-14-13-16,13 13 0,-12-14 15,-1 14-15,0-13 0,0 0 16,1 0-16,-1-1 15,-13 1-15,0 0 0,0 0 0,0-1 16,0 1-16,0 0 0,0 0 16,-13 0-16,13-1 15,-27 28 1,27-1 0,0 0-16,-13 0 0,13 14 0,-13-14 15,13 13-15,0 1 0,-14-1 0,14 1 16,0-1-16,-13 1 15,13-1-15,0 1 0,0-1 0,-13-13 0,13 14 16,0-14-16,0 0 0,0 0 0,0 1 16,0-1-16,0 0 0,13 0 15</inkml:trace>
  <inkml:trace contextRef="#ctx0" brushRef="#br0" timeOffset="130729.83">21325 9327 0,'0'0'0,"27"0"15,13 0 1,-14 0-16,14 0 0,-1 0 0,14 0 0,13 0 16,-13 0-16,14 0 0,-1 0 0,0 0 15,0 0-15,66 13 16,-79-13-16,27 0 0,-28 0 16,1 0-16,0 0 0,0 0 0,-13 0 0,0 0 15,-27 0-15,13 0 0,1 0 16,-14 0-16,0-13 0,0 13 15,1 0-15,-1 0 0</inkml:trace>
  <inkml:trace contextRef="#ctx0" brushRef="#br0" timeOffset="130985.62">22595 9155 0,'27'13'0,"-54"-26"0,67 39 16,-27-26-16,1 13 0,-1 1 15,0-1-15,-13 0 0,13 0 0,0 0 16,-13 1-16,0-1 16,0 0-16,0 0 0,-13 1 0,13-1 15,-26 13-15,-1-13 0,1 1 0,-14 12 16,0-13-16,-12 14 0,12-14 15,-13 0-15,-13 1 0,0-1 0,-14-13 16,1 13-16</inkml:trace>
  <inkml:trace contextRef="#ctx0" brushRef="#br0" timeOffset="131941.6">13269 9763 0,'13'27'16,"-13"-14"0,0 0-16,0 0 0,-13 0 0,13 14 15,0-14-15,0 14 0,0-14 0,0 13 16,0-12-16,0 12 0,0-13 16,0 0-16,0 1 0,0 12 0,0-13 15,0 1-15</inkml:trace>
  <inkml:trace contextRef="#ctx0" brushRef="#br0" timeOffset="132132.96">13110 9935 0,'13'0'15,"1"0"-15,-1 0 0,0 0 0,13 0 16,-12 0-16,12 0 0,1 0 0,-1 0 16,1 0-16,-1 0 0</inkml:trace>
  <inkml:trace contextRef="#ctx0" brushRef="#br0" timeOffset="132321.09">13851 9723 0,'-27'53'15,"27"-39"-15,27-81 0,-67 147 0,40-54 16,0-13-16,-13 1 0,13-1 0,0 13 16,-13-12-16,13-1 0,0 13 0,0-12 15,0-1-15,0 0 0</inkml:trace>
  <inkml:trace contextRef="#ctx0" brushRef="#br0" timeOffset="133045.19">1336 10438 0,'13'0'0,"1"0"0,-1 0 16,0-13-16,0 13 0,1 0 0,12 0 15,-13 0-15,14-14 0,-1 14 0,-13 0 16,1 0-16,-1 0 0,0 0 16</inkml:trace>
  <inkml:trace contextRef="#ctx0" brushRef="#br0" timeOffset="133187.62">1416 10517 0,'26'0'32,"-13"0"-32,14-13 15,-1 13-15,-13 0 0</inkml:trace>
  <inkml:trace contextRef="#ctx0" brushRef="#br0" timeOffset="133590.84">1879 11946 0,'52'0'32,"-38"0"-32,12 0 0,1 0 0,-1-13 15,14 13-15,-14 0 0,14 0 0,-14 0 16,1-14-16,-1 14 0,1 0 0</inkml:trace>
  <inkml:trace contextRef="#ctx0" brushRef="#br0" timeOffset="133781.29">1958 12144 0,'26'0'31,"1"0"-15,-1-13-16,1 13 0,12-13 0,14 13 16,-13-13-16,0 13 0,13-14 0,-14 1 15,14 13-15,0-13 0,13 0 16,-26 13-16</inkml:trace>
  <inkml:trace contextRef="#ctx0" brushRef="#br0" timeOffset="135188.78">3122 10306 0</inkml:trace>
  <inkml:trace contextRef="#ctx0" brushRef="#br0" timeOffset="135501.26">4299 10319 0</inkml:trace>
  <inkml:trace contextRef="#ctx0" brushRef="#br0" timeOffset="137995.79">5080 10226 0</inkml:trace>
  <inkml:trace contextRef="#ctx0" brushRef="#br0" timeOffset="138680.96">6482 10173 0</inkml:trace>
  <inkml:trace contextRef="#ctx0" brushRef="#br0" timeOffset="139055.81">7355 10173 0,'14'0'15</inkml:trace>
  <inkml:trace contextRef="#ctx0" brushRef="#br0" timeOffset="139882.56">9551 10081 0,'0'13'32</inkml:trace>
  <inkml:trace contextRef="#ctx0" brushRef="#br0" timeOffset="142332.81">4524 10649 0,'0'0'0,"305"-13"15,-213 13 1,-12 0-16,12 0 0,1 0 0,-1 0 16,1-13-16,13 13 0,26 0 15,0-13-15,1 13 0,12-13 0,-12 13 16,12-14-16,1 14 0,-1-13 0,1 13 15,12-13-15,1 13 16,-13 0-16,12-13 0,-12 13 0,13-14 16,-14 1-16,1 13 0,12-13 0,-12 13 15,-14-13-15,1 13 0,-28-13 16,-12 13-16,13 0 0,-14-14 0,1 14 16,-14 0-16,-26 0 0,0-13 0,-13 13 15,-14 0-15,1 0 0,-14 0 16</inkml:trace>
  <inkml:trace contextRef="#ctx0" brushRef="#br0" timeOffset="142664.56">7633 10821 0,'13'14'0,"-13"-1"31,0 0-31,-13 0 0,13 1 16,0-1-16,0 0 0,-13 0 0,13 14 15,0-14-15,-13 0 0,13 0 0,0 1 16,0-1-16</inkml:trace>
  <inkml:trace contextRef="#ctx0" brushRef="#br0" timeOffset="142968.59">8109 10821 0,'-39'14'31,"26"-14"-31,-14 13 0,14 0 0,-14 0 16,1-13-16,13 14 0,-14-1 0,14 0 15,0 0-15,0-13 0,-1 14 16,1-1-16,0 0 16,26 0-16,-13 0 15,13-13-15,1 0 0,-1 14 16,13-14-16,-12 0 0,12 0 0,-13 0 16,14 0-16,-1 0 0,1 0 0,-1-14 15,-13 14-15,14 0 0,-14-13 16,13 13-16,-12-13 0,-1 13 0,0-13 15,0 13-15</inkml:trace>
  <inkml:trace contextRef="#ctx0" brushRef="#br0" timeOffset="143171.87">8242 10808 0,'-13'-13'32,"-1"39"-32,1-26 15,13 14-15,-13-1 0,13 0 0,-13 14 16,13-14-16,-14 13 0,1 1 15,13-14-15,0 13 0,-13 1 0,13-14 16,0 14-16,0-14 0,0 13 0,0-13 16,-13 14-16,13-14 0,0 0 15,0 1-15,0-1 0,0 0 16,13 0-16</inkml:trace>
  <inkml:trace contextRef="#ctx0" brushRef="#br0" timeOffset="145798.79">5318 12131 0,'27'-13'15,"-1"13"1,-13 0-16,1 13 15,-1 0-15,-13 1 16,0-1-16,0 0 0,0 0 0,-13 14 16,-1-14-16,1 13 0,0-12 15,0 12-15,-1-13 0,1 14 0,0-14 16,0 0-16,-1 0 0,1-13 0,13 14 16,-13-14-16,13 13 0,-13-13 15,13 13-15,26-13 31,-13 0-31,1 0 16,-1-13-16,0 13 0,0 0 16,1 0-16,-1-13 0,0 13 0,14 0 15,-14-14-15,0 14 0,0 0 0,0-13 16,1 13-16,-1-13 0,0 13 16,0 0-16</inkml:trace>
  <inkml:trace contextRef="#ctx0" brushRef="#br0" timeOffset="145970.6">5675 12211 0,'0'-14'15</inkml:trace>
  <inkml:trace contextRef="#ctx0" brushRef="#br0" timeOffset="146316.04">5900 12078 0,'-53'80'31,"40"-67"-31,13 27 16,0-27-16,13 0 0,-13 0 16,14 14-16,-1-14 0,0 0 15,0 0-15,14 1 0,-14-1 0,0 0 0,0-13 16,14 0-16,-14 13 0,0-13 15,0 0-15,1 0 0,-1 0 16,-13-13-16,13 13 0,0-13 16,-13 0-16,-13-1 15,0 1 1,0 13-16,13-13 16,-14 13-16,14-13 0,-13 13 15</inkml:trace>
  <inkml:trace contextRef="#ctx0" brushRef="#br0" timeOffset="146917.69">6575 12012 0,'-13'13'78,"-1"-13"-62,1 14 31,13-1 15,-13-13-62,13 13 0,-13-13 16,13 13-16,-13-13 0,13 13 15,-14-13-15,1 14 0,0-14 16,13 13-16,-13 0 0,-1-13 16,1 13-16,0-13 0,0 14 0,-1-1 15,1-13-15,13 13 0,-13-13 16,13 13 0,0 1-16,13-14 15,-13 13-15,13-13 0,1 0 16,-1 0-16,0 0 15,0 0-15,14 13 0,-14-13 0,0 0 16,1 0-16,-1-13 0,0 13 16,0 0-16,0 0 0,1 0 0,-1 0 15,0-13-15,0 13 0,1 0 16,-14-14-16,13 14 0,-13-13 0</inkml:trace>
  <inkml:trace contextRef="#ctx0" brushRef="#br0" timeOffset="147101.66">6535 11999 0,'-66'132'31,"53"-105"-31,13 12 0,-13 1 16,13 0-16,0-14 0,0 1 15,0-1-15,-14 0 0,14 1 0,0-1 16,0 1-16,0-14 0,0 14 15,0-14-15,-13 13 0,13-13 0</inkml:trace>
  <inkml:trace contextRef="#ctx0" brushRef="#br0" timeOffset="147387.81">4961 12925 0,'40'-13'0,"277"-40"31,-237 40-31,-1-1 16,13 1-16,-12-13 0,12 12 0,1 1 15,0 0-15,-14 0 0,14-1 0,-14 1 16,0 0-16,14 0 0,-27-14 15,14 14-15,-14 0 0,0 13 16,-26-13-16,12-1 0,-12 14 0,-13-13 16,-1 13-16,-13 0 0</inkml:trace>
  <inkml:trace contextRef="#ctx0" brushRef="#br0" timeOffset="147633.54">5106 13097 0,'40'0'16,"-80"0"-16,93 0 0,-13 0 0,13 0 16,0 0-16,0 0 0,26-13 15,-13 13-15,27-14 0,-14 14 0,1 0 16,-1-13-16,0 13 0,1-13 15,-1 0-15,-13 13 0,14-13 0,-14-1 16,0 1-16,-13-13 0,13-1 0,-13 14 16,13-14-16,-13 1 0</inkml:trace>
  <inkml:trace contextRef="#ctx0" brushRef="#br0" timeOffset="149172.1">14155 10081 0,'27'0'0,"105"-27"31,-79 14-31,-13 13 0,12-13 16,-12 13-16,0-14 0,13 14 0,-14-13 16,1 13-16,-13 0 0,12 0 0,-25-13 15,12 13-15,0 0 0,-12 0 16,-1 0-16,0 0 0,0 0 0,1 0 16,-14 13-16,13-13 0,0 13 15,-13 1-15,0-1 0,0 0 16,0 14-16,0-14 0,0 13 15,0 14-15,0 0 0,0 13 0,0-14 16,-13 14-16,13 0 0,0 13 0,0-13 16,0 13-16,0-13 0,0 13 15,13 1-15,-13-15 0,13 15 0,0-1 16,1-13-16,-1 0 0,0-1 0,0 1 16,-13-13-16,14 0 0,-1-1 15,0 1-15,0 0 0,-13 0 0,14-14 16,-14-13-16,13 14 0,-13-1 0,0-13 15,0 1-15,0-1 0,0 0 16,0 0-16,0 1 0,0-1 0,-13 0 16,-1 0-16,1-13 0,0 13 15,-14 1-15,-12-1 0,-1-13 0,-13 13 0,-13 0 16,-13 1-16,-1-14 16,-12 13-16,-54 0 0,14 0 0,-27 1 15,-13-1-15,0 0 0,-26 13 0,-1-12 16,-39 12-16,40 1 0,12-14 15,-12 13-15,13 1 0,-14-14 0,14 13 16,0 1-16,-159 13 0,172-14 16,0 0-16,13-12 0,14 12 15,12 1-15,1-14 0,13 0 16,40 0-16,-14 1 0,14-1 0,26-13 16,0 0-16,0 0 0</inkml:trace>
  <inkml:trace contextRef="#ctx0" brushRef="#br0" timeOffset="150016.71">7607 11390 0,'145'40'0,"-105"-40"0,-14 0 15,14 0-15,13 0 0,-13 0 0,13-13 16,277-27 15,-277 14-31,0 12 0,0 1 0,-13 0 0,-1 0 16,-12-14-16,-1 14 15,1 0-15,-14-14 0,0 14 0,1-13 16,-1-1-16,-13 14 0,-13-14 0,-1-12 16,-12-14-16,-1 13 0,-12-13 15,-1 14-15,-13-14 0,0 13 0,-13 0 16,0 14-16,0-14 0,-106 0 16,92 27-16,-105 13 15,53 27-15,13-1 0,-13 27 0,26 0 16,-13 0-16,13 13 0,13 13 15,1 1-15,25-1 0,15 1 0,-1-14 16,39 0-16,1 0 0,13-13 16,13 0-16,14 0 0,-1 0 0,14-14 15,26 1-15</inkml:trace>
</inkml:ink>
</file>

<file path=ppt/ink/ink12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5:15.686"/>
    </inkml:context>
    <inkml:brush xml:id="br0">
      <inkml:brushProperty name="width" value="0.05292" units="cm"/>
      <inkml:brushProperty name="height" value="0.05292" units="cm"/>
      <inkml:brushProperty name="color" value="#FF0000"/>
    </inkml:brush>
  </inkml:definitions>
  <inkml:trace contextRef="#ctx0" brushRef="#br0">8096 11245 0,'27'66'0,"-27"132"16,0-131 0,0 12-16,0-13 0,0 13 0,-14-12 15,14-1-15,0 13 0,0-13 0,-13-13 16,13 0-16,0 0 0,0-13 0,0-1 15,0-12-15,0-1 0,-13 1 16,13-14-16,0 0 0,0 0 0</inkml:trace>
  <inkml:trace contextRef="#ctx0" brushRef="#br0" timeOffset="669.9">7594 11258 0,'13'-26'0,"225"-54"32,-93 54-32,-65 12 0,12 1 15,41 0-15,-1 0 0,0 0 16,14-1-16,-1 1 0,14 0 0,-13 0 0,26-1 15,0 1-15,0 0 0,-1 0 16,1 13-16,0-13 0,-13 13 16,0 0-16,0-14 0,-14 14 0,-12 0 15,-28 0-15,-12 0 0,0 14 0,-14-14 16,0 13-16,1-13 0,-14 13 16,-26 0-16,12-13 0,-12 13 0,13 14 15,-26-14-15,-1 0 16,14 1-16,-27 12 0,0-13 0,0 0 15,1 14-15,-1-1 0,0 1 16,0 13-16,0-1 0,1 1 0,12 13 16,-13 0-16,1 13 0,-1-13 15,0 13-15,0-13 0,-13 0 16,14 0-16,-1 0 0,0 0 0,0-1 16,0-12-16,1 0 0,-14 13 0,13-14 15,-13 1-15,13-13 0,-13 12 0,13-12 16,-13-14-16,0 13 0,0-12 15,0-1-15,-13 0 0,13 0 0,-13 1 16,0-1-16,-1 0 0,1 0 0,-13-13 16,-14 13-16,-13 1 0,0-14 15,-13 0-15,-13 13 0,-14-13 16,1 0-16,-1 0 0,-26 0 0,-13 0 16,-27 0-16,0 0 0,0-13 0,1 13 15,-28 0-15,14 0 0,-13 0 16,0 0-16,0 0 0,0 0 0,-1 0 15,1 0-15,0 0 0,0 0 0,13 0 16,-13 0-16,26 13 0,0-13 16,0 0-16,1 0 0,12-13 0,14 13 15,26 0-15,13-14 0,1 14 0,12-13 16,1 0-16,13 0 0,13 0 16,0-1-16</inkml:trace>
  <inkml:trace contextRef="#ctx0" brushRef="#br0" timeOffset="2133.64">16708 10821 0,'-39'14'15,"26"-1"-15,-14-13 16,-13 13-16,1 14 0,12-14 0,-12 0 15,12 0-15,1 1 0,-1-14 16,14 13-16,0 0 0,-1-13 0,14 13 16,-13 0-16,26 1 15,1-1-15,12 0 16,-13-13-16,14 13 0,-14-13 16,14 0-16,-14 14 0,0-14 0,0 0 15,-13 13-15,13-13 0,-13 13 16,-13 0-1,0 0-15,0 1 0,-14-1 0,-12 0 16,12 0-16,-13 1 0,14-1 0,0 0 16,-1 0-16,14-13 0,0 14 15,-1-14-15,14 13 0,-13-13 16,26 13 0,1-13-16,12 0 15,-13 13-15,14-26 0,12 13 16,-12 0-16,13 0 0,-14 0 0,14 0 15,-14 0-15,14 0 0,-14 0 0,1 0 16,-1 0-16,1-13 0,-1 13 16,1 0-16,-14-13 0,13 13 0,-12-14 15</inkml:trace>
  <inkml:trace contextRef="#ctx0" brushRef="#br0" timeOffset="2677.81">17304 10861 0,'0'-26'0,"0"12"16,0-52 0,-13 53-16,13 0 0,0 0 15,-14-1-15,14 1 0,-13 0 16,13 0 0,-13 26-16,0-13 15,-1 13-15,14 0 0,-13 14 0,0-1 16,0 1-16,-1 12 0,1 1 0,0 0 15,13 0-15,-13-14 0,0 14 16,13-14-16,0 1 0,-14-1 0,14 0 16,0-12-16,0 12 0,0-13 0,0 1 15,0-1-15,0 0 0,0 0 16,0 1-16,14-14 16</inkml:trace>
  <inkml:trace contextRef="#ctx0" brushRef="#br0" timeOffset="2873.18">16841 11099 0,'0'0'0,"26"-13"16,1 13-1,-14 0-15,27 0 0,-1-13 0,14 13 16,-13 0-16,13-13 0,-14 13 0,14-14 15,-13 14-15,13-13 0,0 13 16,0-13-16,0 0 0,-14-1 16,14 14-16,-13-13 0</inkml:trace>
  <inkml:trace contextRef="#ctx0" brushRef="#br0" timeOffset="3234.02">17846 10729 0,'27'-13'0,"-14"-1"15,0 14-15,0 0 0,1 0 16,-14 14-16,13-14 0,13 13 16,-26 0-16,13 0 15,-13 14-15,0-14 0,0 13 16,0-12-16,-13 12 0,0-13 16,0 27-16,0-27 0,-1 14 15,-12-1-15,13-26 0,13 13 16,0 1-1,26-14 1,-13-14-16,1 1 0</inkml:trace>
  <inkml:trace contextRef="#ctx0" brushRef="#br0" timeOffset="3466.28">18190 10702 0,'0'-13'16,"0"26"-16,-13-26 15,0 26-15,-1 1 0,-12-1 16,13 0-16,0 0 0,-27 14 15,27-1-15,13-13 0,-14 14 16,1-14-16,13 0 0,0 1 16,0-1-16,0 0 0,0 0 0,13 1 15,-13-1-15,14 0 0,-1 0 0,13 0 16,-12 1-16,12-14 0,-13 0 16,14 13-16,-14-13 0,13 0 0,-12 0 15,-1 0-15,0 13 0,0-13 0,0 0 16,1 0-16</inkml:trace>
  <inkml:trace contextRef="#ctx0" brushRef="#br0" timeOffset="3908.65">16536 11509 0,'278'14'16,"-556"-28"-16,662 28 0,-278-14 0,26 0 16,14-14-16,132 1 0,-14 13 15,-132-13-15,1 13 0,-27-13 16,-1 13-16,-12-14 0,0 14 15,-1-13-15,-26 13 0,0-13 0,-26 13 16,0 0-16,-14 0 0,-12-13 0,-1 13 16,0 0-16,-53 0 15,27 0 1,-27 0-16,1 13 0,-1-13 0</inkml:trace>
  <inkml:trace contextRef="#ctx0" brushRef="#br0" timeOffset="4482.84">17489 11853 0,'-27'0'16,"14"14"-1,-40 12-15,14-13 0,-1 0 16,-26 14-16,39-14 15,14 0-15,0 1 0,0-14 16,-1 13-16,1 0 0,13 0 16,0 1-16,13-14 0,-13 13 0,14-13 15,-1 13-15,0 0 0,0-13 16,1 0-16,-14 13 0,13-13 16,-13 14-16,13-14 0,-13 13 0,-13 13 15,0-12 1,-1-14-16,14 13 0,-13-13 15,13 13-15,-13 0 0,13 1 16,13-14 15,0 0-31,1 0 0,12 0 16,-13 0-16,14 0 0,-14 0 0,13-14 16,27 14-16,-39-13 15,12 13-15,0 0 0,-12 0 0,12-13 16,1 0-16,-1 13 0,-13 0 15,-13-14-15,14 14 0,-1 0 16,0-13-16</inkml:trace>
  <inkml:trace contextRef="#ctx0" brushRef="#br0" timeOffset="4885.87">18045 11827 0,'13'-40'0,"0"27"0,-13-27 15,-13 27 1,13 0-16,0 0 16,-13 13-16,13-14 0,-27 28 15,27-1 1,-13 13-16,-14 27 0,14-26 16,13 12-16,-13 1 0,13 0 15,0-14-15,0 1 0,0 12 0,0-12 16,0 12-16,13-12 0,-13-1 0,0 1 15,13-1-15,-13-12 0,0-1 16,0 0-16,0 13 0,0-12 16,0-1-16</inkml:trace>
  <inkml:trace contextRef="#ctx0" brushRef="#br0" timeOffset="5076.81">17701 12184 0,'0'0'0,"39"0"31,-25-13-31,12 13 16,-13 0-16,53-13 0,-26 13 15,0-14-15,13 1 16,-14 13-16,1-13 0,39-14 16,-52 14-16,-1 13 0,14-13 15,-27 0-15,0 0 0,1 13 16,-14-14-16</inkml:trace>
  <inkml:trace contextRef="#ctx0" brushRef="#br0" timeOffset="5766.83">17410 10557 0,'-14'0'0,"28"0"0,-28-27 0,14 14 16,0 0-16,-13 0 0,13-27 15,0 27-15,0-14 0,0 1 16,0-1-16,0 1 0,0-14 16,0 14-16,0-1 0,13 1 15,-13-1-15,0 1 0,0 13 0,0 0 16,0-1-16,0 1 0,0 0 15,0 0-15,0-1 16,0 1-16</inkml:trace>
  <inkml:trace contextRef="#ctx0" brushRef="#br0" timeOffset="5974.65">17423 10067 0,'-27'27'31,"27"-14"-31,-13 0 16,13 1-16,-13-1 0,0 13 16,-1-13-16,1 1 0,13-1 0,-13 13 15,0-12-15,0-1 0,-1 0 0,14 14 16,-13-27-16,13 13 0,-13 0 15,13 0-15</inkml:trace>
  <inkml:trace contextRef="#ctx0" brushRef="#br0" timeOffset="6153.69">17370 10081 0,'53'26'31,"-53"-13"-31,26 1 0,-13-14 0,1 13 16,-1 0-16,0 0 0,14 0 0,-14-13 15,0 14-15,0-1 0,1-13 16</inkml:trace>
  <inkml:trace contextRef="#ctx0" brushRef="#br0" timeOffset="8381.94">17277 9578 0,'0'-27'15,"14"14"-15,-14 0 0,13 0 16,0 0-16,0-1 0,0-12 0,1-1 16,-1 1-16,0-1 0,0-12 15,-13 12-15,14-12 0,-14-1 0,0 0 16,0 14-16,0-1 0,0 1 0,0-1 16,0 1-16,0 13 0,0-14 0,-14 14 15,14 0-15,-13 13 16,0 26-16,0-12 15,-1 12-15,1 14 0,0-14 0,0 14 16,0 0-16,-1 12 0,1 15 16,0-15-16,0-12 0,-1 0 15,14 13-15,-13-14 0,13 1 0,-13-13 16,0 12-16,13-12 0,0-1 0,-14 1 16,14-14-16,0 0 0,-13 14 15,13-14-15,0 0 0,-13 0 0,13 0 16,-13-13-16,13 14 0,-13-14 15,-1-14 1,14 1 0,0 0-16,0 0 15,0 0-15,14-1 16,-14 1-16,13 0 0,0 13 16,0-13-16,0-1 0,1 1 15,-1 0-15,13-13 0,1-1 0,-1 1 16,-12 12-16,12-12 0,0-1 0,-12-12 15,-1 12-15,13 1 0,-12 13 16,-14-14-16,13 14 0,-13 0 16,13 13-16,-13-14 0,13 1 0,-13 0 15,0 0 1,0 39 31,0-13-47,-13 1 15,13-1-15,0 0 16,0 0-16,0 1 0,0-1 16,0 0-16,13-13 0,-13 13 15,0 1-15,13-1 16,1-13 0,-1 13-16,-13-26 0,13 13 15,0 0-15,1 0 0,-1-13 0,0-1 16,0 14-16,1-13 0,-1 0 15,-13 0-15,13 13 0,0-14 0,-13 1 16,13 0-16,-13 0 16,-26 26 31,26 0-32,0 0-15,0 1 16,13-1-16,0 0 15,1-13-15,-1 0 16,0 0-16,14 0 16,-14 0-16,0 0 0,0-13 0,1 13 15,-1 0-15,0-13 0,0-1 16,0 14-16,-13-13 16,14 0-1,-28 0 1,1-1-1,0 14 1,13 14 0,0-1-1,0 0 1,13-13-16,0 13 16,1 1-1,-1-1 1,-13 0-1,0 0-15,0 1 16,0-1 0,0 0-16,0 0 15,13-13 1,0-13 15,1 13-31,-14-13 0,13 0 0,0-1 16,-13 1-16,13 0 0,-13 0 15,0-1-15,14 1 0,-14 0 16,0 0-16,13 13 16,-26 13 15,13 0-15,13 0-16,-13 1 15,13-14 1,0 0-1,0-14 1,1 1-16,-1 0 0,-13 0 16,13 13-16,-13-14 15,13 14-15,-13-13 0,0 26 47,14 1-31,-14-1-1,13-13 1,0 0 0,0 0 15,1 0-15,-1-13-1,0 13-15,0-14 31,0 14-31,1 0 16,-1 14-16,-13-1 16,13-13-1</inkml:trace>
  <inkml:trace contextRef="#ctx0" brushRef="#br0" timeOffset="8860.77">18045 10491 0,'0'0'15,"26"-27"-15,-13 27 16,14-13-16,-1 0 0,1-14 16,12 14-16,1 0 0,-14 0 0,14-1 15,13 1-15,-26 0 0,12 0 0,1 0 16,-14-1-16,1 14 0,-14-13 16,14 13-16,-14-13 0,0 13 0,0 0 15,-13-13-15,13 13 0,1-14 16</inkml:trace>
  <inkml:trace contextRef="#ctx0" brushRef="#br0" timeOffset="9108.29">18441 10186 0,'40'14'15,"-27"-14"1,1 0-16,-1 0 0,0 13 16,0-13-16,1 13 0,12-13 0,-13 13 15,0-13-15,1 14 0,-1-1 0,0 0 16,-13 0-16,0 1 16,0-1-16,0 0 15,0 0-15,-13 0 0,0 1 0,13-1 16,-14 0-16,1-13 0,13 13 15,-13 1-15,0-1 16</inkml:trace>
  <inkml:trace contextRef="#ctx0" brushRef="#br0" timeOffset="9662.11">19050 9922 0,'0'0'0,"13"26"31,0 1-31,-13-14 0,0 0 15,14 14-15,-14-1 0,13 1 0,-13-14 16,13 13-16,-13-12 0,13 12 16,-13-13-16,14 0 0,-1 1 15,-13-1-15,13-13 0,0 13 0,1 0 16,-1-13-16,0-13 16,0 13-16,-13-13 0,13 0 15,-13-1-15,14 1 0,-14-13 0,13-1 16,-13 1-16,13-14 0,0 0 0,-13 14 15,0 0-15,14-1 16,-14 14-16,0-14 0,0 14 0,13 0 0,-13 0 16,0-1-16,13 41 31,-26-14-31</inkml:trace>
  <inkml:trace contextRef="#ctx0" brushRef="#br0" timeOffset="11174.16">19526 10014 0,'-13'-13'0,"0"13"0,0 0 15,-1 0-15,1 13 16,0-13-16,0 14 0,-1-1 15,1 0-15,0 0 0,0-13 16,13 14-16,-13-1 0,-1-13 0,14 13 16,-13 0-1,26 1 1,1-14-16,-1-14 16,0 14-16,-13-13 0,13 13 15,0-13 1,1 13-16,-14-13 0,13 13 15,-13 13 17,0 0-17,0 0 1,13-13-16,14-13 16,-14 0-1,0 13-15,-13-13 0,13-1 16,0 1-16,-13 0 0,14-14 0,-14 1 15,0 13-15,13-14 0,-13 1 16,13-1-16,-13 1 0,13-1 0,-13 1 16,0 13-16,0 0 0,14-1 0,-14 1 15,0 0 1,-14 53 0,14-27-16,0 13 0,-13 1 15,13-1-15,-13 1 0,13-1 0,0-13 16,0 14-16,0-1 15,0-13-15,0 1 0,0 12 0,0-13 16,13 1-16,0-1 0,-13 0 16,14-13-16,-1 0 15,0 0-15,0 0 0,1-13 16,-1 13-16,0-13 0,0 13 16,-13-14-16,13 14 0,1-13 15,-14 26 32,0 1-31,0-1-1,13-13-15,0 0 16,0-13-16,1 13 16,-1-14-16,0 14 15,0-13-15,1 13 16,-1-13-16,0 13 47,0 13-32,0-26 1,1 13-16,-14-13 16,13 13-16,-13-14 15,13 14-15,0 14 47,-13-1-47,0 0 16,0 0-1,14-13-15,-1 14 16,0-14-16,0 0 16,0 0-16</inkml:trace>
  <inkml:trace contextRef="#ctx0" brushRef="#br0" timeOffset="11513.53">20307 9525 0,'-13'13'0,"-1"0"16,1 1-16,13 12 0,-26 1 0,12 12 16,1 1-16,-13 13 0,-1 0 15,14-14-15,-13 14 0,-1 0 0,14-13 16,0 0-16,-14-1 0,14 1 0,0-13 15,13-1-15,-14 0 0,14-12 16,-13-1-16,13 0 0,0 0 0,0 1 16,0-1-16,13-13 15</inkml:trace>
  <inkml:trace contextRef="#ctx0" brushRef="#br0" timeOffset="12008.01">20558 9803 0,'-26'0'16,"52"0"-16,-66 0 0,27 0 0,0 0 16,0 13-16,0 0 15,13 0-15,13-13 0,-13 14 16,0-1-16,13 0 0,-13 0 0,13 1 15,0 12-15,1-13 0,-1 1 0,-13-1 16,13 0-16,-13 0 0,13 0 16,1 1-16,-14-1 0,0 0 15,0 0-15,-14 1 16,14-1-16,-26-13 0,13 13 0,-1-13 16,-12 13-16,0-13 0,12 14 0,-12-14 15,-1 0-15,1 0 0,13 0 16,-1 0-16,1 0 0,0 0 0,0 0 15,0 0-15,39-14 32,0 14-32,1-13 0</inkml:trace>
  <inkml:trace contextRef="#ctx0" brushRef="#br0" timeOffset="12633.75">20876 9869 0,'13'-13'15,"-26"26"-15,-1-13 32,14 13-32,-13-13 0,0 13 15,13 1-15,-13-1 0,-1 0 16,14 0-16,-13 1 0,13-1 16,0 0-16,0 0 0,0 0 0,0 1 15,13-14 1,1 0-16,-1 0 0,0 0 15,0 0-15,1-14 0,-1 14 16,-13-13-16,13 13 16,-13-13-16,13 13 0,-13-13 0,0 0 15,14 13-15,-14 13 47,0 0-47,13-13 16,-13 13-16,0 0 31,13-13-15,0-13-1,0 0 1,1 0-16,-1 13 16,-13-13-16,13 13 0,0 0 15,1 0 1,-1 13-1,0 0-15,-13 0 16,0 0 15,13-13-15,1-13 0,-1 0-1,0 0 1,0 0-16,0 13 0,-13-14 15,14 14-15,-1-13 16,0 13-16,-13 13 16,13-13-16</inkml:trace>
  <inkml:trace contextRef="#ctx0" brushRef="#br0" timeOffset="12882.62">21220 10014 0,'26'-13'31,"-13"0"-31,-39 26 31,26 0-15,0 1-16,-13-14 16,13 13-16,0 0 15,13-13 1,0 0-16,0 0 0,0 0 15,1 0-15,-1 0 0,0 0 16,0 0-16</inkml:trace>
  <inkml:trace contextRef="#ctx0" brushRef="#br0" timeOffset="13817.83">18164 12634 0,'13'0'0,"13"13"31,-26 0-31,14-13 0,-1 14 16,0-1-16,0 0 0,0 0 0,1-13 15,-1 13-15,0 1 0,0-1 0,1-13 16,-1 13-16,0 0 0,0-13 16,1 14-16,-1-14 0,0 0 15,0 0-15,0 13 0,1-13 0</inkml:trace>
  <inkml:trace contextRef="#ctx0" brushRef="#br0" timeOffset="14088.95">18455 12647 0,'53'27'31,"-40"-14"-31,-13 0 0,13 0 16,0 0-16,1 1 0,-14 12 0,0-13 15,0 1-15,13-1 0,-26 0 16,13 0-16,0 1 0,-14-1 0,14 0 16,-13 0-16,0 0 0,0 1 15,-1-1-15,1-13 0,0 13 0,0-13 16,-1 13-16,-12-13 0,13 0 15,0 0-15</inkml:trace>
  <inkml:trace contextRef="#ctx0" brushRef="#br0" timeOffset="20448.16">4683 3691 0,'27'-13'0,"12"13"0,-12 0 0,-14 0 16,0 0-16,14 13 0,-14-13 0,0 13 15,0-13-15,14 13 16,-27 1-16,13-1 0,-13 0 0,0 0 16,0 1-16,-13 12 0,0 0 0,-1 14 15,-12-13-15,-1-1 0,14-13 16,-13 14-16,-1-1 0,1-13 0,13 1 16,-14-1-16,14-13 0,0 13 0,-1-13 15,1 13-15,0-13 16,0 14-16,26-1 31,0-13-31,0 0 0,1 0 16,-1 13-16,0-13 0,0 0 15,14 0-15,-14 0 0,0 13 0,14-13 16,-14 0-16,0 0 0,0 0 16,1 0-16,12 14 0,-13-14 0,1 0 15,-1 0-15,0 0 0,0 0 0,0 0 16</inkml:trace>
  <inkml:trace contextRef="#ctx0" brushRef="#br0" timeOffset="20705.73">5490 3823 0,'-26'13'31,"12"-13"-15,1 14-16,-13-1 0,-1 13 0,14 1 15,-13-14-15,-1 14 0,1-1 0,12-13 16,1 0-16,-13 14 0,13-14 16,-1 0-16,14 1 0,-13-1 0,0-13 15,0 13-15,13 0 0,-14-13 16</inkml:trace>
  <inkml:trace contextRef="#ctx0" brushRef="#br0" timeOffset="20917.8">5133 3850 0,'0'0'0,"26"13"31,-12 0-31,12 14 16,1-1-16,-1-13 0,-13 1 16,14 12-16,-14-13 0,0 0 0,14 14 0,-14-27 15,0 13-15,0 0 16,1 1-16,-1-1 0,0-13 0,-13 13 16,13-13-16</inkml:trace>
  <inkml:trace contextRef="#ctx0" brushRef="#br0" timeOffset="21139.8">5728 3757 0,'27'66'15,"-27"-39"1,13-1-16,-13-13 0,0 14 15,0-1-15,13 1 0,-13-1 0,0 1 16,13-1-16,-13-13 0,0 14 0,0-1 16,0-12-16,0-1 0,0 13 15,0-13-15,0 1 0</inkml:trace>
  <inkml:trace contextRef="#ctx0" brushRef="#br0" timeOffset="22626.02">22701 3241 0,'-13'-13'0,"-53"39"16,39-12 0,1-1-16,-14 0 0,14 14 0,-27-1 15,26 0-15,-12 1 0,-1 13 0,0-27 16,14 13-16,-1 1 0,1-1 15,-14 1-15,14-14 0,13 13 0,-14-12 16,14-1-16,-14 0 0,14 0 0,0-13 16,0 13-16</inkml:trace>
  <inkml:trace contextRef="#ctx0" brushRef="#br0" timeOffset="22828.84">21987 3347 0,'13'40'0,"0"-27"0,1 0 0,-1 14 15,106 105 1,-93-106-16,14 1 16,-14-1-16,14 1 0,13 12 15,-26-12-15,25 13 16,-52-27-16,14 13 0</inkml:trace>
  <inkml:trace contextRef="#ctx0" brushRef="#br0" timeOffset="23132.54">22212 4273 0,'-53'53'0,"26"-40"0,1 14 15,-1-1-15,1 1 0,0-1 0,-14 14 16,13-14-16,-12-13 0,26 14 16,-14-1-16,1 1 0,12-14 0</inkml:trace>
  <inkml:trace contextRef="#ctx0" brushRef="#br0" timeOffset="23333.54">21881 4326 0,'27'40'0,"-1"-14"16,-13-13-16,14 1 0,-1 12 0,-13 0 16,14 1-16,-1-14 0,1 14 0,-1-14 15,1 13-15,-14-12 0,0-1 0,14 0 16,-14 0-16,0 0 0,0 14 15</inkml:trace>
  <inkml:trace contextRef="#ctx0" brushRef="#br0" timeOffset="23598.51">22344 5173 0,'-40'13'0,"80"-26"0,-106 39 0,53-13 15,-14 14-15,-12-14 0,12 13 16,1 1-16,-14-14 0,13 0 0,-12 14 15,-1-1-15,14-12 0,-1-1 0</inkml:trace>
  <inkml:trace contextRef="#ctx0" brushRef="#br0" timeOffset="23804.59">21960 5159 0,'14'27'0,"-1"-27"0,0 13 0,0 0 16,1 1-16,-1-1 0,0 13 16,13 1-16,27 26 0,93 79 31,-120-106-31,-12 1 16,-1-1-16,-13-13 0,13 14 0</inkml:trace>
  <inkml:trace contextRef="#ctx0" brushRef="#br0" timeOffset="24049.77">22397 5900 0,'-40'27'0,"80"-54"0,-93 67 0,40-27 0,-14 0 16,1 1-16,-1 12 0,-12-13 15,12 14-15,1-1 0,-14-13 16,-13 27-16,14-13 16,12-14-16,14-13 0,-14 13 15</inkml:trace>
  <inkml:trace contextRef="#ctx0" brushRef="#br0" timeOffset="24257.98">22106 5887 0,'13'0'0,"-26"0"0,26 13 0,0 0 16,1 1-16,-1-1 15,-13 0-15,26 14 0,-12-14 16,12 0-16,0 13 0,1 1 0,-1-1 15,1-12-15,-1 12 0,1-13 16,-1 14-16,1-14 0,-14 13 0,0-12 16,14-1-16,-14 0 0,0 0 0,-13 1 15</inkml:trace>
  <inkml:trace contextRef="#ctx0" brushRef="#br0" timeOffset="24516.44">22291 6588 0,'-26'27'16,"-1"-14"-16,14 0 0,-13 14 15,-27 25-15,26-25 16,-13-14-16,14 14 0,0-1 0,-1 0 16,-13-12-16,27-1 0,-13 0 0,13-13 15,-1 0-15</inkml:trace>
  <inkml:trace contextRef="#ctx0" brushRef="#br0" timeOffset="24670.51">22199 6641 0,'26'40'0,"-52"-80"0,65 93 0,-39-40 16,13 0-16,1 1 0,-14 12 15,13-13-15,13 14 0,-12-1 0,-1-13 16,0 1-16,14-1 0,-14 0 0,0 0 16,13-13-16</inkml:trace>
  <inkml:trace contextRef="#ctx0" brushRef="#br0" timeOffset="26073.85">4299 3519 0,'-13'26'0,"0"-12"0,0 12 0,0 14 16,-1-14-16,-12 14 0,26 13 0,-13 0 16,-1 0-16,14-14 0,0 14 0,0-13 15,0 13-15,14-13 0,-1-1 16,13 1-16,1 0 0,-1-27 16,1 13-16,12-12 0,54-1 15,-53 0-15,66-26 16,-54 13-16</inkml:trace>
  <inkml:trace contextRef="#ctx0" brushRef="#br0" timeOffset="26393.42">5913 3532 0,'40'40'0,"-80"-80"0,93 93 0,-26-40 16,-1 14-16,1 12 0,-1 28 15,-13-41-15,14 106 16,-14-92-16,-26 0 0,13-1 0,-13 1 15,-1 0-15,1-14 16,-13 14-16,12-14 0,-12 1 0,13-1 16,-14-12-16,14-1 0,-13 13 15,12-26-15</inkml:trace>
  <inkml:trace contextRef="#ctx0" brushRef="#br0" timeOffset="26660.68">6760 3598 0,'13'27'0,"-26"-14"0,13 0 15,0 0-15,0 14 0,0-14 16,0 14-16,0-1 0,0 1 0,0-1 16,0 0-16,0 1 0,0-1 0,0-12 15,0 12-15,0-13 0,-13 14 16,13-14-16,0 0 0,0 0 0</inkml:trace>
  <inkml:trace contextRef="#ctx0" brushRef="#br0" timeOffset="26913.82">6482 3810 0,'27'-13'0,"-14"13"16,13 0-16,-12 0 0,12 0 15,1 0-15,52-13 16,-53 13-16,1 0 0,26 0 16,-27-14-16,1 14 0,-1 0 15,-13 0-15,14 0 0,-14-13 0,0 13 16,1 0-16,-1 0 0</inkml:trace>
  <inkml:trace contextRef="#ctx0" brushRef="#br0" timeOffset="30161.91">7660 3612 0,'13'0'0,"0"13"15,0-13-15,1 0 0,-1 13 0,-13 0 16,13 0-16,-13 1 16,0-1-16,-13 0 0,0 14 15,-1-14-15,1 13 0,0-12 0,-14 12 0,14 0 16,0-12-16,0-1 0,0 0 16,-1 0-16,1-13 0,13 14 0,-13-14 15,13 13-15,-13-13 0,-1 13 16,28 0-1,-1 1 1,0-14-16,0 0 0,1 0 16,-1 0-16,13 0 0,-13 0 15,14 0-15,-1 0 0,1-14 0,-1 14 16,14-13-16,0 13 0,-27-13 0</inkml:trace>
  <inkml:trace contextRef="#ctx0" brushRef="#br0" timeOffset="30328.34">8202 3691 0,'-13'53'15,"0"-40"1,13 14-16,-14-14 0,1 13 16,0-13-16,0 14 0,-1-1 0,1 1 15,0-1-15,0 1 0,0-14 0,-1 13 16</inkml:trace>
  <inkml:trace contextRef="#ctx0" brushRef="#br0" timeOffset="30517.81">7964 3836 0,'26'14'16,"-12"-14"-16,-1 0 15,0 13-15,0 0 16,1-13-16,-1 13 0,0-13 0,-13 14 16,13-1-16,0-13 0,1 13 0,-1 0 15</inkml:trace>
  <inkml:trace contextRef="#ctx0" brushRef="#br0" timeOffset="30860.83">8533 3717 0,'-53'0'15,"106"0"-15,-119 14 0,52-14 0,-12 0 16,13 0-16,13 13 0,-13-13 15,13 13-15,-14 0 16,28 1-16,-14-1 0,0 0 16,13 0-16,-13 0 0,13 1 15,-13-1-15,0 0 0,13 0 0,-13 1 16,0-1-16,0 0 0,-13 0 16,13 1-16,-13-1 0,0 0 0,-1 0 15,1 0-15,-13-13 0,12 14 16,1-14-16,-13 13 0,-14-13 0,27 0 15,-14 0-15,1 0 0,-1-13 0,-12-1 16,12 1-16</inkml:trace>
  <inkml:trace contextRef="#ctx0" brushRef="#br0" timeOffset="31125.45">7461 3440 0,'-53'52'16,"106"-104"-16,-145 131 0,65-39 0,-13-1 0,14 1 15,0 13-15,-1-13 0,14 13 16,0 13-16,13-27 0,0 14 0,13-13 16,-13 13-16,26 0 0,-12 0 15,12-14-15,0 14 0,14-26 16,-13-1-16,-1 1 0,14-1 0,-1-13 15,1 1-15,0-14 0,13 0 0,-14 0 16,14-14-16,0 1 0,-13 13 0,13-13 16</inkml:trace>
  <inkml:trace contextRef="#ctx0" brushRef="#br0" timeOffset="31413.85">8850 3585 0,'40'27'0,"-80"-54"0,93 67 16,-40-27-16,14 13 0,-1 1 15,-12-1-15,12 14 0,-13 0 16,1-1-16,-1 1 0,-13 0 0,0 0 0,0-14 15,0 14-15,0-1 0,-13 1 16,-1-13-16,1-1 0,0 14 0,0-14 16,-14 1-16,14-14 0,0 0 15,-1 0-15,1 0 0,0-13 0,0 14 16,0-14-16</inkml:trace>
  <inkml:trace contextRef="#ctx0" brushRef="#br0" timeOffset="31848.7">9525 3585 0,'13'53'32,"-13"-27"-32,0-12 0,0 12 0,0 1 15,0-1-15,0 1 0,0-1 0,0 0 16,0 1-16,-13-1 0,13 1 0,0-1 15,-13-12-15,13 12 16</inkml:trace>
  <inkml:trace contextRef="#ctx0" brushRef="#br0" timeOffset="32048.96">9128 3823 0,'27'0'16,"-14"0"-16,0 0 0,14 0 16,25 0-16,-25 0 0,13 0 15,26 0-15,-27 13 0,-12-13 16,26 0-16,-27 0 0,14 14 16,-14-14-16,1 0 0,-1 0 0</inkml:trace>
  <inkml:trace contextRef="#ctx0" brushRef="#br0" timeOffset="32689.81">10332 3691 0,'13'-13'31,"0"13"-15,1 13-1,-14 0 1,13-13 0,-13 13-16,0 1 0,13-14 15,-13 13-15,0 0 0,13 0 16,-13 1-16,14-14 0,-14 13 0,0 0 15,13 0-15,-13 0 0,0 1 16,0-1-16,0 0 0,-13-13 16,13 13-16,-14 1 0,1-1 0,0 0 15,0-13-15,-1 13 0,1-13 0,0 14 16,0-14-16,0 13 0,-1-13 16,1 0-16,13-13 15</inkml:trace>
  <inkml:trace contextRef="#ctx0" brushRef="#br0" timeOffset="32860.75">10729 3678 0,'13'39'32,"-13"-25"-32,0-1 0,-13 0 15,0 14-15,-1-1 0,1 0 0,-13 1 16,12-1-16,-12 1 0,0-1 0,12 1 15,-12-1-15,13-13 0,-1 1 16,1-1-16,13 0 0</inkml:trace>
  <inkml:trace contextRef="#ctx0" brushRef="#br0" timeOffset="33025.4">10570 3836 0,'40'27'31,"-27"-27"-31,-13 13 16,13-13-16,0 13 0,-13 1 0,14-14 15,-1 13-15,0-13 0,0 13 0,1-13 16</inkml:trace>
  <inkml:trace contextRef="#ctx0" brushRef="#br0" timeOffset="33489.89">11258 3744 0,'0'0'0,"-40"13"31,27-13-31,0 13 0,0 1 0,-14-14 16,14 13-16,-14 0 0,14 0 15,-13 0-15,13 1 0,-14-1 16,14 0-16,13 0 0,-13-13 0,13 14 15,-14-1-15,28 0 16,-1 0 0,0-13-16,0 0 0,1 14 15,-1-14-15,0 0 0,0 0 0,0-14 16,14 14-16,-14 0 0,0 0 16,1-13-16,12 13 0,-13-13 0,1 0 15,-1 13-15,0-14 0,-13 1 0,13-13 16,-13 12-16,13 1 0,-13 0 15,14 0-15,-14 0 0,0-1 0,13 14 16,-13-13-16,-27 26 31,27 1-31,-13 12 0,13-13 16,-13 14-16,0 12 0,13-12 0,-13 13 16,-1-14-16,14 0 0,0 1 15,-13-1-15,13 1 0,-13-1 0,13-12 16,-13-1-16,13 13 0,-14-13 0,1 1 15,13-1-15,-13-13 0,0 13 16,-1-13-16</inkml:trace>
  <inkml:trace contextRef="#ctx0" brushRef="#br0" timeOffset="33763.8">10107 3492 0,'-40'93'16,"80"-186"-16,-93 239 0,27-80 0,12 0 15,-12 0-15,26 1 0,-13-1 0,13-13 16,0 13-16,13-13 0,0 0 0,14 0 15,-14-14-15,13 1 0,1-14 16,-1 1-16,14-1 0,-14-12 0,14-14 16,0 13-16,-14-13 0,27-13 15,0 13-15,0-27 0</inkml:trace>
  <inkml:trace contextRef="#ctx0" brushRef="#br0" timeOffset="34012.94">11589 3479 0,'26'27'0,"54"145"16,-80-133-1,0 1-15,0 0 0,-14 13 16,1-14-16,-13 14 0,12-13 0,-12 13 15,-14-13-15,14-1 0,-14 1 0,0-14 16,14 14-16,-14-13 0,14-1 0,-1-13 16,14 0-16,-13 1 0,12-1 15,1-13-15</inkml:trace>
  <inkml:trace contextRef="#ctx0" brushRef="#br0" timeOffset="34355.75">12091 3691 0,'0'0'0,"14"13"0,-14 0 16,13 1-16,-13-1 0,0 0 0,0 14 16,0-1-16,0 0 0,-13 1 15,13 13-15,0-1 0,-14-12 0,14-1 16,-13 1-16,0-1 0,13-13 0,-13 14 15,13-14-15,-13 0 0,13 1 16</inkml:trace>
  <inkml:trace contextRef="#ctx0" brushRef="#br0" timeOffset="34544.78">11946 3916 0,'40'0'0,"-27"0"16,0 0-16,0 0 0,14 0 0,-14 0 16,13 0-16,-12 0 0,12 0 0,14-13 15,-14 13-15,14 0 0,0 0 0,-1 0 16,1 0-16,-14 0 0,14-14 16,-13 14-16</inkml:trace>
  <inkml:trace contextRef="#ctx0" brushRef="#br0" timeOffset="34954.8">13256 3770 0,'0'0'16,"-67"66"15,41-39-31,0-14 0,-1 14 0,14-14 16,-14 13-16,14-12 0,0-1 0,0 0 15,0 0-15,13 0 0,-14 1 16,14-1-16,0 0 0,0 0 0,14 1 16,-1-14-16,0 0 15,13 13-15,1-13 0,-1 0 16,1 0-16,-1 0 0,14 0 0,-14 0 16,14 0-16,-13 0 0,-1 0 15,0-13-15,1 13 0,-1-14 0,-12 1 16,12 0-16,-13 0 0</inkml:trace>
  <inkml:trace contextRef="#ctx0" brushRef="#br0" timeOffset="35145.81">13481 3717 0,'0'0'0,"-14"0"0,1 0 16,0 14-16,13-1 0,-13 0 0,-1 0 15,14 1-15,-13 12 16,0 0-16,13 1 0,-13-1 0,-1 1 15,14 13-15,-13-14 0,0-13 0,13 14 16,-13-1-16,13 1 0,-13-14 16,13 13-16,0-12 0,-14-1 0,14 0 15,14 0-15</inkml:trace>
  <inkml:trace contextRef="#ctx0" brushRef="#br0" timeOffset="35329.58">13864 3810 0,'-40'66'31,"27"-53"-31,0 14 0,-13 13 0,12-14 16,1 0-16,-13 1 0,12-1 15,-12 1-15,13-1 0,13-12 16,-14-1-16,14 0 0,-13 0 0</inkml:trace>
  <inkml:trace contextRef="#ctx0" brushRef="#br0" timeOffset="35505.71">13692 3942 0,'13'14'16,"-13"-1"-16,14 0 15,-14 0-15,13 0 0,0 1 16,-13-1-16,0 0 16,13-13-16</inkml:trace>
  <inkml:trace contextRef="#ctx0" brushRef="#br0" timeOffset="35821.67">14129 3744 0,'0'0'0,"13"0"0,0 13 16,-13 0-16,-13 14 15,13-14 1,-13 0-16,0 14 0,-14-1 0,14 1 16,0-14-16,-1 13 0,1-12 15,13-1-15,-13 0 0,13 0 16,0 0-16,13 1 0,0-1 15,1 0-15,-1-13 16,0 0-16,0 13 0,14-13 16,-14 0-16,0 0 0,0 0 0,1 0 15,-1 0-15,0 0 0,0 0 0,1-13 16,-1 0 0,-26 0-16,-1-1 15,1 1-15,0 0 0,0 0 0,-14-14 16</inkml:trace>
  <inkml:trace contextRef="#ctx0" brushRef="#br0" timeOffset="36046.04">12726 3532 0,'-79'199'16,"66"-146"-16,13 13 0,-13 0 0,13 0 16,13 0-16,0-13 0,0 0 0,14 0 15,-1 0-15,1-14 0,12 1 0,-12-13 16,13-1-16,-1-13 0,-12 1 16,12-14-16</inkml:trace>
  <inkml:trace contextRef="#ctx0" brushRef="#br0" timeOffset="36321.65">14235 3492 0,'53'53'0,"-40"-26"16,0 13-16,0-1 0,-13 1 16,13 0-16,-13 13 0,0-14 0,-13 27 15,0-13-15,0 0 0,-14-13 0,-26 53 16,27-41-16,-14-12 0,14-13 16,-14 12-16,14-12 0,-27 26 15,39-40-15,-12 0 0</inkml:trace>
  <inkml:trace contextRef="#ctx0" brushRef="#br0" timeOffset="36702.11">15055 3717 0,'0'27'15,"0"-1"-15,0-12 0,-13 12 0,13 0 16,-14 14-16,1 0 0,13-14 0,-13 1 16,13-1-16,-13 1 0,13-14 0,-14 13 15,14-12-15,0 12 0,0-13 16,-13-13-16</inkml:trace>
  <inkml:trace contextRef="#ctx0" brushRef="#br0" timeOffset="36909.32">14843 3956 0,'40'-14'15,"-27"14"-15,0 0 16,0 0-16,14 0 0,-14 0 0,14 0 16,-1 0-16,1-13 0,-1 13 15,-13 0-15,14 0 0,-1 0 0,1 0 16,-14 0-16,13 0 0,1 0 0</inkml:trace>
  <inkml:trace contextRef="#ctx0" brushRef="#br0" timeOffset="37377.56">15941 3797 0,'-53'0'0,"40"0"16,-13 13-16,12-13 0,-12 0 0,-27 13 15,40-13 1,-1 13-16,1-13 0,13 14 15,0-1-15,13-13 16,1 0-16,-14 13 0,13-13 16,0 13-16,0 1 0,1-1 0,-1-13 15,0 13-15,0 0 0,1 1 0,-1-14 16,-13 13-16,0 0 0,0 0 16,0 0-16,-13 1 0,-1-1 15,1-13-15,0 13 0,13 0 0,-27-13 16,14 14-16,0-1 0,0-13 15,-1 0-15,1 13 0,0-13 16</inkml:trace>
  <inkml:trace contextRef="#ctx0" brushRef="#br0" timeOffset="37557.18">16298 3731 0,'14'0'0,"-14"13"0,0 27 32,0-27-32,-14 13 0,14-13 0,-13 14 15,0 13-15,0-14 0,-1 1 0,1 12 0,0-12 16,-14-1-16,1 14 16,13-27-16,0 0 0,-1 1 15</inkml:trace>
  <inkml:trace contextRef="#ctx0" brushRef="#br0" timeOffset="37742.03">16219 3889 0,'0'14'31,"13"-1"-31,0 0 0,1 0 16,-1 1-16,0-14 15,0 0-15,1 13 0,12-13 16,-13 13-16,0-13 0,1 0 16</inkml:trace>
  <inkml:trace contextRef="#ctx0" brushRef="#br0" timeOffset="37927.87">16775 3704 0,'13'0'0,"-26"0"0,26 13 15,-26 1-15,13-1 0,0 13 16,-14-12-16,14 12 0,0 14 16,-13-1-16,0-12 0,0 13 15,-1-14-15,1 14 0,0-14 0,0 1 16,13-14-16,-13 13 0,-1-12 0,1-1 16,13 0-16,-13-13 0,0 13 15</inkml:trace>
  <inkml:trace contextRef="#ctx0" brushRef="#br0" timeOffset="38188.71">15650 3532 0,'-40'80'0,"80"-160"0,-93 212 0,27-79 0,13 14 16,-1-15-16,14 15 0,0-14 0,14-1 15,-1 1-15,0 0 0,13 0 16,1-13-16,13-14 0,-1 14 0,-12-27 16,39 27-16,-26-40 15,-1 0-15,-12 0 0</inkml:trace>
  <inkml:trace contextRef="#ctx0" brushRef="#br0" timeOffset="38441.05">17304 3413 0,'13'66'16,"0"14"-16,-26-41 0,13 14 15,-13 13-15,-14 1 0,14-1 0,-13 0 16,-1 0-16,1 0 0,-173 265 31,173-291-31,-14-1 0,0 1 16,1 0-16,-14-14 0,0 1 0,-13-1 16,0-13-16,13 0 0,-27 1 15,1-14-15,0 0 0,-14 0 0</inkml:trace>
  <inkml:trace contextRef="#ctx0" brushRef="#br0" timeOffset="39105.57">4921 4657 0,'0'0'0,"27"13"16,-1-13-16,1 0 0,39 0 0,13 0 15,1 0-15,12 0 0,14 0 16,26 0-16,27 0 0,13 0 0,0 0 15,0 0-15,26 0 0,14 0 16,66 0-16,13-13 0,-13 13 16,13 0-16,13 0 0,0 0 0,14 0 0,-1 0 15,1 0-15,-1 0 0,1 0 0,-1 13 16,1-13-16,-1 0 0,-12 0 16,-14 13-16,0-13 0,-14 13 0,-78 1 15,13-14-15,-14 13 0,0 0 0,-26 0 16,212 14-1,-291-14-15,-27-13 0,-27 0 16,-12 0-16</inkml:trace>
  <inkml:trace contextRef="#ctx0" brushRef="#br0" timeOffset="39840.18">7832 5146 0,'0'0'0,"39"0"0,-25 0 0,-1 0 0,13 13 16,-12-13-16,-1 0 0,0 14 0,0-1 15,0-13-15,-13 13 0,14 0 16,-14 1-16,0-1 0,0 0 0,-14 0 16,1 0-16,0 1 0,0 12 0,-14-13 15,1 14-15,13-14 0,-14 0 16,14 1-16,0-1 0,-14-13 15,27 13-15,-13-13 0,0 13 0,0-13 16,-1 13-16,28 1 31,-1-14-31,0 0 0,0 0 16,0 0-16,14 0 0,-1 0 0,1-14 16,-1 14-16,14-13 0,0 13 15,-1-13-15,-25 0 0,25 0 0,1-1 16,-14 1-16,14 0 0,-13-14 0,-1 14 15</inkml:trace>
  <inkml:trace contextRef="#ctx0" brushRef="#br0" timeOffset="40020.71">8572 5080 0,'0'0'16,"14"13"-16,-14 0 0,-14-13 15,14 14-15,0 12 0,0-13 16,0 14-16,0-14 0,0 0 0,0 14 15,0-1-15,0-13 0,0 14 0,0-14 16,0 14-16,0-14 16,0 13-16,0-12 0,0-1 0,0 13 0,0-13 15,-13 1-15</inkml:trace>
  <inkml:trace contextRef="#ctx0" brushRef="#br0" timeOffset="40259.65">8268 5331 0,'27'-13'31,"-14"13"-31,0 0 0,0 0 16,14 0-16,-14 0 0,0 0 15,14 0-15,-14 0 0,13 0 0,-12 0 16,12 0-16,1 0 0,-14 0 16,13-13-16,-13 13 0,1 0 0,12 0 15,-13-13-15</inkml:trace>
  <inkml:trace contextRef="#ctx0" brushRef="#br0" timeOffset="40752.74">9366 5226 0,'0'0'0,"13"0"0,-39 0 31,0 0-15,12 13-16,-12-13 0,13 0 0,-14 13 15,14-13-15,-13 13 0,12-13 16,1 0-16,13 13 0,-13-13 0,13 14 15,0-1 1,0 0-16,13 0 0,0 1 16,1-1-16,-1 0 0,0 0 0,0-13 15,0 14-15,1-1 0,-1 0 16,0 0-16,-13 0 0,0 1 16,0-1-16,-13 0 0,0 0 15,-1 1-15,1-14 16,0 13-16,0-13 0,0 13 15,-1 0-15,1-13 0,26-26 32</inkml:trace>
  <inkml:trace contextRef="#ctx0" brushRef="#br0" timeOffset="40940.35">9684 5199 0,'13'13'15,"13"67"17,-26-54-32,0-13 0,0 14 0,14-14 15,-14 14-15,0-14 0,0 13 16,0-13-16,0 1 0,0-1 0,0 0 16,0 0-16,0 1 0,0-1 0,0 0 15</inkml:trace>
  <inkml:trace contextRef="#ctx0" brushRef="#br0" timeOffset="41116.61">9591 5398 0,'80'-27'31,"-67"27"-31,13 0 0,1 0 15,-1 0-15,1 0 0,-1-13 0,-13 13 16,14 0-16,-1 0 0,-13 0 0,14 0 16</inkml:trace>
  <inkml:trace contextRef="#ctx0" brushRef="#br0" timeOffset="41540.05">10411 5305 0,'-39'26'32,"25"-26"-32,1 14 0,-13-1 0,-1 0 15,14 0-15,-13 1 0,-1-1 0,1 0 16,12 0-16,1 0 0,0-13 16,0 14-16,0-14 0,13 13 0,-14 0 15,14 0-15,0 1 16,14-1-16,-1 0 15,0-13-15,0 0 0,0 0 16,1 0-16,12 0 0,1 0 0,-14 0 16,13 0-16,1 0 0,-1-13 15,-13 13-15,14-13 0,-1-1 16,-12 14-16,12-13 0,-13 0 0,1 0 16,-1-1-16</inkml:trace>
  <inkml:trace contextRef="#ctx0" brushRef="#br0" timeOffset="41749.81">10544 5212 0,'0'14'16,"0"-28"-16,-14 41 0,1-14 0,13 0 15,-13 0-15,13 14 0,0-14 16,-13 14-16,13-14 0,0 13 0,0 1 16,0-1-16,0 1 0,0-1 0,0 1 15,-13-1-15,13 0 0,0-12 16,0 12-16,0-13 0,0 1 15,0 12-15,0-13 0,13 1 16,0-1-16</inkml:trace>
  <inkml:trace contextRef="#ctx0" brushRef="#br0" timeOffset="41989.74">11073 5226 0,'0'26'0,"0"-13"15,0 0-15,-13 1 0,13-1 16,-14 13-16,14 1 0,-13-1 16,13 1-16,-13-14 0,0 27 0,13-14 15,-14 1-15,14-1 0,-13-13 0,13 0 16,-13 14-16,13-14 0,-13 0 15,13 1-15,0-1 0,0 0 16</inkml:trace>
  <inkml:trace contextRef="#ctx0" brushRef="#br0" timeOffset="42204.93">10742 5464 0,'40'-14'31,"-27"14"-31,0 0 0,14-13 0,-1 13 16,1 0-16,-1-13 0,1 13 16,-1-13-16,14 13 0,-14-13 15,1 13-15,-1 0 0,14-14 0,-14 14 0,1 0 16,-1-13-16</inkml:trace>
  <inkml:trace contextRef="#ctx0" brushRef="#br0" timeOffset="42740.64">11549 5226 0,'27'0'0,"12"13"31,-26 0-31,1 0 0,-1 0 0,-13 1 16,13-1-16,-13 0 0,-13 0 0,13 14 16,-13-14-16,-1 14 0,-12-1 0,13-13 15,-14 14-15,14-14 0,-13 0 16,12 0-16,14 1 0,-13-1 0,0-13 15,0 13-15,13 0 0,-14-13 16,14 13-16,14-13 16,-1 0-16,0 0 15,0 0-15,1 0 0,12 0 16,1 0-16,-1-13 0,-13 13 0,14-13 16,-1 0-16,1 13 0,12-13 15,1-14-15,-14 14 0,14 0 0,26-27 16,-39 14-16,-1 12 0,14-12 15,-14 13-15,-12-1 16,-1 1-16,0 13 0,0-13 16,0 13-16,1 13 31,-14 0-31,0 1 0,0-1 0,0 0 16,0 0-16,0 1 0,0-1 0,0 0 15,0 0-15,0 0 0,0 14 16,0-14-16,0 0 0,0 1 0,-14-1 15,14 0-15,-13 0 16,13 0-16,0 1 0</inkml:trace>
  <inkml:trace contextRef="#ctx0" brushRef="#br0" timeOffset="43065.77">12012 5437 0,'27'0'32,"-1"0"-32,0-13 15,1 13-15,-1-13 16,-12 13-16,12-13 0,1-1 16,25 1-16,-25 0 0,-14 0 15,0 13-15,14-14 0,-14 14 0,0 0 16,-13-13-16,13 13 0,1 13 15,-1-13-15,-13 14 16,0-1-16,0 0 0,0 0 16,0 14-16,0-14 0,-13 0 15,13 14-15,0-14 0,-14 27 16,14-27-16,0 13 0,-13-13 16,13 1-16,-13 12 0,0-13 0,0 1 15,-1-1-15,1 0 0</inkml:trace>
  <inkml:trace contextRef="#ctx0" brushRef="#br0" timeOffset="43629.8">3717 4882 0,'53'0'0,"-106"0"0,120 0 0,-54 0 15,13-14-15,-13 14 0,1 0 0,12 0 16,1 0-16,-14-13 0,13 13 16,-12 0-16,-1 0 0,0 0 0</inkml:trace>
  <inkml:trace contextRef="#ctx0" brushRef="#br0" timeOffset="43784.71">3823 4961 0,'27'-13'16,"-14"13"0,0 0-16,0-14 0,14 14 15,-1 0-15,1-13 0,-1 13 0,1 0 16,-1 0-16,-13 0 0,14-13 16</inkml:trace>
  <inkml:trace contextRef="#ctx0" brushRef="#br0" timeOffset="44356.52">4696 7739 0,'27'0'0,"-1"0"15,-13 0-15,133 0 31,-120 0-31,1 0 0,-14 0 0,14 0 16,-14 0-16</inkml:trace>
  <inkml:trace contextRef="#ctx0" brushRef="#br0" timeOffset="44522.58">4789 7885 0,'26'-14'16,"1"14"-16,-14 0 16,14 0-16,-1 0 0,0-13 0,14 13 15,-13 0-15,26 0 0</inkml:trace>
  <inkml:trace contextRef="#ctx0" brushRef="#br0" timeOffset="45085.49">7210 7792 0,'40'0'16,"-27"0"-16,53 26 15,-66-12 1,0-1-16,0 0 0,-13 0 16,-1 1-16,-12 12 0,0 1 0,-1-1 15,1 0-15,-14-12 0,14 12 0,-1-13 16,-13 14-16,14-14 15,13 0-15,-1 0 0,1-13 0,0 14 16,0-14-16,13 13 16,13 0-1,0-13-15,0 0 16,14 0-16,-1 0 0,1-13 0,13 13 16,-1 0-16,1 0 0,0-13 0,-14 13 15,14 0-15,-14 0 0,1-14 16,-1 14-16,1-13 0,-1 13 0,-13-13 15</inkml:trace>
  <inkml:trace contextRef="#ctx0" brushRef="#br0" timeOffset="45240.82">7766 7951 0,'-14'0'0,"1"0"15,13-13 1</inkml:trace>
  <inkml:trace contextRef="#ctx0" brushRef="#br0" timeOffset="45584.68">8096 7766 0,'-39'13'0,"78"-26"0,-105 39 0,40-13 15,12 0-15,-12 14 0,0-14 0,-1 14 16,1-1-16,12 1 0,-12-14 16,26 13-16,-13-13 0,13 1 0,0-1 15,13 27-15,0-27 0,14 0 16,-14 0-16,13 0 0,-12 1 15,12-14-15,0 13 0,-12-13 0,-1 0 16,13 0-16,-12 0 0,-1 0 16,0 0-16,-13-13 15,0-1-15,0 1 16,-13 13-16,0-13 16,-1 13-16,1 0 0,13-13 0,-13 13 15,0 0-15,13-13 16</inkml:trace>
  <inkml:trace contextRef="#ctx0" brushRef="#br0" timeOffset="46005.94">8520 7924 0,'13'0'0,"-26"0"0,-1 14 31,1-14-31,0 13 0,-14-13 15,14 13-15,-13-13 0,-1 13 0,14 0 16,-13-13-16,12 14 0,1-1 16,0-13-16,0 13 0,-1 0 0,1-13 15,13 14-15,-13-14 0,13 13 0,0 0 16,13-13-16,-13 13 16,13-13-16,1 0 0,-1 0 15,0 0-15,14 0 0,-1 0 16,1-13-16,-1 13 0,14-13 0,-14 0 15,14-1-15,-1 1 0,-12 0 0,13-14 16,-14 14-16,-13 0 0,14 0 16,-14 0-16,0-1 0,0 14 0,-13-13 15,14 13-15,-28 27 32,1-27-32,0 26 0,-13 0 15,12-12-15,-12 12 0,13 1 16,-14-1-16,1 14 0,12-14 15,-12 1-15,13-1 0,-14 1 0,14-14 16,-13 26-16,26-25 0,0-1 16</inkml:trace>
  <inkml:trace contextRef="#ctx0" brushRef="#br0" timeOffset="46224.8">9181 8057 0,'-26'26'0,"52"-52"0,-79 65 0,27-12 16,-1-14-16,-26 13 0,14 14 0,-28-13 15,15 12-15,-15 1 0,-12 0 16,13-1-16,0 1 0,-53 26 16,66-26-16,0-14 0,26 1 15,-26 12-15,40-39 0,0 14 16,53-28-1,-1 1-15,1-13 0,26-1 16</inkml:trace>
  <inkml:trace contextRef="#ctx0" brushRef="#br0" timeOffset="46369.93">9221 8162 0,'-27'27'0,"54"-54"0,-80 80 0,26-13 15,-26 0-15,14-1 0,-41 14 16,1 0-16,-14 0 0,14 0 0,-14 0 15,1 0-15,-1 0 0,14 0 0,-14 0 16,14 0-16,-14-1 0,-52 28 16</inkml:trace>
  <inkml:trace contextRef="#ctx0" brushRef="#br0" timeOffset="74761.5">22410 3321 0,'-26'13'15,"13"-13"-15,-1 13 0,1-13 16,0 13-16,-14 0 0,1 14 16,-1-14-16,1 14 0,0-14 0,-1 13 15,-13-13-15,14 14 0,-14-14 16,14 14-16,-1-14 0,-12 0 0,12 14 0,1-14 15,-1 0-15,14 0 0,-13-13 16,12 13-16,1 1 0,0-14 16,0 13-16,-1-13 0,14 13 0,-13-13 15</inkml:trace>
  <inkml:trace contextRef="#ctx0" brushRef="#br0" timeOffset="75032.78">21960 3347 0,'0'0'0,"27"26"0,-14-12 16,0-1-16,1 0 0,12 14 0,-13-1 15,14 0-15,-1 1 0,1-1 0,-1 1 16,1-1-16,-14 1 0,26-1 15,-12 1-15,-1-14 0,1 13 0,-1-12 16,-12-1-16,12 0 0,-13 0 0,0 1 16,1-14-16,-1 13 0,0-13 15,-13 13-15,13-13 0,-13 13 0,14-13 16,-1 0-16</inkml:trace>
  <inkml:trace contextRef="#ctx0" brushRef="#br0" timeOffset="75993.42">21603 8506 0,'0'0'16,"0"-13"-16,0 53 16,0-1-16,0 1 15,-13 26-15,13 14 0,0-1 0,-13 0 16,13 54-16,0-1 0,-13 0 0,26 1 15,-13 12-15,0 14 0,0-14 0,13 14 16,-13 13-16,13-13 0,-13 13 16,0 13-16,0-13 0,0 13 0,0 0 15,0 1-15,0-14 0,13 13 16,-13-26-16,0-1 0,14-12 16,-1-1-16,-13-12 0,13-27 0,-13-14 15,13-12-15,-13-14 0,0 0 0,0-13 16,14-14-16,-14 1 0,0-13 0,-14-14 15,14 0-15,-13-26 16,13-14 0</inkml:trace>
  <inkml:trace contextRef="#ctx0" brushRef="#br0" timeOffset="79784.78">22450 8864 0,'-13'13'31,"13"0"-31,0 0 0,0 14 0,-14-14 16,14 13-16,0-12 0,0 12 0,0-13 16,-13 14-16,13-14 0,0 13 15,0-12-15,0-1 0,0 0 0,0 0 16,0 1-16,0-1 0,0 0 0,0 0 15,0 1 1,0-1-16</inkml:trace>
  <inkml:trace contextRef="#ctx0" brushRef="#br0" timeOffset="80247.8">22741 9022 0,'26'0'32,"-26"-13"-17,14 13-15,-1 0 0,0 0 16,0 0-16,1 0 0,-1 0 0,0 0 15,0-13-15,0 13 0,1 0 16,-1 0-16,0 0 0,0 0 16,1 0-16,-1-13 15,0 13-15,0 0 32,1 0-1</inkml:trace>
  <inkml:trace contextRef="#ctx0" brushRef="#br0" timeOffset="80625.66">22926 8850 0,'-13'0'31,"53"0"-16,-27 0-15,0 0 0,0 14 0,1-14 16,12 0-16,-13 13 0,14-13 0,-14 0 16,0 13-16,14-13 0,-14 0 0,0 13 15,0 0-15,1-13 16,-14 14-16,0-1 0,13 0 16,-13 0-16,-13 14 0,13-14 0,-14 0 15,1 1-15,0 12 16,0-13-16,-1 0 0,1 1 0,0 12 15,0-13-15,-1 1 0,1-1 0,13 0 16,-13-13-16,13 13 0</inkml:trace>
  <inkml:trace contextRef="#ctx0" brushRef="#br0" timeOffset="81160.75">23760 8824 0,'-40'26'31,"27"-26"-31,-1 14 0,1-1 0,-13 0 16,13 0-16,-14 0 0,14 1 0,0-1 16,-1 0-16,1 0 0,0 1 15,0-14-15,13 13 0,-14-13 0,14 13 16,0 0-16,0 1 16,14-14-16,-1 0 15,0 13-15,0-13 0,1 0 16,12 0-16,1 0 0,-14 0 0,13 0 15,1 0-15,-1 0 0,1 0 0,-1 0 16,0 0-16,-12 0 0,12 0 16,-13-13-16,1 13 0,-1 0 0,0 0 15,0 0-15,1-14 0,-1 14 16,-13-13-16,13 13 0</inkml:trace>
  <inkml:trace contextRef="#ctx0" brushRef="#br0" timeOffset="81404.73">23945 8797 0,'-27'27'31,"27"-14"-31,-13 0 16,13 1-16,0-1 0,-13 13 15,13-13-15,0 1 0,-13 12 0,13-13 16,0 1-16,-14 12 0,14-13 0,0 1 15,0-1-15,-13 0 0,13 0 16,0 0-16,-13 1 0,13-1 16,0 0-16,0 0 15</inkml:trace>
  <inkml:trace contextRef="#ctx0" brushRef="#br0" timeOffset="81817.64">24209 8824 0,'-26'13'16,"13"0"-16,13 1 15,-14-1-15,1 0 0,13 0 16,-13 0-16,13 1 0,-13 12 0,13-13 16,-13 1-16,13-1 0,0 0 0,0 0 15,13 1-15,0-1 0,0 0 16,0-13-16,1 13 16,-1-13-16,0 0 0,0-13 15,1 13-15,-1 0 0,-13-13 0,13 0 16,0 13-16,-13-14 0,14 1 15,-14 0-15,0 0 0,13-1 16,-13 1-16,0 0 0,-13 0 0,13-1 16,0 1-16,0 0 0,-14 13 0,14-13 15,-13 0-15,-13 13 16,-1 0 0,14 13-16</inkml:trace>
  <inkml:trace contextRef="#ctx0" brushRef="#br0" timeOffset="82140.67">24487 8824 0,'0'13'0,"-26"27"15,26-27-15,-13 0 16,13 0-16,0 1 0,0-1 15,0 0-15,0 0 0,13 1 16,-13-1-16,13-13 0,-13 13 16,13-13-16,0 0 0,1 0 0,-1 0 15,0 0-15,0 0 0,1 0 16,-1-13-16,0 13 0,0-13 16,-13-1-16,13 1 0,-13 0 0,0 0 15,0-1-15,0 1 0,0 0 16,-13-13-16,0 12 0,0 1 0,0 0 15,-1 0-15,1-1 0,-13 1 0,-1 13 16,14-13-16,-13 13 0,-1 0 16,1 13-16,-14 0 0,13 1 0,-12-1 15,12 0-15,1 0 0</inkml:trace>
  <inkml:trace contextRef="#ctx0" brushRef="#br0" timeOffset="82993.57">22476 9723 0,'-13'0'16,"13"14"-16,-13-1 15,13 0-15,0 14 16,-13-14-16,13 13 0,-14 1 0,14-1 16,-13 1-16,0-1 0,13 1 0,-13-14 15,13 13-15,-13 1 0,13-14 16,0 0-16,-14 0 0,14 1 0,0-1 15,0 0-15,0 0 0,14 1 16</inkml:trace>
  <inkml:trace contextRef="#ctx0" brushRef="#br0" timeOffset="83364.95">22966 9856 0,'13'-14'32,"0"14"-32,1 0 15,38 0 1,-38 0-16,-1 0 0,0 0 16,0 0-16,1 0 0,12 0 15,-13 0-15,1 0 16,-1 0-16,0 0 15,0-13 1</inkml:trace>
  <inkml:trace contextRef="#ctx0" brushRef="#br0" timeOffset="83701.6">23125 9671 0,'0'0'0,"26"13"47,-13-13-47,1 13 0,-1-13 16,0 0-16,0 13 0,0-13 0,-13 13 15,14-13-15,-1 14 0,0-14 0,0 13 16,1 0-16,-14 0 16,13-13-16,-13 14 0,0-1 0,0 0 15,0 0-15,0 0 0,-13 1 0,13 12 16,-14-13-16,1 1 0,0-1 16,0 0-16,-1 0 0,1 1 0,13-1 15,0 0-15,-13 0 0</inkml:trace>
  <inkml:trace contextRef="#ctx0" brushRef="#br0" timeOffset="84233.9">24130 9763 0,'-40'27'16,"27"-14"-16,0 0 16,0 0-16,-14 0 0,14 1 0,0 12 15,-14-13-15,14 1 16,0-1-16,0 0 0,-1 0 0,1 1 15,0-1-15,13 0 16,0 0 0,13-13-16,-13 13 15,13-13-15,1 0 0,-1 0 0,13 0 16,-13 0-16,14 0 0,-14 0 0,14 0 16,-1 0-16,-13 0 0,14 0 15,-1-13-15,1 13 0,-14 0 16,0 0-16,-13-13 0,13 13 15,1 0-15,-14-13 16</inkml:trace>
  <inkml:trace contextRef="#ctx0" brushRef="#br0" timeOffset="84457.53">24170 9776 0,'-14'0'15,"1"14"1,13-1-16,0 0 16,-13 0-16,13 0 0,0 1 0,-13-1 15,13 13-15,0-12 0,-13 12 0,13-13 16,-14 1-16,14-1 0,-13 0 16,13 13-16,0-12 0,-13-1 0,13 0 15,-13 0-15,13 1 0</inkml:trace>
  <inkml:trace contextRef="#ctx0" brushRef="#br0" timeOffset="84805.6">24355 9829 0,'-13'-13'0,"-1"26"16,1-13-1,13 13-15,0 1 0,-13-14 0,13 13 16,0 0-16,-13 0 0,13 1 0,13-1 16,-13 0-16,0 0 15,13 1-15,0-1 0,1-13 16,-1 13-16,0-13 0,0 0 0,1 0 16,-1 0-16,0 0 15,0-13-15,1 0 0,-14-1 16,0 1-16,0 0 0,0-14 15,0 14-15,0 0 16,-14 0-16,14-1 0,-13 1 16,0 0-16,0 13 15,-14 0-15,14 0 0,0 13 16,-1-13-16,1 13 16,0 1-16,0-1 15</inkml:trace>
  <inkml:trace contextRef="#ctx0" brushRef="#br0" timeOffset="85283.95">24606 9829 0,'0'13'0,"-13"40"31,26-39-31,-13-1 0,0 0 16,13 0-16,1-13 0,-14 14 15,13-14-15,0 0 0,0 0 0,1 0 16,-1 0-16,0 0 0,0 0 0,1 0 16,-1-14-16,0 1 15,0 0-15,-13 0 0,0-1 0,0 1 16,0 0-16,-13 0 16,0-1-16,0 1 0,-1 13 0,-12-13 0,-1 13 15,1-13-15,-27 13 16,0 13 15,-211 93 110</inkml:trace>
  <inkml:trace contextRef="#ctx0" brushRef="#br0" timeOffset="87813.51">22662 11695 0,'13'-14'0,"0"14"15,-13 14 1,-13-1-1,0 0-15,13 0 0,-14 1 16,1-1-16,0 13 0,0-13 0,-14 14 16,14-14-16,0 0 0,-14 14 15,14-14-15,0 0 0,0 0 0,13 1 16,-14-14-16,1 13 0,13 0 16,-13-13-16,13 13 15,0 1-15,26-14 16,-12 0-16,12 0 0,-13 0 15,14 0-15,-14 0 0,13 0 16,-12 0-16,12 0 0,1 0 16,-14 0-16,13 0 0,-13 0 0,1 0 15,-1 0-15,0 0 0,0-14 16,1 14-16,-1 0 16,-13-13-1</inkml:trace>
  <inkml:trace contextRef="#ctx0" brushRef="#br0" timeOffset="88044.27">22781 11708 0,'0'0'0,"0"-13"0,-14 39 15,14-13-15,0 1 16,0-1-16,-13 0 0,13 13 15,0 1-15,-13-1 0,13-12 0,-13 12 16,13 0-16,-14-12 0,14 12 0,-13-13 16,13 14-16,0-14 0,-13 0 15,13 1-15,0-1 0,0 0 0,0 0 16</inkml:trace>
  <inkml:trace contextRef="#ctx0" brushRef="#br0" timeOffset="88382.77">22979 11814 0,'0'-14'16,"-26"41"0,12-14-16,14 0 15,0 1-15,-13-1 0,13 0 0,0 0 16,13 0-16,-13 1 0,14-1 15,-1 0-15,0-13 16,0 0-16,1 13 0,-1-13 16,0 0-16,0-13 0,0 13 0,1-13 15,-1 13-15,-13-13 16,0-1-16,0 1 0,0 0 16,0 0-16,0 0 0,-13-1 15,-1 14-15,14-13 16,-13 13-16,0 0 0,0 0 0,13-13 0,-13 13 15,-1 0-15,1 0 16,0 0-16</inkml:trace>
  <inkml:trace contextRef="#ctx0" brushRef="#br0" timeOffset="88669.72">23178 11761 0,'0'0'0,"0"13"31,0 0-31,0 0 0,0 1 16,0-1-16,0 0 0,0 0 16,0 1-16,13-1 0,-13 0 15,13 0-15,0-13 0,-13 13 16,13-13-16,1 0 0,-1 0 16,-13 14-16,13-14 0,14-14 0,-14 1 15,-13 0 1,13 13-16,-13-13 0,0 0 15,-13-1-15,13 1 0,-13 0 16,-1 0-16,1 13 16,0 0-16,-14 0 15,14 0-15,0 13 16,0-13-16</inkml:trace>
  <inkml:trace contextRef="#ctx0" brushRef="#br0" timeOffset="88877.71">23561 11655 0,'0'0'0,"13"-13"0,-13 39 31,0-13-15,0 1-16,0 12 0,0-13 0,0 1 15,0 12-15,0-13 0,0 14 16,0-14-16,0 13 0,0-12 0,0-1 15,0 13-15,0-13 0,0 1 16,14-1-16,-14 0 0,0 0 16</inkml:trace>
  <inkml:trace contextRef="#ctx0" brushRef="#br0" timeOffset="89097.31">23495 11774 0,'-13'-13'16,"26"39"15,0-26-31,0 13 0,1 1 16,-1-1-16,0 0 16,0-13-16,-13 13 15,14-13-15,-14 14 0,13-14 0,0 13 16,0-13-16,1 0 15,-14 13-15,13-13 0,0 0 0</inkml:trace>
  <inkml:trace contextRef="#ctx0" brushRef="#br0" timeOffset="89419.88">23984 11589 0,'27'0'15,"-54"0"-15,67-13 0,-27 26 0,1-13 0,-1 0 16,0 0-16,-13 13 0,13 0 16,-13 0-16,0 1 15,0 12-15,-13-13 0,13 14 0,-13-14 16,-14 14-16,14-1 0,13-13 16,-13 14-16,0-27 0,13 13 0,-14 0 15,14 0-15,0 1 0,14-1 16,-1-13-1,0 0-15,0 0 0,1 0 16,12 0-16,-13 0 0,1 0 16,12-13-16,-13 13 0,0 0 0,1 0 15,-1 0-15,0 0 0,0 0 16,-13 13-16,0 0 16,-13-13-16</inkml:trace>
  <inkml:trace contextRef="#ctx0" brushRef="#br0" timeOffset="89714.35">22754 12382 0,'53'-26'0,"-26"13"0,12 0 0,14 13 15,0-27-15,13 14 0,0 0 0,14-1 16,-14 1-16,13 0 0,-13 0 16,14 13-16,-14-13 0,0-1 0,-13 14 15,-13-13-15,13 13 0,-27-13 0,0 13 16,-12 0-16,-1 0 0,13 0 16,-12-13-16,-41 26 31,1 0-31,-1-13 0,-12 13 15</inkml:trace>
  <inkml:trace contextRef="#ctx0" brushRef="#br0" timeOffset="89998.82">22701 12528 0,'80'-13'0,"250"-40"31,-263 40-31,12-1 0,-13 14 16,-13-13-16,0 13 0,-13-13 15,12 13-15,-12-13 0,0 13 0,-14-14 16,1 14-16,-1 0 0,-13 0 16,14 0-16,-14-13 0,0 13 0,1 0 15,-1 0-15,-40 13 31,1-13-15,13 0-16,-27 14 0,0-1 16,-13 0-16</inkml:trace>
  <inkml:trace contextRef="#ctx0" brushRef="#br0" timeOffset="95028.03">22622 10398 0,'132'-26'0,"-52"12"0,12 14 0,1-13 15,26 0-15,13 13 0,0-13 0,1 13 16,-1-13-16,0 13 0,14 0 0,-14 0 15,-26 0-15,26 0 0,-26 0 16,0 0-16,0 13 0,0-13 0,-14 0 16,14 0-16,-13 0 0,-14 0 0,0 0 15,-13 0-15,-26 0 0,0 0 0,-14 0 16,1 0-16</inkml:trace>
  <inkml:trace contextRef="#ctx0" brushRef="#br0" timeOffset="95089.8">25387 10319 0,'-27'-40'0,"1"40"0,-27 0 0,0 0 15</inkml:trace>
  <inkml:trace contextRef="#ctx0" brushRef="#br0" timeOffset="96104.53">22344 10941 0,'0'-14'15,"13"14"-15,1 0 0,-14-13 16,13 13-16,0 0 0,0 13 15,0-13-15,1 0 0,-1 0 0,0 14 16,0-14-16,1 13 0,-1 0 0,-13 0 16,0 0-16,0 1 15,0-1-15,-13 0 0,-1 0 16,1 14-16,0-14 0,0 0 0,-14 0 16,14 1-16,0-1 0,0-13 15,-1 13-15,1 0 0,0-13 0,0 14 16,-1-14-16,14 13 15,27-13 17,-14 0-32,0 0 0,14 0 15,-14 0-15,0 0 0,14 0 0,-14 0 16,0-13-16,14 13 0,-14 0 16,13 0-16,-13 0 0,1 0 0,-1 0 15,13-14-15,-12 14 0,-1 0 16,13-13-16,-12 13 15,-1-13-15,0 13 0,0-13 0,14 13 16</inkml:trace>
  <inkml:trace contextRef="#ctx0" brushRef="#br0" timeOffset="96393.52">22886 10914 0,'0'0'0,"-13"0"0,40 0 47,-14 0-47,0 0 0,14 0 0,-14 0 15,13 0-15,-12 0 0,12 0 16,0 0-16,-12 0 0,-1 0 0,13 0 15,-12 0-15,-1 0 0,0 0 0,0 0 16,14 0 0,-27-13-1</inkml:trace>
  <inkml:trace contextRef="#ctx0" brushRef="#br0" timeOffset="96673.71">23045 10782 0,'66'0'31,"-52"13"-31,25-13 16,-25 13-16,12-13 15,-13 13-15,27 1 0,-14 12 16,-12-13-16,-14 1 15,0-1-15,13 0 0,-26 0 16,13 1-16,0-1 0,-14 0 0,1 0 16,13 0-16,-13 1 0,0-1 0,13 0 15,-14-13-15,1 13 0,13 1 16</inkml:trace>
  <inkml:trace contextRef="#ctx0" brushRef="#br0" timeOffset="97056.61">23839 10821 0,'-66'40'31,"53"-40"-31,-1 13 0,1 1 16,0-1-16,0-13 0,-1 13 16,1 0-16,0 1 0,0-1 15,13 0 1,0 0-16,26 0 15,-13-13-15,1 0 16,-1 0-16,0 0 0,14 0 0,-14 14 16,13-14-16,-13 0 0,14 0 15,-14 0-15,14-14 0,-14 14 0,0 0 16,0 0-16,1 0 0,-1-13 0,0 13 16,0 0-16,-13-13 0,13 13 15</inkml:trace>
  <inkml:trace contextRef="#ctx0" brushRef="#br0" timeOffset="97281.64">23932 10782 0,'-14'0'0,"1"13"31,13 0-31,0 0 0,0 1 16,0-1-16,0 0 0,0 0 15,-13 1-15,13-1 0,0 0 0,0 0 16,0 1-16,0-1 0,0 0 16,-13 0-16,13 0 0,-14 1 15,14-1-15,0 0 0,14-13 16</inkml:trace>
  <inkml:trace contextRef="#ctx0" brushRef="#br0" timeOffset="97620.67">24090 10861 0,'-13'13'31,"0"1"-15,13-1-16,0 0 0,0 0 15,13 1-15,-13-1 0,13 0 16,1-13-16,-1 13 15,0-13-15,0 0 0,0 0 16,1 0-16,-1 0 0,0 0 0,0-13 16,1 0-16,-14 0 15,13-1-15,-13 1 16,-13 0-16,13 0 0,-14-1 0,14 1 16,-13 13-16,0-13 0,0 13 15,-1-13-15,1 13 0,0 0 16,0 0-16,0 0 0,-1 0 0,1 0 15,0 0-15,0 13 0,-1-13 16,14 13-16</inkml:trace>
  <inkml:trace contextRef="#ctx0" brushRef="#br0" timeOffset="97902.93">24342 10848 0,'-14'13'0,"14"0"0,-13 14 16,26-14 0,-13 0-16,14-13 15,-1 14-15,0-14 16,0 0-16,1 0 0,-1 0 0,0 0 16,0 0-16,1-14 15,-1 14-15,0-13 0,0 0 16,-13 0-16,0-1 0,0 1 0,-13 0 15,13 0-15,-13-1 16,0 1-16,-1 0 0,-12 13 16,13-13-16,-14 13 0,1 0 0,-1 13 15,-12-13-15,-1 0 0,-13 13 16,13 0-16</inkml:trace>
  <inkml:trace contextRef="#ctx0" brushRef="#br0" timeOffset="99513">23058 10597 0,'-52'39'31,"38"-26"-31,1 14 16,-13-14-16,12 0 0,1 14 0,0-1 15,0-12-15,-1-1 16,1 0-16,0 13 0,0-12 0,0-1 0,-1-13 16,14 13-16,-13 0 0,13 1 15</inkml:trace>
  <inkml:trace contextRef="#ctx0" brushRef="#br0" timeOffset="99703.72">22728 10702 0,'53'40'16,"-27"-27"-16,1 1 15,12 12-15,-12-13 0,-1 14 16,14-14-16,-14 0 0,1 0 0,-14 1 16,13-1-16,-12 0 0,12-13 0,-13 13 15,1 1-15,-1-14 0,0 13 16,0 0-16</inkml:trace>
  <inkml:trace contextRef="#ctx0" brushRef="#br0" timeOffset="101160.96">22463 3360 0,'-13'-13'16,"-27"26"-1,27-13-15,-13 13 0,12 1 0,-25-1 16,12 13-16,-26 1 0,14-1 0,-1 14 15,-13-14-15,0 14 0,0-13 16,0 12-16,14-12 0,-14 12 0,26-25 16,-13 12-16,14 1 0,0-14 0,12 0 15,1 0-15,0 0 0,0 1 16</inkml:trace>
  <inkml:trace contextRef="#ctx0" brushRef="#br0" timeOffset="101403.92">21987 3268 0,'40'26'16,"-80"-52"-16,93 65 0,-27-12 0,14 12 0,0 1 15,-14 13-15,27-13 0,0-1 0,0 14 16,0-13-16,0 13 0,0-13 15,-1-1-15,-12 1 0,13-14 0,-13 14 16,-14-13-16,1-14 0,-1 13 0,1 1 16,-14-14-16,0 0 15,0 0-15,-13 1 0,14-1 0,-14 0 16</inkml:trace>
  <inkml:trace contextRef="#ctx0" brushRef="#br0" timeOffset="106800.72">10530 9009 0,'67'-40'15,"-54"40"-15,0 0 0,0 0 0,0 0 0,1 14 16,-1-14-16,-13 13 0,13-13 16,-13 13-16,0 0 0,0 1 15,-13-1-15,13 13 0,-13-13 0,-14 1 16,14-1-16,0 0 0,0 0 16,-1 1-16,1-1 0,0 0 15,0 0-15,26 1 31,0-14-31,0 0 16,1-14-16,12 14 0,-13 0 16,14 0-16,-1 0 0,-13 0 0,14-13 15,-1 13-15,-12 0 0,-1 0 16,13-13-16,14 0 0,-27 13 16,0-14-16,1 14 0,-1-13 0</inkml:trace>
  <inkml:trace contextRef="#ctx0" brushRef="#br0" timeOffset="107072.21">11165 8903 0,'14'-13'31,"-1"13"-31,0 0 16,0-13-16,1 13 0,-1 0 15,0 0-15,0 0 0,0 0 16,-13-13-16,14 13 0,-1 0 16,0 0-16,0-14 15,1 14-15</inkml:trace>
  <inkml:trace contextRef="#ctx0" brushRef="#br0" timeOffset="107584.4">11893 8665 0,'-53'40'32,"40"-27"-32,0 0 0,-1 0 0,1-13 15,13 14-15,-13-1 0,0-13 0,13 13 16,-13 0-16,13 1 15,13-1 1,-13 0-16,26-13 16,-13 0-16,1 0 0,-1 0 15,0 0-15,0 0 0,14 0 16,-14-13-16,13 13 0,-12 0 0,-1 0 16,0 0-16,14 0 0,-14-13 0,0 13 15,-13-14-15,13 14 16</inkml:trace>
  <inkml:trace contextRef="#ctx0" brushRef="#br0" timeOffset="107785.68">11906 8639 0,'-13'13'31,"13"0"-31,0 0 0,0 1 0,0-1 16,0 13-16,0-13 0,0 1 16,0-1-16,-13 0 0,13 0 0,0 1 15,13 12-15,-13-13 16,0 1-16,0-1 0</inkml:trace>
  <inkml:trace contextRef="#ctx0" brushRef="#br0" timeOffset="108163.72">12118 8625 0,'-13'0'0,"-1"14"32,14-1-32,-13-13 0,13 13 0,0 14 15,0-14-15,0 0 16,0 0-16,13-13 0,-13 13 0,14 1 15,-1-14-15,0 13 0,0-13 0,1 0 16,-1 0-16,0 0 0,14 0 0,-14 0 16,13-13-16,-13 13 0,1 0 15,-1-14-15,0 14 0,0-13 0,-13 0 16,14 13-16,-14-13 0,13 0 0,-13-1 16,-13 1-16,13 0 15,0 0-15,-14-1 16,1 1-16,0 13 15,0-13-15,-14 26 32,14-13-17,13 13-15,26-13 32</inkml:trace>
  <inkml:trace contextRef="#ctx0" brushRef="#br0" timeOffset="108421.54">12435 8625 0,'0'40'15,"0"-27"1,14-13-16,-1 14 16,13-14-1,-12 0-15,-1-14 0,0 14 16,0 0-16,0-13 0,1 13 0,-14-13 15,13 13-15,-13-13 0,0-1 16,0 1-16,0 0 0,0 0 16,0-1-16,-13 1 0,-1 0 0,1 0 0,0 0 15,0 13-15,-14 0 0,1 0 16,-1 0-16,1 0 0,-14 0 16,-13 13-16,0-13 0</inkml:trace>
  <inkml:trace contextRef="#ctx0" brushRef="#br0" timeOffset="108960.76">11271 8771 0,'40'0'31,"-27"0"-31,0 13 15,1-13-15,-1 0 0,0 0 16,0 13-16,1-13 0,-1 0 0,0 14 16,0-14-16,0 13 0,-13 0 15,0 14 1,-13-14-16,13 0 0,-13 0 16,0 0-16,-14 14 0,1-14 0,-1 14 15,14-14-15,-13 13 0,-1 1 16,1-14-16,-1 13 0,14 1 0,-13-1 15</inkml:trace>
  <inkml:trace contextRef="#ctx0" brushRef="#br0" timeOffset="109493.02">10874 9671 0,'27'-14'16,"-14"14"-16,0 14 16,1-14-1,-14 13-15,0 0 16,0 0-16,13 0 15,-13 1-15,13-14 16,-13 13-16,13 0 16,0-13-16,1 13 0,-1 1 15,-13-1-15,13-13 16,-13 13-16,0 13 16,-13-12-16,0-1 15,-1 0-15,1 0 0,0 1 0,0-14 16,0 13-16,-1 0 0,1-13 0,0 13 15,0-13-15,13 14 16</inkml:trace>
  <inkml:trace contextRef="#ctx0" brushRef="#br0" timeOffset="109684.18">11192 9737 0,'26'0'0,"-52"0"0,66-14 0,-27 14 16,0 0-16,0 0 0,0-13 0,1 13 15,-1 0-15,0-13 0,0 13 0,14-13 16,-14 13-16,0-13 16,1 13-16,-1 0 0,0-14 15</inkml:trace>
  <inkml:trace contextRef="#ctx0" brushRef="#br0" timeOffset="109921.71">11377 9538 0,'0'0'0,"40"0"15,-27 0-15,0 0 16,0 13-16,1-13 0,-14 14 0,13-14 15,0 13-15,-13 0 0,13 0 16,-13 1-16,0-1 16,0 0-16,0 14 0,0-14 0,0 0 15,-13 0-15,13 0 0,0 14 0,-13-14 16,13 0-16,0 1 16,13-14-16</inkml:trace>
  <inkml:trace contextRef="#ctx0" brushRef="#br0" timeOffset="111565.16">12065 9406 0,'26'0'0,"-12"-13"0,-1 13 16,0 0-16,0 0 16,1 13-16,-1 0 0,0 0 15,-13 1-15,0-1 16,0 0-16,-13 0 0,13 1 16,-13 12-16,13-13 0,-14 14 0,1-14 15,0 0-15,13 0 0,-13 1 0,13-1 16,-14-13-16,14 13 0,-13-13 0,13 13 15,0 1-15,13-14 16,1-14 0,-1 14-16,0 0 0,14-13 15,-14 0-15,13 13 0,-12-13 16,25-1-16,-12-12 0,-1 13 0,1-14 16,-1 14-16,0-13 0,1 12 0,-14 1 15,0 0-15,1 0 16,-1-1-16,-13 1 0,13 0 0,-13 0 15,0-1-15,-13 1 16,0 13 0,-1 0-1,1 13-15,0 1 16,13-1 0,13 0-16,0-13 0,1 0 15,-1 13-15,0-13 0,0 0 0,1 0 16,-1 0-16,0 0 0,0 0 15,-13-13-15,13 13 0,-13-13 16,0 0 0,-13-1-16,0 1 15,0 13-15,0-13 0,-1 13 16,1-13-16,0 13 16,13-13-16,-13 13 0,26-14 15,0 14 1,0-13-16,1 13 0,-1 0 15,0 0-15,0 0 0,-13-13 0,13 13 16,1 13-16,-1-13 0,0 0 16,-13 13-1,13-13-15,-13 14 0,14-14 0,-14 13 16,13-13-16,-13 13 0,13-13 16,0 13-16,1-13 0,-1 0 15,0 0-15,0 0 0,14 0 16,-14-13-16,0 13 0,0 0 15,1-13-15,-1 0 0,-13-14 16,-13 27 0,13-13-16,-14 13 0,14-13 0,-13 13 15,0-14-15,0 14 0,-1 0 0,1 0 16,0 0-16,0 0 16,0 0-16,-1 14 0,1-14 15</inkml:trace>
  <inkml:trace contextRef="#ctx0" brushRef="#br0" timeOffset="112055.74">12978 9181 0,'-27'27'16,"27"-14"-16,0 0 16,0 0-16,0 0 15,14 1-15,-14-1 16,13-13-16,0 0 0,0 0 15,-13-13 1,14 13-16,-14-14 0,0 1 16,0 0-16,-14 13 0,14-13 15,-13 0-15,0 13 0,0-14 16,-1 14-16,1 0 16,0 0-16,-14 0 0,14 14 0,0-14 15</inkml:trace>
  <inkml:trace contextRef="#ctx0" brushRef="#br0" timeOffset="112444.87">11827 10173 0,'0'13'31,"0"1"-31,0-1 0,13 0 16,-13 0-16,0 1 0,13-1 15,-13 0-15,0 0 0,14-13 16</inkml:trace>
  <inkml:trace contextRef="#ctx0" brushRef="#br0" timeOffset="112673.54">12131 10213 0,'0'0'0,"13"-13"0,1-1 16,-1 14-16,0-13 15,0 13-15,1 0 0,-14-13 16,13 13-16,0 0 0,0-13 16</inkml:trace>
  <inkml:trace contextRef="#ctx0" brushRef="#br0" timeOffset="113393">12660 9962 0,'27'-14'0,"-1"-12"16,-13 26-16,1-13 15,-1 13-15,-40 13 32,27 0-17,-13-13-15,0 13 0,0-13 0,13 14 16,-13-14-16,-1 13 0,14 0 31,14 0-15,-1-13-16,0 13 15,0-13-15,0 0 16,-13 14-16,14-14 0,-14 13 16,13-13-16,-13 13 0,0 0 15,-13-13-15,13 14 16,-14-14-16,1 13 0,0 0 15,0-13-15,13 13 0,-13-13 0,-1 14 16,28-41 15,-1 14-31,0 13 0</inkml:trace>
  <inkml:trace contextRef="#ctx0" brushRef="#br0" timeOffset="113892.83">12872 9935 0,'13'13'31,"0"1"-15,1-14-1,-1 0 1,0 0-16,0 0 16,-13-14-16,0 1 31,0 0-31,-13 13 15,13-13-15,-13 13 0,13-14 16,-13 14-16,13-13 16,0 0-1,13 13 1,0-13-16,0 13 16,1 0-1,-1 0-15,0 0 16,0 0-16,1 13 15,-1 0 1,0-13 0,0 13-16,0-13 0,1 0 15,-1 0-15,0 0 0,0-13 16,1 13-16,-1 0 0,0-13 0,0 13 16,0-13-16,1 13 0,-14-14 15,0 1-15,0 0 16,0 0-16,-14 13 15,14-13-15,-13 13 0,0 0 0,0 0 16,0-14-16,-1 28 0,-12-14 0,13 0 16,-14 13-16,14 0 0,-13-13 15,-14 13-15,0 14 0</inkml:trace>
  <inkml:trace contextRef="#ctx0" brushRef="#br0" timeOffset="114528.76">12237 10014 0,'26'0'31,"-12"0"-15,-1 14-16,0-14 0,0 0 0,1 0 16,-1 13-16,0-13 0,0 0 15,0 13-15,1-13 16,-14 13-16,13-13 0,-13 14 15,0-1-15,-13 0 0,-1 0 16,14 1-16,-13-1 0,0 13 16,0-13-16,0 1 0,-14-1 0,14 13 15,0-12-15,-1-1 0,1 13 0,0-12 16</inkml:trace>
  <inkml:trace contextRef="#ctx0" brushRef="#br0" timeOffset="115660.45">13295 8387 0,'27'-13'16,"-14"13"-16,0-13 0,0 13 15,1-13-15,-1 13 0,0-14 16,0 14-16,1 0 0</inkml:trace>
  <inkml:trace contextRef="#ctx0" brushRef="#br0" timeOffset="115828.4">13269 8559 0,'26'-13'32,"-12"0"-32,-1 13 0,13 0 0,-13-13 15,1 13-15,-1 0 0,13-14 16,-12 14-16,12-13 0</inkml:trace>
  <inkml:trace contextRef="#ctx0" brushRef="#br0" timeOffset="117784.25">14116 7964 0,'13'0'0,"0"0"0,0 13 16,0-13-16,1 13 0,-1 1 15,0-14-15,-13 13 0,13 0 16,1 0-16,-14 1 0,0-1 0,13 0 16,-13 0-16,0 0 0,0 1 0,0-1 15,-13-13-15,13 13 0,0 0 16,-14-13-16,14 14 0,-13-14 16,0 13-16,0-26 15,13-1 1,13 1-1,-13 0-15,13 13 0,-13-13 0,13-1 16,-13 1-16,14 0 0,-14 0 0,0 0 16,0-1-16,13 1 0,-13 0 15,0 0-15,-13-1 16,13 1-16,0 0 0,-14 0 16,1 13-16,13-13 0,-13 13 15,0-14-15,-1 14 0,1 0 16,0 0-16,0 0 15,0 0-15,52 0 32,-26 0-17,1-13-15,-1 13 0,0 0 0,0 0 16,1 0 0,-1 0-16,-13 13 15,13 1 1,-13 12-1,0-13-15,13 0 16,1 1-16,-1-1 16,0 0-16,0-13 15,0 0-15,14 0 16,-14-13-16,0 13 16,-13-13-1,0-1-15,0 1 0,0 0 16,-13 13-16,13-13 0,-13 0 15,13-1-15,-13 14 16,13-13-16,-14 13 16,14-13-1,27 13 1</inkml:trace>
  <inkml:trace contextRef="#ctx0" brushRef="#br0" timeOffset="118009.16">14499 7990 0,'53'0'15,"-40"-13"1,1 0-16,-14 0 16,0 0-16,0-1 15,0 1-15,-14 0 0,14 0 0,-13-1 16,0 1-16,0 0 15,-1 13-15,-12 0 16,26 13-16,-13 0 0,-14 1 16,14 12-16,-13 1 0,12-1 0,-12 0 15</inkml:trace>
  <inkml:trace contextRef="#ctx0" brushRef="#br0" timeOffset="118612.31">13692 8890 0,'-13'0'16,"39"-13"-1,-26 0-15,14 13 0,-1 0 16,0-14-16,0 14 0,14 0 0,-14-13 15,13 13-15,-12 0 0,-1-13 16,0 13-16,0 0 0,1 0 0</inkml:trace>
  <inkml:trace contextRef="#ctx0" brushRef="#br0" timeOffset="118780.57">13745 8996 0,'13'0'47,"14"-13"-47,-14 13 0,0-14 0,14 14 16,-14-13-16</inkml:trace>
  <inkml:trace contextRef="#ctx0" brushRef="#br0" timeOffset="119852.11">14473 8414 0,'-27'13'16,"27"13"-1,0-12-15,-13-1 16,13 13-16,0-12 0,0 12 0,0-13 16,0 14-16,0-14 0,0 0 0,0 14 15,0-14-15,13 0 0,-13 0 0,13-13 16,-13 14-16,14-14 0,-1 13 0,0-13 15,0 0-15,14 0 16,-14-13 0,-13-1-16,0 1 15,0 0-15,-13 13 16,13-13-16,-13 13 16,-1-14-16,1 14 0,0-13 15,0 13-15,13-13 16,-14 13-1,28-13-15,-14-1 16</inkml:trace>
  <inkml:trace contextRef="#ctx0" brushRef="#br0" timeOffset="120384">14631 8480 0,'0'13'15,"0"0"1,14 1-16,-1-1 15,0-13 1,0 0 0,1 0-16,-1-13 15,0-1 1,-13 1-16,-13 0 16,13 0-16,-13-1 15,-1 14 1,1-13-16,13 0 15,-13 13 1,26-13 0,0 13-16,1 0 15,-14-13-15,13 13 0,0 0 16,0 0 0,1 0-16,-1 0 15,-13 13-15,13-13 0,-13 13 16,13-13-16,0 13 15,1 0-15,-1-13 16,0 0-16,0 14 0,1-14 16,-14-14-16,26 14 15,-13-13-15,0 13 0,-13-13 16,14 0-16,-14 0 16,0-1-16,-14 1 0,14 0 15,-13 0-15,0-1 16,0 14-16,0 0 0,-1 0 15,-12 0-15,13 0 0,13 14 16,-14-14-16,1 13 16,13 0-16,-13 0 0</inkml:trace>
  <inkml:trace contextRef="#ctx0" brushRef="#br0" timeOffset="120760.56">15094 8295 0,'-13'26'0,"0"-13"15,13 1-15,0-1 16,0 0-16,0 0 0,0 1 16,13-14-16,-13 13 15,13-13-15,1 0 0,-1 0 16,0 0-16,-13-13 0,13 13 16,1-14-16,-14 1 15,0 0-15,0 0 16,0-1-16,-14 1 0,1 0 15,0 0-15,0 13 0,-1 0 16,-12 13 0,13-13-16,-14 13 0,14 0 0,-13 1 15,-14 12-15</inkml:trace>
  <inkml:trace contextRef="#ctx0" brushRef="#br0" timeOffset="121383.14">14089 9565 0,'-13'-27'15,"26"27"-15,-13-13 16,13 13-16,1-13 0,-1 13 15,0-13-15,0 13 0,0-14 16,1 14 0,-14 14-16</inkml:trace>
  <inkml:trace contextRef="#ctx0" brushRef="#br0" timeOffset="121544.74">14076 9657 0,'26'0'47,"-12"-13"-32,-1 13-15,0-13 16,0 0-16,0 13 0,1-14 0,-1 1 16</inkml:trace>
  <inkml:trace contextRef="#ctx0" brushRef="#br0" timeOffset="122816.56">13295 9803 0,'14'13'0,"-1"-13"0,0 13 16,0-13-16,0 0 0,1 13 16,-1-13-16,0 0 0,0 0 15,1-13-15,-1 13 0,0 0 0,-13-13 16,13 13-16,1-13 15,-14 0 1,-14-1-16,14 1 0,-13 13 16,0-13-16,0 13 0,-1 0 15,1 0-15,-13 0 0,-1 0 16,14 0-16,-13 13 0,12-13 16,14 13-1</inkml:trace>
  <inkml:trace contextRef="#ctx0" brushRef="#br0" timeOffset="123427.64">14856 9088 0,'-26'14'31,"13"-14"-31,-1 13 16,14 0-16,-13-13 0,0 13 16,0 1-16,0-1 0,-1-13 15,1 13-15,13 0 16,13-13-16,-13 14 16,14-14-16,-1 13 0,0-13 15,0 0-15,0 13 0,1-13 16,-1 13-16,0 0 15,0 1-15,-26 12 16,13-13 0,-13 1-16,0-1 0,-1 0 15,1 0-15,0 0 16,0-13 0</inkml:trace>
  <inkml:trace contextRef="#ctx0" brushRef="#br0" timeOffset="124002.88">14909 9181 0,'0'13'16,"0"1"0,13-1-16,1-13 15,-1 13 1,0-13-16,0-13 15,1 13-15,-1-13 16,-13-1 0,-13 1-1,13 0-15,-14 13 0,1-13 16,0 13 0,13-14-16,-13 14 15,26 0 16,13-13-15,-12 13-16,-1-13 16,0 13-16,0 0 31,1 13-31,-1-13 16,-13 13-16,13-13 15,0 14-15,0-14 16,1 0-16,-1 13 0,0-26 15,0 13-15,1 0 16,-1 0-16,0-14 0,0 1 16,1 13-16,-14-13 0,13 13 0,-13-13 15,0-1 1,-13 1-16,-1 0 16,1 13-16,0-13 0,0 13 15,-1 0-15,1 0 0,0 0 16,0 0-1,-1 0-15,14 13 16</inkml:trace>
  <inkml:trace contextRef="#ctx0" brushRef="#br0" timeOffset="124264.27">15319 9075 0,'14'0'0,"-28"0"0,41 0 15,-14-13 1,0 0-16,-13 0 16,0-1-16,0-12 15,-13 26-15,13-13 16,0-1-16,-13 14 0,13-13 0,-13 13 15,-1-13-15,-12 26 16,13-13 0,-1 13-16,1-13 0,0 14 0,0 12 0,-14-13 15</inkml:trace>
  <inkml:trace contextRef="#ctx0" brushRef="#br0" timeOffset="124609.4">14354 9842 0,'53'-13'32,"-27"0"-32,14-13 0,13 12 15,0-12-15,13-1 0,-13 1 16,13 0-16,0-14 0,0 13 0,0-12 15,0 12-15,0-12 0,1 12 0,-1 1 16,-13-1-16,0 1 0,0-1 16,-14 1-16,1 13 0,-14-1 0,1 1 15,-1 0-15,-12 0 0,-1 13 0,13-14 16,-13 1-16,1 13 0,-14-13 16,13 13-16,0-13 0,0 13 15,-13-13-15,14 13 16,-14-14-16,-14 14 31</inkml:trace>
  <inkml:trace contextRef="#ctx0" brushRef="#br0" timeOffset="129345.67">14896 9816 0,'-13'40'15,"26"-40"-15,-13 26 16,0-13-16,0 1 0,0-1 0,13 13 16,-13-12-16,0-1 0,0 13 0,13-13 15,-13 1-15,0-1 0,14 0 16,-14 0-16,0 1 0,0-1 15,13-13-15</inkml:trace>
  <inkml:trace contextRef="#ctx0" brushRef="#br0" timeOffset="129543.98">15028 9776 0,'0'-13'0,"14"40"31,-14-14-31,13 0 16,-13 0-16,0 14 0,13-14 0,-13 0 16,0 0-16,13 1 0,-13 12 15,0-13-15,13 1 0,-13-1 16,14 0-16,-14 0 0,13-13 0</inkml:trace>
  <inkml:trace contextRef="#ctx0" brushRef="#br0" timeOffset="129980.61">15293 9710 0,'13'13'31,"-13"1"-31,0-1 0,13 0 0,-13 0 16,0 1-1,0-1-15,0 0 0,0 0 0,0 0 16,0 1-16,0-1 0,-13 0 16,13 0-1,-13 1-15,26-41 47,-13 14-47,13 0 0,-13-1 16,14 1-16,-14 0 0,0 0 15,0 0-15,0-1 0,0 1 16,0 0-16,0 0 0,-14-1 16,14 1-16,-13 13 15,13-13-15,-13 13 0,0 0 16,-1 0-1</inkml:trace>
  <inkml:trace contextRef="#ctx0" brushRef="#br0" timeOffset="130464.93">15359 9671 0,'13'13'0,"-13"0"31,14 0-31,-14 0 0,13-13 16,0 0-16,0 0 16,0 0-1,1-13-15,-14 0 16,13 0 0,-13 0-1,-13-1-15,13 1 16,-14 13-1,14-13-15,14 13 47,-1 0-47,0 0 16,0 13 0,1-13-16,-1 0 15,0 0 1,14 0-16,-14 0 15,0 0 1,-13-13-16,13 13 0,0-13 0,-13-1 16,0 1-1,0 0-15,0 0 16,0-1-16,-13 1 16,0 26 15,13 1-31,-13-1 0,13 0 0,-13 0 15,13 1-15</inkml:trace>
  <inkml:trace contextRef="#ctx0" brushRef="#br0" timeOffset="130759.73">15028 10319 0,'27'-27'15,"-14"14"-15,0 0 16,27-14-16,-14 14 0,1-13 0,-1 12 16,14-12-16,-14 0 0,14 12 15,-13-12-15,12 13 0,-12-14 0,-1 14 0,14-14 16,-14 14-16,-12 0 0,-1 13 0,13-13 15,-12 0 1,-1 13-16,-13 26 16,-13-26-1</inkml:trace>
  <inkml:trace contextRef="#ctx0" brushRef="#br0" timeOffset="131013.76">15015 10451 0,'53'-26'32,"-27"26"-32,1-14 0,-1 1 15,14-13-15,-13 12 0,12 1 16,-12 0-16,12 0 0,1-14 16,-13 14-16,-1 0 0,0 0 0,-12 13 15,12-14-15,-13 1 0,14 13 0,-27-13 16,13 13-16,0 0 0,1-13 15,-1 13-15,0-14 0,0 14 16,-13-13 0,13 13-1</inkml:trace>
</inkml:ink>
</file>

<file path=ppt/ink/ink12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2:17.873"/>
    </inkml:context>
    <inkml:brush xml:id="br0">
      <inkml:brushProperty name="width" value="0.05292" units="cm"/>
      <inkml:brushProperty name="height" value="0.05292" units="cm"/>
      <inkml:brushProperty name="color" value="#0070C0"/>
    </inkml:brush>
  </inkml:definitions>
  <inkml:trace contextRef="#ctx0" brushRef="#br0">22794 2275 0,'0'-13'32,"0"0"-32,0 0 15,0-1-15,-13 1 16,13 0-16,-14 0 15,14-14-15,-13 14 0,0 0 16,0-14-16,-1 1 16,1 13-16,-13-14 0,-1 14 0,1-13 15,-40-14-15,39 13 0,-12 14 16,-1-13-16,0 13 0,14-1 0,-14 1 16,14-13-16,-14 12 0,0 1 15,14 0-15,-40-14 16,26 14-16,0 0 0,-26-13 15,26 12-15,14 1 0,-14 0 16,14 13-16,-1-13 0,1 13 0,-14-14 16,1 14-16,12-13 0,-13 13 0,1 0 15,-1-13-15,0 13 0,1-13 16,-1 13-16,0 0 0,1 0 0,12-13 16,-13 13-16,-13 0 0,14-14 0,-41 14 15,41 0-15,-1-13 0,-13 13 16,27 0-16,-27-13 0,13 13 15,14 0-15,-27-13 0,13 13 0,0 0 16,-13 0-16,14-14 0,-14 14 0,13 0 16,-13-13-16,14 13 15,-14 0-15,-27 0 0,54-13 16,-14 13-16,0 0 0,-13 0 0,14 0 16,-14 0-16,0 0 0,13 13 15,-13-13-15,0 0 0,14 0 0,-14 13 16,13-13-16,-13 0 0,14 14 0,-14-14 15,13 13-15,0 0 0,1-13 16,-14 13-16,13 1 0,-39 12 16,26-13-16,13 0 0,-39 27 15,39-27-15,0 1 0,1 12 16,-1-13-16,13 0 0,-39 27 16,40-13-16,-1-14 0,1 27 15,-1-27-15,1 13 0,13-13 16,-1 1-16,1-1 0,0 13 15,-13 1-15,12-1 0,1-12 16,0 25-16,0-26 0,-1 14 0,1-14 16,0 14-16,13-14 0,-13 13 15,0 14-15,-1-14 0,14-12 16,-13 12-16,13-13 0,0 14 0,-13-1 16,13-13-16,-13 14 15,13-14-15,0 14 0,-14 12 16,1-12-16,13-14 0,-13 40 15,0-27-15,13-12 0,-14 12 16,1 1-16,13-1 0,-13-13 0,0 14 16,13-14-16,-13 13 0,-1 1 0,1-14 15,13 14-15,-13-1 0,13-13 16,-13 14-16,-1-1 0,14-13 0,-13 14 16,0-1-16,13 1 0,-27 12 15,27-12-15,-13-14 0,0 40 16,13-40-16,-13 14 0,13-14 15,-13 13-15,-1 1 0,14-14 0,-13 27 16,0-14-16,13 1 16,-13-14-16,13 13 0,-14 1 15,14-14-15,-26 27 0,26-14 16,-13-13-16,0 27 0,-1-13 16,14-14-16,-13 13 0,0-13 15,13 14-15,-27 13 0,27-27 16,-13 13-16,0-12 0,13 12 15,-13 0-15,-14 1 0,14-1 16,0 14-16,0-13 0,-27 25 16,13-25-16,14-1 0,-40 27 15,27-26-15,13-1 0,-40 40 16,26-52-16,1 12 0,-27 27 16,26-27-16,1 1 0,-27 26 15,26-27-15,1 1 0,0-1 16,-14 1-16,13-1 0,1 1 15,-40 12-15,39-12 0,-65 52 16,52-66 0,-13 40-16,27-26 15,-54 39-15,54-40 0,-1 1 16,1-1-16,0-13 0,-1 14 16,1-1-16,-1 1 0,1-14 15,-1 13-15,1 1 0,-27 13 16,26-14-16,1-13 0,-27 40 15,40-40-15,-53 27 16,52-13-16,-12-14 0,-40 27 16,39-14-16,1-13 0,-1 14 0,1-14 15,-14 0-15,14 14 0,-1-14 0,-12 0 16,-1 13-16,14-12 0,-14-1 16,0 13-16,0-12 0,1-1 15,-1 13-15,-13-12 0,13-1 0,1 0 0,-1 0 16,-13 14-16,14-14 15,-67 13-15,66-12 0,-13-1 16,-92 27-16,92-27 16,-40 0-16,40 0 15,0-13-15,-39 13 0,39-13 16,13 14-16,-13-14 0,13 0 0,1 0 16,-1 13-16,-26-13 15,39 0-15,-12 0 0,-1 0 16,14 0-16,-14 0 0,-26 0 15,39 0-15,1-13 0,-1 13 0,-12 0 16,12 0-16,1 0 0,-1 0 16,-12 0-16,12 0 0,-52 0 15,66 0-15,-14 0 0,1-14 16,-14 28-16,0-28 16,27 14-16,-13 0 0,-27 0 15,39 0 1,1 0-16,-13 0 0,12 14 0,-12-14 15,13 0-15,0 0 16,-1 0-16,1 0 16,0 0-16,0 0 15,-1 0-15,1 0 16,0 0 0,0 0-16,0 0 15,13-14 1,-14 14-1,1 0 1,13-13 31</inkml:trace>
  <inkml:trace contextRef="#ctx0" brushRef="#br0" timeOffset="1064.92">13547 5662 0,'-27'13'31,"14"1"-16,0-14-15,0 13 0,-1-13 16,1 13-16,-27 0 16,27-13-1,0 13-15,0-13 0,-1 14 0,1-1 16,-13 0 0,13-13-16,-1 27 15,1-27-15,13 13 16,-13 0-16,13 0 15,13 1 1,-13-1-16,13-13 0,1 13 16,-1 0-16,13 14 15,-13-27-15,1 13 0,25 13 16,-25-12-16,-1-1 16,0 0-16,0-13 0,27 26 15,-27-26-15,40 27 16,-40-14-1,1-13-15,-14 13 16,13-13-16,0 0 16,0 14-1,0-14 1,-13 13 0,14-13-1,-1 0 79,0 0 15,-13-13 48,13 13-142,1-14 1,-1 1-16,13 0 0,14-14 15,0 1-15</inkml:trace>
  <inkml:trace contextRef="#ctx0" brushRef="#br0" timeOffset="2607.98">19817 2236 0,'-13'-14'0,"0"1"31,0 0-31,-1 13 0,14-13 16,-13 0-16,0-1 0,0 14 0,-1-13 15,1 13-15,0-13 16,0 13-16,-27-13 0,27-1 15,-14 14-15,-12-13 0,12 0 16,1 13-16,-1 0 0,-12-13 16,12 13-16,-12 0 0,-54-13 15,40 13-15,13-14 0,-52 14 16,52-13-16,-13 13 0,0 0 16,13-13-16,-52 13 0,39 0 15,0-13-15,0 13 0,-53 0 16,53 0-16,0-14 0,1 14 15,-1 0-15,0 0 0,0 0 16,0 0-16,0 0 0,0 0 0,0 0 16,0 0-16,0 0 0,0 0 0,0 14 15,1-14-15,-1 0 0,13 0 16,-66 13-16,53-13 0,13 0 16,-65 13-16,52 0 0,0-13 15,13 14-15,-13-14 0,14 13 16,-14-13-16,13 13 0,0 0 0,1 0 15,-1-13-15,-53 27 16,54-14-16,-41 14 0,41-14 16,-1 0-16,-40 13 15,41-12-15,-1-1 0,-39 13 16,39-12-16,-13-1 0,-26 13 16,39-12-16,-39 12 15,26-13-15,13 0 0,0 1 0,-65 25 16,65-25-16,-53 12 15,54 1-15,-14-14 0,-40 26 16,40-25-16,13-1 0,-79 27 16,80-27-16,-1 0 15,-26 0-15,26 1 0,-13-1 0,-53 26 16,67-25-16,-14-1 16,-53 13-16,53 1 0,13-14 15,-65 14-15,65-14 16,0 0-16,-39 13 0,39-12 15,14-1-15,-27 0 0,40 0 16,-14-13-16,1 14 0,12-1 16,-12-13-16,13 13 0,-14 0 15,14-13-15,0 0 0,0 13 16,-1-13-16,1 14 16,0-14-16,0 0 15,-1 13 1</inkml:trace>
  <inkml:trace contextRef="#ctx0" brushRef="#br0" timeOffset="3175.78">14102 2844 0,'-53'40'31,"53"-27"-15,-26 14-16,13-14 0,13 0 0,-27 27 16,14-40-1,0 26-15,13-13 16,-13 1-16,13-1 15,0 0 1,0 0-16,13-13 16,-13 14-16,13-14 15,0 13-15,0-13 0,1 0 16,-1 0-16,0 0 0,14 13 16,-14-13-16,0 0 0,14 0 0,-14 0 15,0 0-15,0 0 0,0 13 16,1-26-16,-1 26 0,13-13 15,-12 0-15,-1 0 16,13 0-16,-12 0 31,-1 0-31,0 0 16,-13-13 31</inkml:trace>
  <inkml:trace contextRef="#ctx0" brushRef="#br0" timeOffset="3896.68">13189 3175 0,'0'13'0,"-26"-26"32,26 0-17,-13 0 1,13-1 0,0 1-16,0 0 15,0 0 1,13 13-16,0 13 31,0-13-31,-13 13 0,14-13 16,-1 0-16,-13 13 0,13-13 15,0 14 1,1-14-16,-1 0 16,0-14-1,-13 1-15,13 0 16,-13 0-16,0-1 0,0-12 15,0 13-15,0-1 0,0-12 16,0 13-16,0 0 0,0-1 16,0 1-1,0 0-15</inkml:trace>
  <inkml:trace contextRef="#ctx0" brushRef="#br0" timeOffset="4566.96">12832 6072 0,'-13'0'0,"13"13"15,0 1-15,0-1 16,0 0-16,0 14 0,0-14 0,0 13 16,13-13-16,-13 14 0,0-14 15,0 14-15,14-14 0,-14 0 0,13 14 16,-13-14-16,0 0 0,0 0 15,13 0-15</inkml:trace>
  <inkml:trace contextRef="#ctx0" brushRef="#br0" timeOffset="4879.88">12766 6152 0,'-13'0'0,"39"-27"31,-12 27-31,12 0 16,-13 0-16,27 0 16,-14 13-16,-12-13 0,25 27 15,-12-1-15,-1-13 0,-12 14 0,-1-1 16,-13-12-16,13 12 0,-13 1 15,0-14-15,0 13 0,-13 1 0,-14 39 16,14-40-16,0 1 0,0-1 16,-1-13-16,1 1 0,-13 25 15,12-39-15,-12 14 0,13-1 16,0-13-16,-1 0 0</inkml:trace>
</inkml:ink>
</file>

<file path=ppt/ink/ink12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17:39.601"/>
    </inkml:context>
    <inkml:brush xml:id="br0">
      <inkml:brushProperty name="width" value="0.05292" units="cm"/>
      <inkml:brushProperty name="height" value="0.05292" units="cm"/>
      <inkml:brushProperty name="color" value="#FF0000"/>
    </inkml:brush>
  </inkml:definitions>
  <inkml:trace contextRef="#ctx0" brushRef="#br0">648 2910 0,'-13'0'0,"0"0"16,52-13 0,1 13-1,0-13-15,13 13 0,26-13 0,-13 0 16,27 13-16,-14-14 0,14 14 15,-14-13-15,14 0 0,-14 13 0,1-13 16,-1-1-16,-13 14 0,0 0 0,-13-13 16,0 13-16,-13 0 0,-1 0 15,-12 0-15,-1-13 0,1 26 16,-14-13-16</inkml:trace>
  <inkml:trace contextRef="#ctx0" brushRef="#br0" timeOffset="233.48">992 2977 0,'0'0'0,"27"0"16,-1 0 0,1-14-16,25 14 0,1 0 0,27-13 15,-1 13-15,1-13 0,-1 13 16,-13-13-16,13 13 0,-12-14 0,-1 14 15,-13 0-15,-14 0 0,1 0 0,0 0 16,-14 0-16,1 0 0,-14 0 16,13 0-16,-12 0 0,-1 14 0,0-14 15,-13 13-15</inkml:trace>
  <inkml:trace contextRef="#ctx0" brushRef="#br0" timeOffset="1220.17">2540 3043 0,'53'0'31,"-27"0"-31,27 0 0,0 0 0,13-14 15,14 14-15,-14-13 0,13 13 0,1-13 16,-1 0-16,-13 13 0,14-13 16,-28 13-16,1-14 0,-13 14 0,13 0 15,-27-13-15,1 13 0,-1 0 16,1 0-16,-14 0 0,0 0 0,0 0 16,1-13-16,-1 13 0,0 0 0,0 0 31,-26-13 31</inkml:trace>
  <inkml:trace contextRef="#ctx0" brushRef="#br0" timeOffset="2390.36">6694 2910 0,'26'0'15,"1"0"-15,-14 0 0,14 0 0,25 0 16,1 14-16,0-14 0,27 0 16,-1 0-16,-13 0 0,14 13 0,-1-13 15,-26 0-15,13 0 0,-13 0 16,13 0-16,-13 0 0,-13 0 0,-1 0 16,1 0-16,-13-13 0,-1 13 0,-13 0 15,14 0-15,-14 13 0,0-13 16,-13-13-16,13 26 0,1-13 0,-1 0 15,0 0-15,0-13 16</inkml:trace>
  <inkml:trace contextRef="#ctx0" brushRef="#br0" timeOffset="4601.26">11060 2381 0,'-14'27'0,"28"-1"16,-14-13-16,0 14 0,0-1 15,0 14-15,13 0 0,-13-14 16,0 14-16,13 0 0,-13-14 0,0 0 15,0 1-15,0-14 0,0 14 0,0-14 16,13 13-16,-13-12 0,0-1 16,0 0-16,0 0 0,0 0 15,0 1-15</inkml:trace>
  <inkml:trace contextRef="#ctx0" brushRef="#br0" timeOffset="7209.92">11007 2381 0,'13'-13'31,"0"13"-31,0 0 0,14 0 16,-14 0-16,13 0 0,-12 0 15,25 0-15,-12 0 0,13 0 16,-1 0-16,14 0 0,0 0 0,0 0 16,0 0-16,0 0 0,0-13 0,13 13 15,-13 0-15,13 0 0,0 0 16,0-13-16,-13 13 0,27 0 15,-14 0-15,0-14 0,13 14 0,1 0 16,-1-13-16,0 13 0,1-13 0,12 13 16,-12 0-16,-1-13 0,14 13 0,-14 0 15,14-14-15,-14 14 0,14 0 16,-14-13-16,0 13 0,1 0 16,-1 0-16,0 0 0,1 0 0,-1 0 15,-13-13-15,1 13 0,-15 0 0,15 0 16,-14 0-16,-1 0 0,1 0 15,0 0-15,0 0 0,0 0 0,-13 0 16,-14 0-16,14 0 0,-14 0 0,14 0 16,-13 0-16,-14 0 0,13 0 15,1 0-15,-14 0 0,0 0 0,0 0 16,1 0-16,-1 0 0,0 0 0,-13-13 16,27 13-16,-14 0 15,0 0 1,-13-14-16,13 14 31,-13-13 0,13 13 16,1 13 16,-1-13-16,0 0 62,0 0-93,1 0-16,-1 0 0,0 0 0,13 0 15,-12 0-15,12-13 0,14 13 16,-14 0-16,27 0 0,-13 0 0,13 0 15,-13 0-15,-1 0 0,1 0 0,13 0 16,0 0-16,-14 0 0,14 0 16,0 13-16,-13-13 0,13 0 0,-13 0 15,12 0-15,-12 0 0,13 14 0,-13-14 16,-1 0-16,14 0 0,-13 0 16,0 0-16,-1 13 0,-12-13 0,26 0 15,0 0-15,-14 0 0,1 0 16,0 0-16,13 0 0,-14 13 0,-12-13 15,13 0-15,-1 0 0,1 0 16,-14 0-16,14 13 0,-13-13 0,-1 0 16,14 0-16,-14 0 0,14 14 0,0-14 15,12 0-15,-25 0 0,26 13 16,-14-13-16,14 0 0,-13 13 0,0-13 16,-14 0-16,1 0 0,12 13 0,-12-13 15,39 0-15,-13 14 16,-27-14-16,1 0 15,-1 0-15,1 0 0,-1 0 0,1 0 0,-14 0 16,13 0-16,1 0 16,-14 13-16,13-13 0,-12 0 0,-1 0 15,13 0-15,-12 0 0,-1 0 0,0 0 16,0 0-16,1 0 0,12 0 16,-13 0-16,0 0 0,1 0 0,-1 0 15,0 0-15,0 0 0,1 0 0,-1 0 16,0 0-16,0 0 0,1 0 0,-1 0 15,13 0-15,-13 0 0,1 0 16,12 0-16,-13 0 0,1 0 16,12 0-16,-13 0 0,14 0 0,-1-13 15,-13 13-15,14 0 0,-1 0 16,-12 0-16,12 0 0,-13 0 0,14 0 16,-14 0-16,0 0 0,0-14 0,1 14 15,-1 0-15,0 0 0,0 0 16,1 0-16,-1 0 0,0 0 0,-13-13 15,13 13-15,0 0 0,1 0 16,-1 0-16,0 0 16,0 0-1,1 0-15,-1 0 16,0 0 0,0 13-1,1 1 1,-1-1-1,0 0 1,-13 0-16,13 0 0,-13 1 16,0-1-16,0 0 0,0 0 0,0 1 15,0-1-15,0 0 0,0 0 16,0 1-16,0-1 0,0 0 0,0 0 16,0 0-16,0 14 0,0-14 0,13 0 15,-13 1-15,0-1 0,0 0 16,0 0-16,0 1 0,0-1 15,0 0-15,14 0 0,-14 0 16,0 1 0,0-1-16,0 0 15,0 0 1,13-13-16,-13 14 16,0-1 15,-13-13 0,13 13-15,-14-13-16,1 13 15,0-13 1,0 0-16,0 0 0,-1 0 0,-12 14 16,-1-14-16,1 0 0,-14 13 15,-13-13-15,14 0 0,-28 0 16,15 0-16,-28 0 0,-12 0 0,-1 0 15,0 0-15,1 0 0,-14-13 0,-26 13 16,-1 0-16,1-14 0,0 14 0,13-13 16,-14 13-16,14-13 0,14 13 15,-1-13-15,-27 13 0,14-14 0,-13 14 16,13-13-16,13 13 0,0 0 0,-26-13 16,0 13-16,26 0 0,0 0 15,-26 0-15,39-13 0,-13 13 0,0 0 16,14 0-16,-1 0 0,14 0 15,-14 0-15,14 0 0,0 0 16,-1 0-16,27 0 0,0 0 0,-13 0 16,13 0-16,14 0 0,-1 0 0,0 0 15,14 0-15,-1 0 0,1 0 16,-1 0-16,1 0 0,13 0 0,-14 0 16,1 0-16,13 0 0,-14 0 0,14 0 15,-14 13-15,1-13 0,13 0 16,-14 0-16,1 0 0,-1 0 0,14 0 15,-13 0-15,12 0 0,1 13 0,-13-13 16,13 0-16,-1 0 0,1 0 16,0 0-16,0 0 0,-1 0 0,-12 0 15,13 0-15,-1 0 0,1 0 16,-13 0-16,13 13 0,-1-13 0,-12 0 16,13 0-16,-14 0 0,14 14 15,-14-14-15,1 0 0,0 0 0,-1 13 16,1-13-16,-1 0 0,1 13 0,-14-13 15,0 0-15,1 13 0,-1-13 16,-13 0-16,13 14 0,1-14 0,-14 13 16,26-13-16,-12 0 0,12 13 15,1-13-15,-1 0 0,-12 0 16,12 13-16,1-13 0,-1 0 0,1 13 16,-1-13-16,-12 0 0,12 0 0,1 14 15,-1-14-15,1 0 0,-14 13 16,14-13-16,-1 0 0,1 0 0,-14 13 15,14-13-15,-1 0 0,-13 0 0,14 0 16,-14 0-16,14 0 0,-1 0 16,1 0-16,-1 0 0,1 0 0,13 0 15,-14 0-15,1 0 0,13 0 0,-1 0 16,-12 0-16,13 0 0,-1 0 16,1 0-16,0 0 0,0 0 15,0 0-15,-1 0 0,1 0 16,0 0-16,0 0 15,-1 0-15,1 0 0,0 0 16,0 0-16,-1 0 0,1 0 0,0 0 16,0 0-16</inkml:trace>
  <inkml:trace contextRef="#ctx0" brushRef="#br0" timeOffset="8269.43">16100 4101 0,'0'0'0,"-13"79"0,-1-26 0,14 13 16,-13 14-16,0 39 0,0-13 15,0 13-15,-1 13 0,1 0 0,0 1 16,13-1-16,-13 14 0,13-14 0,0 13 16,0-12-16,-14-1 0,14-13 15,0 13-15,0-13 0,0-13 0,0-13 16,0-1-16,0-12 0,0-1 0,0-13 16,0 0-16,0 1 0,0-28 0,0 14 15</inkml:trace>
  <inkml:trace contextRef="#ctx0" brushRef="#br0" timeOffset="8669.25">17013 4048 0,'39'423'31,"-39"-303"-31,-13 12 0,13 0 16,-13 14-16,0-1 0,13 1 16,0-1-16,0-13 0,13 1 0,-13-1 15,0 0-15,13-13 0,-13-39 0,0 12 16,0-12-16,0-14 0,0 13 0,-13-26 16,13 0-16,0-13 0,-13 0 15,13-14-15,0 0 0,-14-12 0,14 12 16,0-13-16,-13-13 0,13 14 15</inkml:trace>
  <inkml:trace contextRef="#ctx0" brushRef="#br0" timeOffset="9153.31">13666 5530 0,'39'-13'15,"-12"13"-15,-1 0 0,14 0 0,13-14 16,-13 14-16,26 0 0,-27 0 15,14 0-15,0 0 0,0 0 0,0 14 16,0-14-16,0 0 0,-13 0 0,-1 0 16,-12 0-16,12 0 0,-12 0 15,-1-14-15,14 14 0,-13 0 0,-1 0 16,-13-13-16,14 13 0,-14 0 0,0-13 16,0 13-16,1-13 0,-1 13 15,-13-14-15,13 14 0,-13-13 16</inkml:trace>
  <inkml:trace contextRef="#ctx0" brushRef="#br0" timeOffset="9408.24">14618 5239 0,'93'53'31,"-80"-40"-31,0 0 0,1 0 0,-1 14 16,-13-14-16,13 0 0,-13 14 15,13-14-15,-13 0 0,0 0 0,0 14 16,-13-14-16,13 0 0,0 1 0,-13-1 16,13 0-16,-13 0 0,-1 0 15</inkml:trace>
  <inkml:trace contextRef="#ctx0" brushRef="#br0" timeOffset="9997.79">15425 4233 0,'0'27'15,"0"-14"-15,-13 0 16,13 0-16,0 1 0,0-1 15,0 13-15,0-12 0,0-1 0,0 0 16,0 0-16,0 1 0,0 12 0,0-13 16,0 0-16,0 1 15,0-1-15,0 0 16,13-13-16</inkml:trace>
  <inkml:trace contextRef="#ctx0" brushRef="#br0" timeOffset="10374.65">15425 4247 0,'0'-27'0,"13"27"15,1 0 1,-1-13-16,0 13 0,0 0 15,1 0-15,-1 0 0,0-13 0,0 13 16,1 0-16,12 0 16,-26 13-16,13-13 0,0 13 15,1-13-15,-1 13 16,-13 1 0,13-1-16,-13 0 0,0 0 0,0 0 15,0 1-15,0-1 0,0 0 16,0 0-16,-13 14 0,13-14 15,-13 0-15,-1 1 0,1-1 0,0 0 16,-13 0-16,12 0 0,1 1 16,0-1-16,-14 0 0,14-13 15,0 13-15,0-13 0,13 14 0,-14-14 16</inkml:trace>
  <inkml:trace contextRef="#ctx0" brushRef="#br0" timeOffset="10830.05">17476 4313 0,'0'-14'0,"0"41"47,0-14-47,0 0 16,0 1-16,0-1 0,-14 0 16,14 0-16,0 1 0,0-1 0,0 0 15,0 0-15,0 0 0,0 1 16,0-1-16,0 13 15,14-12 1</inkml:trace>
  <inkml:trace contextRef="#ctx0" brushRef="#br0" timeOffset="11205.04">17529 4313 0,'0'0'0,"39"-14"16,-25 14-16,-1-13 16,0 13-16,0 0 0,-13 13 15,13-13-15,1 0 0,-1 0 16,0 14-16,0-14 0,1 13 15,-14 0-15,13-13 16,-13 13-16,0 1 0,0-1 16,0 0-16,0 0 15,0 1-15,0-1 16,0 0-16,0 0 0,-13-13 16,13 13-16,0 1 0,-14-1 15,1-13-15,13 13 16,-13-13-16,0 13 0,-1-13 15,-12 14-15,13-14 16,0 13-16,-1-13 0,-12 0 0,13 13 16,-14-13-16</inkml:trace>
  <inkml:trace contextRef="#ctx0" brushRef="#br0" timeOffset="11665.38">15438 4829 0,'-13'13'0,"13"0"16,-13-13-16,13 13 0,0 1 0,0-1 15,0 13-15,0-13 0,0 1 0,0 12 16,0-13-16,0 1 0,0 12 16,0-13-16,0 1 0,0-1 0,0 0 15,0 0-15,0 0 0,0 1 16</inkml:trace>
  <inkml:trace contextRef="#ctx0" brushRef="#br0" timeOffset="11965.64">15359 4749 0,'66'27'31,"-39"-27"-31,-14 13 0,0 0 16,0 0-16,1 1 0,-1 12 0,0-13 15,0 1-15,-13-1 0,0 0 16,14 0-16,-14 0 0,-14 1 0,14-1 16,0 0-16,-13 14 0,0-14 0,0 0 15,-1 0-15,1 14 0,-13-14 16,12 0-16,1 0 0,-13 1 0,13-1 15,-1-13-15,1 13 0,13 0 0,-13-13 16,0 0-16,13 14 0</inkml:trace>
  <inkml:trace contextRef="#ctx0" brushRef="#br0" timeOffset="12322.77">17291 5001 0,'13'26'32,"-13"-13"-32,0 14 0,0-14 15,0 0-15,0 0 0,0 1 16,13-1-16,-13 0 0,0 14 0,0-14 15,0 0-15,0 0 0,13 1 16,-13-1-16</inkml:trace>
  <inkml:trace contextRef="#ctx0" brushRef="#br0" timeOffset="12587">17357 4934 0,'13'-13'0,"-26"26"0,39-26 16,-13 0-16,1 26 16,-1-13-16,0 13 15,0-13-15,-13 14 0,13-1 0,1 0 16,-1 14-16,0-14 0,-13 0 16,13 14-16,-13-1 0,0-13 0,0 0 15,0 14-15,0-14 0,-13 14 16,13-14-16,-13 13 0,0-12 0,-1 12 15,1-13-15,-13 0 0,-1 1 0,1-1 16,-1 0-16,1 0 0,0-13 16,-14 14-16,13-14 0</inkml:trace>
  <inkml:trace contextRef="#ctx0" brushRef="#br0" timeOffset="13089.22">15518 5649 0,'-40'53'15,"40"-27"1,-13-13-16,13 14 0,-13-1 0,13 1 15,-14-1-15,14 1 0,-13-14 16,13 13-16,-13 1 0,13-14 0,0 0 16,0 1-16,0-1 0,0 0 0</inkml:trace>
  <inkml:trace contextRef="#ctx0" brushRef="#br0" timeOffset="13373.05">15399 5662 0,'0'-13'0,"0"26"0,13-26 15,0 13-15,0 0 16,1 0-16,-1 13 0,0 0 16,-13 1-16,13-1 0,1 0 0,-1 0 15,0 14-15,0-14 0,1 13 0,-14-12 16,0-1-16,13 13 15,-13-12-15,0 12 0,0-13 0,-13 14 16,13-14-16,-14 13 0,14-12 0,-13 12 16,0-13-16,0 0 0,13 1 15,-14-1-15,1 0 0,0 0 16</inkml:trace>
  <inkml:trace contextRef="#ctx0" brushRef="#br0" timeOffset="13833.25">17489 5609 0,'-13'27'0,"-14"65"15,27-79 1,-13 14-16,13-14 15,0 14-15,-13-14 0,13 13 0,0-12 16,0-1-16,0 0 0,0 0 0,0 0 16,13 1-16,-13-1 0</inkml:trace>
  <inkml:trace contextRef="#ctx0" brushRef="#br0" timeOffset="14145.23">17436 5662 0,'13'-13'0,"0"0"16,1 13 0,-1 0-16,0 0 0,14 0 0,-14 0 15,0 0-15,0 0 0,14 0 0,-14 13 16,0-13-16,-13 13 0,13 0 15,-13 1-15,14-1 0,-14 0 0,0 0 16,-14 14-16,14-14 0,-13 0 0,13 14 16,-13-14-16,0 13 0,0-12 15,-1-1-15,14 0 0,-13 0 0,0 0 16,0 1-16,-1-1 0,1 0 16,13 0-16,-13 1 0,0-14 15,-1 13-15</inkml:trace>
  <inkml:trace contextRef="#ctx0" brushRef="#br0" timeOffset="14496.15">15558 6668 0,'0'26'0,"-14"14"16,14-27-16,0 13 0,-13 1 16,13-1-16,0-13 0,0 14 0,-13-1 15,13-12-15,0 12 0,0-13 16,0 1-16,0 12 0,0-13 16</inkml:trace>
  <inkml:trace contextRef="#ctx0" brushRef="#br0" timeOffset="14762.13">15505 6628 0,'13'-13'0,"-26"26"0,26-40 0,0 27 16,0 0-16,1 14 0,-1-14 15,0 13-15,0 0 0,0 0 16,1 1-16,-1 12 0,0-13 0,0 14 15,1-1-15,-14-13 0,0 14 16,0-1-16,-14 14 0,1-14 0,0 14 16,0 0-16,-1-14 0,-12 1 0,13-1 15,-14 1-15,14-14 0,0 0 16,0 0-16,-1-13 0,14 14 0,-13-14 16</inkml:trace>
  <inkml:trace contextRef="#ctx0" brushRef="#br0" timeOffset="15176.96">17608 6178 0,'-13'40'0,"13"-27"0,-13 0 15,13 14-15,0-14 0,-14 13 16,14 1-16,0-1 0,-13 1 0,13-1 16,0-13-16,0 14 0,-13-1 0,13-12 15,0-1-15,0 0 0,0 13 16,0-12-16,0-1 0,13 0 15</inkml:trace>
  <inkml:trace contextRef="#ctx0" brushRef="#br0" timeOffset="15488.27">17542 6271 0,'13'-27'0,"14"14"31,-14 13-31,0 0 0,0 0 16,0 0-16,14 13 0,-14-13 15,0 13-15,1 1 0,12-1 16,-13 0-16,1 0 0,-1 1 0,0 12 16,-13-13-16,13 14 0,0-14 0,-13 13 15,0-12-15,0 12 0,0 1 0,-13-1 16,0 0-16,0 14 0,0-13 15,-1-1-15,-12 1 0,13-1 0,-1-13 16,1 0-16,-13 1 0,12-1 0,1 0 16,0 0-16,0-13 0,0 14 15,-1-14-15,1 0 0,0 0 16,0 0-16,-1 0 0</inkml:trace>
  <inkml:trace contextRef="#ctx0" brushRef="#br0" timeOffset="20512.9">17634 4114 0,'0'0'0,"80"-13"15,-67 13-15,0 0 16,1-13-16,12 13 0,-13 0 16,0 0-16,1 0 15,-1 0-15,0 0 0,0 13 16,1-13-16,-1 13 0,0 1 15,0-1-15,-13 0 16,14 13-16,-1-12 0,0 25 0,-13-12 16,13 12-16,0 1 0,1 0 0,-1 0 15,0 12-15,0 1 0,1 0 16,-1 0-16,0 0 0,0 0 16,14 0-16,-14 0 0,0 13 0,0-13 15,14 13-15,-14 0 0,0 0 16,1 1-16,-1-1 0,0 13 0,0-13 15,0 14-15,1-1 0,-1 0 0,-13-13 16,13 14-16,0-14 0,-13 13 0,14-13 16,-14 1-16,13-1 0,-13 0 15,13-13-15,0 13 0,-13-13 0,14 0 16,-1-13-16,0 12 0,-13-12 0,13 0 16,0 0-16,-13-1 0,14 1 15,-14 0-15,0-14 0,13 0 0,-13 1 16,0-1-16,13 1 0,-13-1 0,0 1 15,0-14-15,0 0 0,0 14 16,13-14-16,-13 0 0,0 0 16,0 1-16,0-1 0,0 0 15,0 0-15,-13-13 16,13 14-16,-13-1 16,0-13-16,-1 13 0,1-13 15,0 13-15,-13 0 0,12-13 0,-12 14 16,-14-1-16,0 0 0,1 0 15,-1 1-15,-13 12 0,-13-13 0,13 0 16,0 14-16,-13-14 0,13 0 0,13 1 16,-12-1-16,12 0 0,0-13 0,14 13 15,-1-13-15,1 14 0,13-14 16,-1 0-16,-12 0 0,13-14 16,-1 14-16,1-13 15</inkml:trace>
  <inkml:trace contextRef="#ctx0" brushRef="#br0" timeOffset="21409.06">18322 5741 0,'40'0'15,"-40"-13"-15,13 13 0,1 0 16,-1 0-16,13 0 0,-13 0 0,1-13 16,12 13-16,1 0 0,-14 0 15,13-13-15,1 13 0,-1 0 0,1 0 16,-14-13-16,13 13 0,1 0 0,-1 0 16,-13-14-16,14 14 0,-14 0 15,0 0-15,1 0 0,-1 0 0,0-13 16,0 13-16,1 0 15,-1 0-15,0 0 16,0 0 0</inkml:trace>
  <inkml:trace contextRef="#ctx0" brushRef="#br0" timeOffset="21825.03">18746 5490 0,'0'-13'0,"26"26"47,-13-13-47,1 13 15,-1-13-15,0 14 16,0-14-16,1 0 0,-1 13 15,0-13-15,0 13 0,0-13 0,1 0 16,-1 13-16,0-13 0,0 13 16,1-13-16,-1 0 15,-13 14-15,13-14 0,-13 13 16,0 0-16,0 0 0,-13 1 16,0 12-16,-1 1 0,-12 12 15,-1-12-15,1 12 0,0 1 0,-14 0 16,13-1-16,-12 1 0,-1 0 0,14-1 15,-14 1-15,0 13 0,14-13 16,-1-1-16,-12 1 0,12 0 0</inkml:trace>
  <inkml:trace contextRef="#ctx0" brushRef="#br0" timeOffset="24210.22">23204 4855 0,'0'-13'16,"13"39"-1,-13-12-15,0 25 16,0-12-16,0-14 16,0 13-16,0 1 0,-13-1 0,13 1 0,0-1 15,0 1-15,0-1 0,-13-13 16,13 1-16,0 12 0,0-13 15,0 1-15,0-1 0,13 0 16</inkml:trace>
  <inkml:trace contextRef="#ctx0" brushRef="#br0" timeOffset="24753.17">23270 4749 0,'53'-13'0,"-106"26"0,119-39 0,-39 26 16,12-13-16,1 13 0,0-14 15,-1 1-15,14 13 0,0-13 0,-13 13 16,13-13-16,-13 13 0,12-14 15,-25 14-15,13 0 0,-14 0 0,1 0 16,-1-13-16,0 13 0,-12 0 0,-1 0 16,0 0-16,0 0 0,1 0 0,-1 0 15,0 0-15,-13 13 16,13-13-16,1 14 0,-14-1 16,13-13-16,-13 13 0,0 0 15,13 1-15,-13 12 0,13-13 16,-13 0-16,13 14 0,-13-1 0,14-12 15,-14 12-15,13 1 0,-13-1 0,13 0 16,-13 1-16,13-14 0,-13 14 0,0-1 16,14 1-16,-14-1 0,0-13 15,0 0-15,13 14 0,-13-14 0,0 0 16,0 14-16,0-14 0,0 0 0,0 1 16,0-1-16,0 0 15,-13-13-15,13 26 0,-14-26 0,1 14 16,0-1-16,0 0 0,-1 0 15,1-13-15,-13 14 0,-1-1 0,-12 0 0,12 0 16,-13-13-16,1 14 0,-14-14 16,13 13-16,0-13 0,1 0 0,-41 0 15,41 0-15,-1 0 0,0 0 16,-13-13-16,14 13 0,-1-14 16,0 14-16</inkml:trace>
  <inkml:trace contextRef="#ctx0" brushRef="#br0" timeOffset="25445.72">22939 5027 0,'-26'0'31,"13"0"-15,-1 0-16,-12-13 15,13 13-15,-14 0 0,1 0 0,-1 0 16,-26 0-16,14 0 0,-14 0 15,0 0-15,0 0 0,0 0 0,0 0 16,0 13-16,14-13 0,-14 0 0,0 0 16,0 0-16,0 13 0,0-13 15,13 0-15,-13 0 0,14 14 0,-14-14 16,13 0-16,-13 0 0,27 0 0,-14 0 16,14 13-16,-14-13 0,13 0 15,1 0-15,-14 0 0,14 0 0,-1 0 16,1 0-16,-1 0 0,14 0 0,-13 0 15,13 0-15,-1 0 16,1 0-16,0 0 0,0 0 0,-14 0 16,14 0-1,0 0 1,-1 0 0,1 13-1,0-13 1</inkml:trace>
  <inkml:trace contextRef="#ctx0" brushRef="#br0" timeOffset="25997.29">21352 4934 0,'-13'0'32,"-14"0"-32,14 0 15,0 14 1,-1-14-16,1 0 0,0 13 15,0-13-15,0 13 0,-1 0 16,1-13-16,0 0 0,13 14 16,-13-14-16,-1 13 0,1-13 15,13 13-15,-13-13 0,13 13 0,-13 1 32,13-1-32,13 0 15,-13 0 1,13-13-16,-13 13 0,13-13 15,1 14-15,-1-14 0,0 13 0,0 0 16,1-13-16,-1 13 0,0-13 16,0 14-16,0-1 0,14-13 15,-14 13-15,0-13 0,1 13 0,-1-13 16,0 14-16,0-14 0,1 13 0,-1-13 16,0 13-16,0-13 15,0 0-15,-13 13 16,14-13-16,-1 13 15,0-13 17,-13 14-17,0-1 1</inkml:trace>
  <inkml:trace contextRef="#ctx0" brushRef="#br0" timeOffset="26678.19">23191 5622 0,'13'27'16,"-13"-14"-16,0 0 0,0 1 15,0 12-15,0-13 0,0 14 0,0-1 16,0 1-16,0-1 0,0 1 0,0 12 16,0-12-16,0-1 0,0-13 15,0 14-15,0-14 0,0 13 0,0-12 16,0-1-16,0 0 0,-13 0 0,13 1 16,0-1-16,0 0 15,13-39 16</inkml:trace>
  <inkml:trace contextRef="#ctx0" brushRef="#br0" timeOffset="27320.24">23019 5556 0,'39'-13'16,"-25"0"-16,-1 13 15,13 0-15,14-13 0,-13 13 16,25 0-16,-12-14 0,13 14 0,0 0 16,0 0-16,0-13 0,13 13 0,-13 0 15,13 0-15,-13 0 0,0 0 16,0 0-16,-14 0 0,1 0 0,0-13 15,-14 13-15,-13 0 0,14 0 0,-1 0 16,-12 0-16,-1 0 0,0 0 16,0 0-16,1 0 0,-1 0 15,0 0-15,0 0 16,0 0 0,-13 13-16,14-13 15,-14 13-15,0 1 16,0-1-16,13 0 0,-13 0 0,0 14 15,0-14-15,0 13 0,0 1 16,0-1-16,13 1 0,-13-1 0,0 1 16,0-1-16,13 1 0,-13-1 0,14 1 15,-14-1-15,13-13 0,-13 14 16,0-1-16,13-13 0,0 14 0,-13-14 16,14 0-16,-14 0 0,0 1 0,13-1 15,-13 0-15,0 0 16,0 1-16,13-14 0,-13 13 15,0 0-15,-13 0 16,0-13 0,-1 0-16,-12 0 15,13 14-15,-14-14 0,1 0 0,-1 0 16,-26 0-16,0 0 0,0 13 16,1-13-16,-1 0 0,-14 0 0,28 0 15,-14 0-15,13 0 0,14 0 0,-1 0 16,1 0-16,-1-13 0,14 13 0,0 0 15,-14 0-15,14 0 0,0-14 16,0 14-16</inkml:trace>
  <inkml:trace contextRef="#ctx0" brushRef="#br0" timeOffset="28327.98">22979 5887 0,'13'0'16,"1"-13"-1,-1 13 1,0 0-1,-66 13 32,40-13-47,-14 0 0,1 0 16,-14 0-16,1 0 0,-28 0 16,1 0-16,-13 0 0,-1 0 0,14 13 15,-13-13-15,13 0 0,-14 13 0,1-13 16,13 14-16,-13-14 15,-1 13-15,14-13 0,13 13 0,0-13 16,14 13-16,-1-13 0,13 0 0,1 0 16,-1 0-16,14 14 0,-13-14 15,13 0-15,-1 0 0,1 0 0,0 0 16,0 0-16,-1 0 0,1 0 16,0 0-16,13 13 0,-13-13 15,-1 0 1,1 0-16,0-13 47</inkml:trace>
  <inkml:trace contextRef="#ctx0" brushRef="#br0" timeOffset="28892.96">21511 5834 0,'-27'13'31,"14"1"-16,0-14-15,13 13 0,-14-13 0,1 0 16,0 13-16,0 0 16,0-13-16,13 13 0,-14-13 0,1 14 15,0-14-15,13 13 16,-13-13-16,-1 13 16,14 0 15,0 1 0,14-14-31,-14 13 16,13-13-16,-13 13 15,13-13-15,-13 13 0,13-13 16,1 0-16,-14 13 0,13-13 0,0 14 16,0-14-16,0 0 15,1 13-15,-1 0 0,0-13 16,0 13-16,1-13 0,-14 14 15,13-14-15,0 0 16,-13 13-16,13 0 16,1-13-1,-1 13-15,-13 1 16,13-14 0,0 13-16,0-13 15</inkml:trace>
  <inkml:trace contextRef="#ctx0" brushRef="#br0" timeOffset="29552.34">23310 6416 0,'0'40'32,"0"-27"-32,0 14 0,0-14 0,0 13 15,0 1-15,-13-1 0,13 1 16,0-1-16,0 1 0,0-1 16,0 0-16,0 1 0,0-14 0,0 0 15,0 14-15,0-14 0,0 0 0,0 0 16,0 1-16,0-1 15</inkml:trace>
  <inkml:trace contextRef="#ctx0" brushRef="#br0" timeOffset="30300.1">23244 6324 0,'-14'0'15,"28"0"-15,-28-14 0,41 14 16,-14 0-1,0 0-15,1 0 0,12 0 0,0 0 16,1-13-16,13 13 0,-14 0 16,27 0-16,-13 0 0,13 0 15,0 0-15,-14 0 0,1 0 0,0 0 16,-14 0-16,0 0 0,1 0 0,-1 0 16,-12 0-16,12 0 0,-13 0 15,1 0-15,-1 0 0,0 0 16,0 0-16,0 0 15,1 0-15,-1 0 16,0 0 0,-13 13-1,0 1 1,0-1-16,0 0 16,0 0-16,0 0 0,0 1 0,0-1 15,0 13-15,0 1 0,0-14 0,0 14 16,0-1-16,0 0 0,0 1 15,0-14-15,0 14 0,0-14 0,0 13 16,0-12-16,13 12 0,-13-13 0,0 0 16,0 14-16,0-14 0,0 14 15,14-27-15,-14 13 0,0 0 16,0 0-16,0 0 16,0 1-1,0-1 1,-14-13-16,1 0 0,0 0 15,0 0-15,-1 13 0,-12-13 16,0 0-16,-1 0 0,1 13 0,-14-13 16,13 0-16,1 0 0,-14 14 0,14-14 15,-1 0-15,-12 0 0,12 0 16,14 13-16,-13-13 0,12 0 16,-12 0-16,13 0 0,-1 0 0,1 0 0,0 0 15,0 0-15,13-13 0,-13 13 16,-1 0-16,1 0 0,0 0 15</inkml:trace>
  <inkml:trace contextRef="#ctx0" brushRef="#br0" timeOffset="31108.44">23230 6575 0,'-39'13'31,"26"-13"-31,-14 0 0,1 13 16,-14-13-16,-13 14 0,13-14 0,-13 13 15,14-13-15,-27 13 0,-1-13 16,1 13-16,-13-13 0,13 14 0,13-14 15,-13 0-15,13 0 0,0 13 0,-13-13 16,13 0-16,0 0 0,0 13 16,0-13-16,0 0 0,27 0 0,-14 0 15,14 0-15,12 0 0,-12 0 0,13 0 16,-1 0-16,1 0 16,0 0-16,0 0 0,-1 0 0,1 0 15,0 0-15,0 0 16,0 0-1,-1 13 1,1-13-16,0 0 16,0 0-1</inkml:trace>
  <inkml:trace contextRef="#ctx0" brushRef="#br0" timeOffset="31745.89">21696 6535 0,'-13'0'0,"-1"13"0,1-13 15,0 0-15,13 14 0,-13-14 16,-1 13-16,1-13 16,0 13-16,0-13 15,13 13-15,-13-13 0,-1 14 16,1-1-1,0 0 1,13 0-16,-13 1 16,13-1-1,0 0 1,0 0 0,13 0-1,0 1 1,-13-1-1,13-13 1,1 13 0,-14 0-1,13-13 1,-13 14-16,13-14 31,-13 13-31,13-13 16,-13 13-16,13-13 15,1 13 1,-1 0 0,0-13-16,0 14 15,1-14-15,-1 0 0,0 0 16,0 13-16,14-13 0,-1 0 0</inkml:trace>
  <inkml:trace contextRef="#ctx0" brushRef="#br0" timeOffset="32416.12">23204 7223 0,'-13'66'31,"13"-39"-31,0-1 0,0 1 0,0-1 0,0 14 16,0-1-16,0 1 0,0 0 16,0 0-16,0-1 0,0-12 0,0-1 15,-13 1-15,13-1 0,0 1 16,0-1-16,0-13 0,0 0 0,0 1 16,-14-1-16,14 0 0,0 0 0,0 1 15</inkml:trace>
  <inkml:trace contextRef="#ctx0" brushRef="#br0" timeOffset="33125.24">22926 7170 0,'0'0'0,"13"0"0,1 0 0,-1-13 16,13 13-16,-12 0 0,25 0 16,1-13-16,0 13 0,-1-13 0,14 13 15,0 0-15,0 0 0,0-14 16,0 14-16,0 0 0,0-13 15,0 13-15,0 0 0,-1 0 0,-12-13 16,-13 13-16,12 0 0,-26 0 0,14 0 16,-1 0-16,-12 0 0,-1 0 15,0 0-15,0-13 0,1 13 0,12 0 16,-13 0 0,0 0-1,1 0 1,-1 0-16,-13 13 15,13 0 1,-13 0 0,0 1-16,0-1 15,13 0-15,-13 0 0,0 14 0,14-1 16,-14 1-16,0-1 0,0 0 16,13 1-16,-13-1 0,0 1 0,13-1 15,-13 1-15,0-1 0,0 1 0,13-1 16,-13-13-16,0 14 0,0-14 15,14 14-15,-14-14 0,0 0 0,0 0 16,13 0-16,-13 1 0,0-1 16,13 0-16,-13 0 15,-13 1 1,0-1 0,-1-13-1,1 0-15,-13 13 0,12-13 16,-12 0-16,-1 13 0,-12-13 0,-14 14 15,13-1-15,-13-13 0,0 13 0,0 0 16,1 0-16,-1-13 0,0 14 0,13-1 16,-13 0-16,13-13 0,14 13 15,-1-13-15,1 0 0,13 0 0,-14 14 16,14-14-16,0 0 0,0 0 16</inkml:trace>
  <inkml:trace contextRef="#ctx0" brushRef="#br0" timeOffset="33901.37">23257 7488 0,'0'-14'16,"-53"14"0,27 0-16,12 0 15,-12 0-15,-14 0 0,0 0 16,1 0-16,-14 0 0,13 0 0,-13 0 15,0 0-15,0 0 0,0 0 16,1 0-16,-1 0 0,0 14 0,-13-14 16,13 0-16,0 0 0,13 0 0,-13 0 15,13 0-15,1 0 0,-1 0 16,14 13-16,-14-13 0,13 0 0,-12 0 16,26 0-16,-14 0 0,1 0 0,12 0 15,-12 0-15,13 0 0,0 0 16,-1 13-16,1-13 15,0 0-15,0 0 0,-1 0 16,1 0 0,0 0-1,0 0 1,-1 0-16,14 13 16</inkml:trace>
  <inkml:trace contextRef="#ctx0" brushRef="#br0" timeOffset="34423.28">21974 7369 0,'0'-14'15,"-27"28"32,14-14-47,0 0 0,0 13 0,-1 0 16,-12-13-16,13 13 0,-1-13 15,1 14-15,-13-1 0,12-13 0,1 13 16,0-13-16,0 13 0,0-13 0,-1 13 16,1-13-16,13 14 15,-13-14-15,0 13 16,13 0-16,13 0 15,-13 1 1,13-1-16,0 0 0,1 0 0,12 1 16,0-1-16,1 13 0,-1-13 0,1 1 15,-1-1-15,1 0 0,-14 0 16,13 1-16,1-1 0,-14-13 0,0 13 16,1 0-16,12-13 0,-13 14 0,0-1 15,1 0-15,-1 0 16,0 0-16,0 1 0,-13-1 15</inkml:trace>
  <inkml:trace contextRef="#ctx0" brushRef="#br0" timeOffset="37521.11">741 5649 0,'13'13'0,"0"-13"16,14 0-16,-1 13 0,27-13 16,0 14-16,13-14 0,14 0 0,12 13 15,1-13-15,13 0 0,-14 0 0,54 0 16,-14 0-16,14-13 0,12 13 16,-12-14-16,13 1 0,-14 0 0,1 13 15,-1-13-15,1-1 0,-1 14 0,-13-13 16,-39 13-16,13 0 0,-14-13 15,-12 13-15,12 0 0,-25 0 0,-1 0 16,-13 0-16,-14 0 0,-12 0 0,13 0 16,-27 0-16,13 0 15,-13 0-15,1 0 0,-1 0 0,-40 0 47</inkml:trace>
  <inkml:trace contextRef="#ctx0" brushRef="#br0" timeOffset="38408.22">5173 5569 0,'79'0'0,"-39"0"15,-1 0-15,14 0 0,13 0 0,1 0 16,25 0-16,1-13 0,-1 13 15,14 0-15,-13 0 0,26 0 16,-13-13-16,0 13 0,-1 0 0,-12-13 0,13 13 16,-14 0-16,1 0 0,0-13 15,-14 13-15,0 0 0,1-14 16,-27 14-16,0 0 0,-14 0 0,-12 0 16,-1 0-16,1 0 0,-14 0 0,0 0 15</inkml:trace>
  <inkml:trace contextRef="#ctx0" brushRef="#br0" timeOffset="38729.25">5371 5808 0,'40'0'15,"-14"0"-15,1 0 0,26 0 0,13-14 16,13 14-16,14-13 0,-1 13 0,27-13 16,-13 0-16,26-1 0,-39 14 15,39-13-15,-39 13 0,13-13 16,-14 13-16,14 0 0,-13 0 0,66-13 16,-80 13-16,-26 13 0,0-13 15,-14 0-15,-12 0 0,-1 0 0,1 0 16,-14 0-16,0 0 0,14 13 15,-14-13-15,0 0 16,0 0-16,1 0 16,-1 0-16,0 0 15,0 0-15</inkml:trace>
  <inkml:trace contextRef="#ctx0" brushRef="#br0" timeOffset="39245.37">4128 5014 0,'39'-13'0,"133"-1"15,-92 14 1,-1-13-16,0 13 0,1-13 0,-1 13 15,14-13-15,-1 13 0,1-14 0,-1 14 16,1 0-16,-14-13 0,1 13 16,-1-13-16,1 13 0,-1-13 0,-13 13 15,0 0-15,-26-13 0,13 13 0,-13 0 16,-14 0-16,-13 0 0</inkml:trace>
  <inkml:trace contextRef="#ctx0" brushRef="#br0" timeOffset="39514.01">4445 5133 0,'53'0'0,"-27"0"0,160-27 16,-120 27-16,13-13 15,-13 0-15,14 13 0,-1-13 16,0 13-16,1-13 0,-14-1 0,0 14 16,-13 0-16,0-13 0,13 13 0,-13-13 15,-13 13-15,13 0 0,-14 0 16,1-13-16,0 13 0,-14 0 16,1 0-16,-1 0 0,0 0 0,1 0 15</inkml:trace>
  <inkml:trace contextRef="#ctx0" brushRef="#br0" timeOffset="41086.28">6152 4921 0,'-14'-13'0,"14"0"0,0 0 16,-13-1-16,0 1 0,-14-13 16,14-1-16,-27-13 0,14-12 0,-14-1 15,1 0-15,-1 0 0,0-27 16,-13 1-16,14 0 0,-14-1 0,13 1 16,-13 13-16,13 0 0,1 13 15,-1 13-15,0 0 0,14 1 0,0 12 16,-1 1-16,1-1 0,-1 14 15,14 0-15,0 0 0,-1 13 0,1 0 16,0-14-16,0 14 0,13 14 16</inkml:trace>
  <inkml:trace contextRef="#ctx0" brushRef="#br0" timeOffset="41378.21">5331 3797 0,'-26'26'15,"26"-13"-15,-13 14 0,-1-1 16,1 1-16,0 13 0,0-1 0,0-12 16,-14 79-1,14-80-15,13 0 0,-13 1 0,13-1 16,0-12-16,0 12 0,-14-13 0,14 0 16,0 1-16</inkml:trace>
  <inkml:trace contextRef="#ctx0" brushRef="#br0" timeOffset="41620.21">5120 3836 0,'0'0'16,"53"0"-16,-40 14 0,13-14 0,1 13 15,-1-13-15,14 13 0,0-13 0,-1 13 16,-12-13-16,12 14 0,-12-1 0,13 0 16,-14-13-16,0 13 0,1-13 15,-1 14-15,1-14 0,-1 13 0,-12-13 16,12 13-16,-13-13 0</inkml:trace>
  <inkml:trace contextRef="#ctx0" brushRef="#br0" timeOffset="48299.25">4194 8017 0,'0'26'0,"0"-12"16,0 12-16,0-13 16,0 14-16,0-1 0,-14 54 15,1-41-15,13 1 0,0-14 0,-13 1 16,13-1-16,0 1 0,-13-14 16,13 13-16,0-12 0,0-1 0,-13 0 15,13 0-15,0 1 0,0-1 16</inkml:trace>
  <inkml:trace contextRef="#ctx0" brushRef="#br0" timeOffset="48628.43">4736 8123 0,'-13'-14'31,"0"28"-31,-1-14 0,14 13 16,-13 0-16,0 0 0,0 1 15,-1 12-15,-12 1 0,13-1 0,0 0 16,-14 1-16,14-1 0,0 1 0,13-14 16,-14 0-16,1 1 0,0-1 15,13 0-15,-13 0 0,13 0 0,-14-13 16,14 14-16,-13-14 0,13 13 16</inkml:trace>
  <inkml:trace contextRef="#ctx0" brushRef="#br0" timeOffset="48878.43">4445 8229 0,'0'-14'0,"13"41"31,0-27-31,-13 13 0,14 0 0,-14 0 16,13 1-16,0-1 0,-13 0 16,13 0-16,1 1 0,-14-1 15,13 0-15,0 0 0,-13 1 0,13-1 16,1 0-16,-1 0 0,0-13 16</inkml:trace>
  <inkml:trace contextRef="#ctx0" brushRef="#br0" timeOffset="49127.4">4934 8136 0,'0'40'31,"0"-27"-31,0 0 16,0 0-16,0 1 0,0-1 16,-13 0-16,13 0 0,0 0 0,0 1 15,0-1-15,0 0 0,0 0 16,0 1-16,0-1 0,0 0 16</inkml:trace>
  <inkml:trace contextRef="#ctx0" brushRef="#br0" timeOffset="49565.09">5252 8176 0,'-13'0'0,"-53"13"32,52-13-32,1 0 15,13 13-15,-13-13 0,13 13 16,0 1-1,13-1-15,0-13 0,-13 13 16,14 0-16,-1 0 0,0 1 0,0-1 16,1 0-16,-14 0 15,13 1-15,-13-1 0,0 0 16,-13 0-16,-1 1 0,1-1 16,0 0-16,-14 0 0,1 0 0,-1 1 15,1-1-15,0 0 0,-41 0 16,41 1-16,-1-14 0,1 0 15,-14 0-15,14 13 0,-1-26 0,-12 13 16</inkml:trace>
  <inkml:trace contextRef="#ctx0" brushRef="#br0" timeOffset="49873.47">3797 7977 0,'-40'53'0,"27"-26"15,0 12-15,-1 1 0,1 0 0,0 13 16,0-1-16,13 1 0,0 0 0,0-13 15,0 0-15,13 13 0,0-14 16,14 1-16,-1 13 0,1-27 16,12 14-16,1-14 0,0 1 0,13-14 15,-14 0-15,14 1 0,0-14 16,0 0-16,13 0 0,13-14 0,1 1 16</inkml:trace>
  <inkml:trace contextRef="#ctx0" brushRef="#br0" timeOffset="50261.16">5503 7990 0,'27'0'0,"-54"0"0,80 14 0,-40-14 15,1 13-15,-1 0 0,0 0 16,0 1-16,14 12 0,-14 14 15,0-14-15,1 14 0,-14-14 0,0 14 16,13-14-16,-13 1 0,-13-1 16,13 1-16,0-1 0,-14 1 0,14-1 15,-13-13-15,0 14 0,13-1 0,-13-12 16,-1-14-16,14 13 0,-13 0 16,13 0-16,-13-13 0</inkml:trace>
  <inkml:trace contextRef="#ctx0" brushRef="#br0" timeOffset="50522.13">6218 8004 0,'0'-14'16,"13"67"-1,-13-39-15,-13-1 16,13 0-16,0 13 0,0 1 16,0-1-16,-14 14 0,14-13 15,0-1-15,0 0 0,0 1 16,0-14-16,-13 0 0,13 14 16,0-14-16,0 0 0,0 1 0,-13-14 15,13 13-15</inkml:trace>
  <inkml:trace contextRef="#ctx0" brushRef="#br0" timeOffset="50717.04">5887 8215 0,'66'0'31,"-39"0"-31,-1 0 15,0 0-15,1 0 0,-1 0 16,1 0-16,-1 0 0,1 0 0,-1 0 16,14 0-16,-14 0 0,1 0 0,-1 0 15</inkml:trace>
  <inkml:trace contextRef="#ctx0" brushRef="#br0" timeOffset="51217.25">7025 7951 0,'39'-13'16,"-25"13"-16,-1 0 0,40 13 31,-53 0-31,0 0 0,0 0 15,0 1-15,-13-1 0,-1 0 0,-12 14 16,-1-1-16,1 0 0,-1-12 16,1 12-16,0 1 0,-1-14 0,14 0 15,-14 0-15,14 1 0,13-1 0,-13-13 16,0 13-16,-1-13 0,14 13 16,-13-13-16,26 13 31,1-13-31,-1 0 0,13 0 15,-12 0-15,12 0 0,1 0 16,-14 0-16,26 0 0,-12-13 0,13 13 16,-14-13-16,14 13 0,-1-13 0,1 0 15</inkml:trace>
  <inkml:trace contextRef="#ctx0" brushRef="#br0" timeOffset="51400.53">7646 7990 0,'-26'14'32,"26"-1"-32,-13-13 0,0 13 15,13 14-15,-14-14 0,1 0 0,0 13 16,0-12-16,-1 12 0,1-13 16,0 14-16,0-14 0,-1 14 0,14-14 15,-13 0-15,13 0 0,-13-13 0</inkml:trace>
  <inkml:trace contextRef="#ctx0" brushRef="#br0" timeOffset="51594.62">7408 8162 0,'0'-13'31,"27"13"-31,-27 13 0,13-13 16,0 0-16,0 14 0,1-14 0,-14 13 15,13-13-15,0 0 0,0 13 16,1-13-16,-14 13 0,13-13 0,0 14 16,0-14-16,1 0 0,-1 0 0</inkml:trace>
  <inkml:trace contextRef="#ctx0" brushRef="#br0" timeOffset="51962.43">8017 7977 0,'26'0'16,"-52"0"-16,66 0 0,-27 0 15,-13 13-15,13-13 0,-13 14 16,0-1-16,-13 0 0,0 0 15,-1 1-15,-12-1 0,-1 13 16,14-13-16,-13 1 0,13-1 16,-1 0-16,1-13 0,0 13 0,0-13 0,-1 14 15,1-1-15,0 0 16,13 0 0,13-13-1,0 0-15,1 14 16,-1-14-16,0-14 0,0 14 15,27 0-15,-27 0 0,0 0 16,1 0-16,-1-13 0,0 13 0,0 0 16,1 0-16</inkml:trace>
  <inkml:trace contextRef="#ctx0" brushRef="#br0" timeOffset="52223.57">8295 8004 0,'0'0'0,"26"0"15,14 39 1,-40-25 0,13-1-16,-13 0 0,0 0 15,-13 14-15,13-14 0,0 13 0,-13-12 16,13 12-16,-14-13 15,1 1-15,13 12 0,-13-13 0,13 0 16,-13-13-16,13 14 0,0-1 0,-14-13 16,14 13-1</inkml:trace>
  <inkml:trace contextRef="#ctx0" brushRef="#br0" timeOffset="52383.35">8268 8215 0,'0'0'0,"0"-13"0,13 13 16,-13-13-16,14 13 0,-1 0 15,0 0-15,-13-13 0,13 13 16,14 0-16,-14 0 0,0 0 16,14-14-16,-14 14 0,13 0 0,-12 0 15,-1-13-15,0 13 0,0 0 0,1 0 16</inkml:trace>
  <inkml:trace contextRef="#ctx0" brushRef="#br0" timeOffset="52783.28">6641 7699 0,'-66'67'0,"132"-134"0,-172 173 0,80-66 15,-1 13-15,14 0 16,-13 0-16,12 0 0,1 13 0,13 0 0,0-26 15,0 26-15,13-13 0,1 0 16,-1-1-16,13-12 0,1 13 16,12-13-16,1-14 0,0 14 0,0-14 15,12 1-15,15-14 0,-15 0 0,28 0 16,-1 1-16,14-14 0,-1 0 0,1-14 16,26 14-16,13-13 0,-13-13 15,1 13-15,-1-1 0</inkml:trace>
  <inkml:trace contextRef="#ctx0" brushRef="#br0" timeOffset="53128.1">8572 7845 0,'40'40'16,"-13"-27"-16,-14 13 0,40 120 15,-53-107-15,0 1 16,0 0-16,-13 0 0,-1-1 16,1 1-16,0 0 0,0-14 0,-1 1 15,1-1-15,0 0 0,0-12 0,-1-1 16,1 0-16,13 0 0,-13-13 16</inkml:trace>
  <inkml:trace contextRef="#ctx0" brushRef="#br0" timeOffset="53357.55">9419 7805 0,'0'27'16,"13"-1"-16,-13-13 15,0 1-15,0 12 0,0-13 0,-13 14 16,13-1-16,0 1 0,0-1 0,0 1 0,0-1 16,0 0-16,0 1 0,0-1 15,0-12-15,-13 12 0,13-13 16</inkml:trace>
  <inkml:trace contextRef="#ctx0" brushRef="#br0" timeOffset="53566.15">9141 8123 0,'67'0'0,"-41"0"15,14-14-15,-14 14 0,1 0 16,-1 0-16,0 0 0,1 0 0,-1 0 15,1 0-15,-14 0 0,14 0 0</inkml:trace>
  <inkml:trace contextRef="#ctx0" brushRef="#br0" timeOffset="54322.16">10067 7871 0,'14'0'16,"-1"0"-16,-13 14 0,0 12 31,-13-13-31,-1 1 16,1-1-16,13 0 0,0 0 15,13 0 1,-13 1-16,14-1 0,-1-13 16,-13 13-16,13 0 0,0-13 0,-13 14 15,14-14-15,-14 13 0,0 0 16,0 0-16,0 0 0,-14 1 16,14-1-16,-13-13 0,0 13 0,0 0 15,-1 1-15,-12-14 16,13 13-16,-1-13 0,1 13 0,0-13 15,26-26 1</inkml:trace>
  <inkml:trace contextRef="#ctx0" brushRef="#br0" timeOffset="54489.31">10451 7871 0,'13'14'16,"-13"25"-1,-13-25-15,13-1 0,-13 0 16,13 0-16,-13 0 0,-1 14 0,1-14 16,0 14-16,0-14 0,-1 13 15,1-13-15,13 1 0,-13-1 0,0 0 16</inkml:trace>
  <inkml:trace contextRef="#ctx0" brushRef="#br0" timeOffset="54676.36">10239 8057 0,'0'0'0,"14"0"0,-1 0 31,0 13-31,0-13 0,1 13 16,-1-13-16,0 0 0,0 13 0,0-13 15,1 0-15,-14 13 0,26-13 16,-13 0-16,1 0 0,-1 0 15,0 0-15,0 0 0</inkml:trace>
  <inkml:trace contextRef="#ctx0" brushRef="#br0" timeOffset="55221.02">10782 7871 0,'-13'0'0,"26"0"0,-26 14 32,13 12-32,0-13 15,0 1-15,0-1 0,0 0 16,0 0-16,0 14 16,0-14-16,0 0 0,-14 0 0,14 1 15,-13-1-15,13 0 0,-13-13 0,0 13 16,13 0-16,-14-13 0,1 0 15,40-13 17,-27 0-32,26 0 15,-13 13-15,1-13 0,-1-1 0,0 1 16,0 0-16,0 0 0,1-1 16,-14 1-16,13 0 0,-13 0 0,0 0 15,0-1-15,0 1 0,0 0 16,0 0-16,-13 13 0,13-14 0,-14 1 15,1 13-15,0-13 16,0 13-16,0 0 0,-1-13 0,1 13 16,0 0-16,-14 0 0,14 0 0,0-14 15,-14 14-15</inkml:trace>
  <inkml:trace contextRef="#ctx0" brushRef="#br0" timeOffset="55490.02">9723 7832 0,'-39'66'0,"12"-26"16,1 12-16,13-12 0,-40 238 31,53-252-31,13 14 16,0 0-16,14-14 0,-1 1 0,1-14 0,-14 0 15,26 0-15,14 1 16,-13-14-16,13 13 0</inkml:trace>
  <inkml:trace contextRef="#ctx0" brushRef="#br0" timeOffset="55822.08">10980 7713 0,'53'26'15,"-106"-52"-15,119 79 0,-39-27 0,-1 0 0,-13 14 16,1 0-16,12 0 0,-13-14 16,-13 14-16,14 13 0,-14-14 0,-14 1 15,14 0-15,-13-1 0,-13 14 16,12-13-16,1-14 0,-26 41 15,25-41-15,14-13 0,-13 0 0,0 1 16</inkml:trace>
  <inkml:trace contextRef="#ctx0" brushRef="#br0" timeOffset="56074.5">12184 7805 0,'-13'27'15,"26"26"1,-13-14-16,0-25 15,0 12-15,0 0 0,0-12 0,0 39 16,0-40-16,0 13 0</inkml:trace>
  <inkml:trace contextRef="#ctx0" brushRef="#br0" timeOffset="56277.65">11986 8096 0,'13'-13'0,"0"13"0,0 0 15,14-13-15,-1 13 0,-13 0 0,27 0 16,-13 0-16,-1-13 0,14 13 0,-14 0 16,14 0-16,0-14 0,-1 14 15,-12 0-15,26-13 0</inkml:trace>
  <inkml:trace contextRef="#ctx0" brushRef="#br0" timeOffset="57402.31">13123 7766 0,'-26'26'16,"13"-13"0,-1 0-16,1 1 0,0-1 0,-13 13 15,-1-12-15,1 12 0,-1-13 16,14 14-16,0-14 0,-14 0 0,14 0 16,0-13-16,13 14 0,-13-1 0,-1-13 15,14 13-15,-13 0 16,13 1-16,13-14 15,1 13-15,-1-13 0,0 0 16,13 13-16,-12-13 0,-1 0 16,13 0-16,-12 0 0,12 0 15,1-13-15,-1 13 0,-13 0 0,14 0 16,-1 0-16,-13-13 0,1 13 0,-1 0 16,13-14-16,-13 14 0,1-13 15,-1 0-15,0 0 0</inkml:trace>
  <inkml:trace contextRef="#ctx0" brushRef="#br0" timeOffset="57596.25">13150 7766 0,'-13'0'0,"-27"39"16,40-26-16,-13 14 15,13-14-15,-14 14 0,14-1 16,-13 1-16,13-14 0,-13 13 0,0 14 15,13-14-15,-13 1 0,13-14 0,0 13 16,-14 1-16,14-14 0,0 0 16,0 1-16,0-1 0,0 0 0,14 0 15</inkml:trace>
  <inkml:trace contextRef="#ctx0" brushRef="#br0" timeOffset="57790.23">13639 7845 0,'-13'26'0,"13"-12"0,-13-1 16,0 0-16,13 0 0,-14 14 0,-12-1 16,13 1-16,-14-1 0,14 1 0,0-1 15,-14 0-15,14-12 0,0 12 16,0-13-16,-1 1 0</inkml:trace>
  <inkml:trace contextRef="#ctx0" brushRef="#br0" timeOffset="57989.41">13361 8043 0,'27'0'31,"-14"14"-31,0-14 16,1 13-16,-1-13 16,0 13-16,0-13 0,1 0 15,-1 13-15,0-13 0,0 0 16,0 0-16</inkml:trace>
  <inkml:trace contextRef="#ctx0" brushRef="#br0" timeOffset="58338.24">13904 7871 0,'0'0'0,"-13"14"0,-1-14 0,14 13 16,0 13 0,0-12-16,14-1 15,-14 13-15,0-13 0,13 1 0,-13-1 16,0 0-16,0 0 0,0 1 16,0-1-16,-13 0 0,13 13 0,-14-12 15,-12-1-15,13 0 0,-1 0 16,-12 1-16,13-1 0,-14-13 0,1 13 15,-1 0-15,1-13 0,-1 14 0,-12-14 16,-14 13-16,13-13 0,-13 0 16,0 13-16,-13-13 0,0 13 0</inkml:trace>
  <inkml:trace contextRef="#ctx0" brushRef="#br0" timeOffset="59058.49">4128 9525 0,'0'13'0,"132"0"32,-53-13-32,1 0 0,25 0 15,41-13-15,13 0 0,-1-13 0,14-1 16,80 1-16,-1-1 0,0 1 0,1-1 15,26-12-15,-1 12 0,14 1 16,14-1-16,12 1 0,1-1 0,12 1 16,1-1-16,13 1 0,0-1 0,13 1 15,-13 0-15,13 12 0,-13-12 0,0-1 16,0 14-16,-13-13 0,0-1 16,-14 14-16,-12-13 0,-14 12 15,-14 1-15,-78 13 0,-1-13 0,-13 13 16,-26-13-16,0 13 0,-27-14 15,-39 14-15,-14 0 0,-26 0 0</inkml:trace>
  <inkml:trace contextRef="#ctx0" brushRef="#br0" timeOffset="59506.16">12211 7646 0,'-27'53'0,"14"-39"0,13-1 0,0 0 0,0 14 16,-13 12-16,13-12 0,0 26 16,0-14-16,13 1 0,-13 0 0,13-1 15,14 14-15,-14-13 0,13-14 0,1 14 16,-1-13-16,14-1 0,-14 0 16,14-12-16</inkml:trace>
  <inkml:trace contextRef="#ctx0" brushRef="#br0" timeOffset="60109.27">12660 7726 0,'-39'53'0,"25"-14"0,1-12 0,-13 26 16,-14 185-1,53-198-15,0-1 16,1 1-16,12 0 0,14-1 0,-14-12 16,14-1-16,0 1 0,-1-14 0,1 0 15,13-13-15,-13 0 0,-1 0 16</inkml:trace>
  <inkml:trace contextRef="#ctx0" brushRef="#br0" timeOffset="60335.07">14274 7633 0,'27'66'0,"-54"-132"0,67 172 0,-40-66 15,0-1-15,0 14 0,-13-13 0,13 26 16,-13-13-16,-14 0 0,1 13 0,12-13 15,-25 0-15,12 0 0,-12-13 0,-14 13 16,13-14-16,-13-12 0,0 12 16,0-12-16</inkml:trace>
  <inkml:trace contextRef="#ctx0" brushRef="#br0" timeOffset="60713.18">11562 8096 0,'0'133'31,"0"-107"-31,0 0 0,0 1 16,0-1-16,-13 1 0,13-1 16,0-12-16,-13 12 0,13-13 0</inkml:trace>
  <inkml:trace contextRef="#ctx0" brushRef="#br0" timeOffset="60871.21">11536 8255 0,'53'-13'0,"-14"13"0,-12 0 15,13 0-15,211 0 32</inkml:trace>
  <inkml:trace contextRef="#ctx0" brushRef="#br0" timeOffset="62398.9">7977 10200 0,'0'-14'15,"13"54"17,-13-27-32,-13 1 15,13 12-15,0 1 0,0-14 16,0 13-16,-13 1 0,13-1 0,0 1 16,0-1-16,0-13 0,0 1 0,0-1 15,13 0-15</inkml:trace>
  <inkml:trace contextRef="#ctx0" brushRef="#br0" timeOffset="62582.25">8281 10147 0,'14'-13'32,"-14"26"-32,0 0 15,0 0-15,0 0 0,13 1 0,-13-1 16,0 0-16,-13 14 0,13-1 15,0-13-15,0 14 0,0-1 0,0-13 16,-14 14-16,14-14 0,0 0 0,0 1 16</inkml:trace>
  <inkml:trace contextRef="#ctx0" brushRef="#br0" timeOffset="62765.3">8149 10438 0,'0'-13'0,"-13"13"15,39 0 17,-12 0-32,-1-14 0,0 14 0,14 0 15,-14 0-15,0 0 0,13-13 16,1 13-16,-14 0 0,14-13 0,-1 13 16,1-13-16,-1 13 0,0-14 0</inkml:trace>
  <inkml:trace contextRef="#ctx0" brushRef="#br0" timeOffset="63230.54">8930 10028 0,'26'-14'0,"14"41"31,-40-14-31,0 0 15,0 1-15,0 12 0,-13-13 16,-1 14-16,1-14 0,0 13 0,13-12 16,-13-1-16,-1 0 0,14 0 15,-13 1-15,13-1 0,-13 0 16,13 0-16,0 1 0,0-1 16,13-13-1,0 0-15,1 0 16,-1 0-16,0-13 0,0 13 15,1-14-15,-1 14 0,13-13 16,-12 0-16,-1 0 0,13-1 0,-13 1 16,1 0-16,12 0 0,-13-14 15,1 14-15,-1 0 0,0 0 0,-13-1 16,13 1-16,1 0 0,-14 0 16,13 13-16,0-14 15,0 28 1,-13-1-16,0 0 15,13 0-15,-13 1 0,14-1 0,-14 0 16,0 0-16,13 0 0,-13 14 0,0-14 16,0 0-16,0 1 0,0 12 15,0-13-15,0 1 0</inkml:trace>
  <inkml:trace contextRef="#ctx0" brushRef="#br0" timeOffset="63377.18">9194 10253 0,'27'-27'31,"-14"27"-31,13-13 0,1 0 16,13-1-16,-14 1 0,14 13 0,-1-13 16,1 0-16</inkml:trace>
  <inkml:trace contextRef="#ctx0" brushRef="#br0" timeOffset="63802.06">9776 9922 0,'14'0'0,"12"13"31,-26 0-31,0 1 16,13-14-16,-13 13 0,13 0 15,-13 0-15,14-13 16,-1 13-16,-13 1 0,13-14 0,0 13 16,1 0-16,-1-13 0,0 13 0,0 1 15,-13-1-15,14 0 16,-14 0-16,-14 1 0,14-1 16,-13 0-16,13 0 0,-13-13 0,0 13 15,13 1-15,-14-14 0,1 0 16</inkml:trace>
  <inkml:trace contextRef="#ctx0" brushRef="#br0" timeOffset="63970.07">10160 9882 0,'13'-13'0,"-26"26"0,26-39 16,0 26-16,1 13 15,-1 0-15,-13 0 16,13 1-16,-13-1 0,0 0 15,13 0-15,-13 1 0,0 12 0,0-13 16,0 0-16,0 14 0,0-14 0,0 0 16,0 1-16,0-1 0,0 0 15</inkml:trace>
  <inkml:trace contextRef="#ctx0" brushRef="#br0" timeOffset="64129.48">10107 10054 0,'0'-13'0,"13"0"0,40-1 31,-40 1-31,1 13 0,12-13 0,1 13 16,-14-13-16,0 13 0,14 0 16,-1-13-16,-13 13 0</inkml:trace>
  <inkml:trace contextRef="#ctx0" brushRef="#br0" timeOffset="64425.01">10914 9750 0,'-26'13'15,"12"0"1,14 1-16,-13-1 0,0 0 15,0 0-15,-1 0 0,1 1 0,13-1 0,-13 0 16,0 0-16,13 1 16,0-1-16,13 0 15,-13 0-15,13-13 16,0 14-16,1-14 0,12 0 16,-13-14-1,1 14-15,-1-13 16,0 13-16,-13-13 0,13 13 0,14-27 15,-14 14-15</inkml:trace>
  <inkml:trace contextRef="#ctx0" brushRef="#br0" timeOffset="64613.21">10954 9697 0,'-13'40'15,"-1"-27"-15,14 0 0,0 14 0,-13-1 16,13 0-16,0 1 0,0-1 15,-13 1-15,13-1 0,0 1 0,0-1 16,0 1-16,0-1 0,0 1 16,-13-1-16,13-13 0,0 14 0,0-14 15,-14 0-15,14 14 0,0-14 0,-13 0 16</inkml:trace>
  <inkml:trace contextRef="#ctx0" brushRef="#br0" timeOffset="65481.28">2381 10147 0,'27'-13'15,"-14"13"-15,0-14 0,14 14 16,-14 0-16,13-13 0,1 13 0,-1-13 16,14 13-16,-14 0 0,1 0 0,-14-13 15,0 13-15,14 0 0,-14 0 0</inkml:trace>
  <inkml:trace contextRef="#ctx0" brushRef="#br0" timeOffset="65650.45">2447 10266 0,'-13'0'0,"53"-13"15,-27 13 1,0 0-16,14-14 0,-1 14 0,14 0 16,-14 0-16,1-13 0,13 26 15,-14-13-15,0 0 0</inkml:trace>
  <inkml:trace contextRef="#ctx0" brushRef="#br0" timeOffset="77669.4">7673 10332 0,'53'13'31,"-27"-13"-31,27 0 0,0 0 16,13 0-16,14 0 0,-14-13 16,26 0-16,1 13 0,26-13 15,0-1-15,0 1 0,13 0 0,-12 0 16,12-14-16,0 14 0,0 0 0,-13 13 15,27-14-15,-27 1 0,13 0 0,-39 0 16,13 0-16,0 13 0,-14-14 16,1 14-16,-14-13 0,1 13 15,-1 0-15,-26 0 0,0-13 0,-14 13 0,1 0 16,-27 0-16,14 0 0,-14 0 16,0 0-16,1 0 0,-67 13 15,0-13 1,-13 0-16</inkml:trace>
  <inkml:trace contextRef="#ctx0" brushRef="#br0" timeOffset="78086.25">7488 10464 0,'79'-13'0,"-26"13"0,13-13 15,14 0-15,12 13 0,27-14 0,13-12 16,14 13-16,-14-1 0,14 1 0,13 0 16,-1 0-16,-12 0 0,13-1 15,-14 1-15,1 0 0,-14 0 0,13 13 16,-26-14-16,-13 14 0,-13 0 0,0-13 15,-1 13-15,1 0 0,-14 0 16,-26 0-16,13 0 0,-26 0 0,0 0 16,-1 0-16,-12 13 0,-14-13 0,13 0 15,-12 0-15,-1 0 0,0 0 16,0 0-16,1 0 0,-1 0 16,0 0 30,0 0-30,0-13 0</inkml:trace>
  <inkml:trace contextRef="#ctx0" brushRef="#br0" timeOffset="86485.62">12039 9895 0,'13'0'0,"-26"27"31,-1-14-31,14 0 0,0 1 0,-13-1 15,13 0-15,-13 13 0,13-12 16,-13-1-16,13 13 0,0-12 16,-14-1-16,14 0 0,0 14 0,0-14 15,-13 0-15,13 0 0</inkml:trace>
  <inkml:trace contextRef="#ctx0" brushRef="#br0" timeOffset="86820.24">12396 9829 0,'0'-13'0,"-27"13"16,14 13-1,0-13-15,13 13 0,0 1 16,0-1 0,0 0-16,0 0 0,0 1 0,13-1 15,-13 0-15,0 0 0,13 1 0,-13-1 16,0 0-16,0 0 0,0 0 16,0 1-16,-13-1 0,13 0 0,-13 0 15,13 1-15,-13-14 0,-1 13 0,1 0 16,0 0-16,0-13 15,-1 14-15</inkml:trace>
  <inkml:trace contextRef="#ctx0" brushRef="#br0" timeOffset="86989.27">12660 9816 0,'14'40'31,"-14"-27"-31,0 0 16,0 14-16,0-14 0,0 13 16,0-12-16,0 12 0,0-13 0,0 14 15,0-1-15,0-13 0,0 14 0,0-14 16,0 0-16</inkml:trace>
  <inkml:trace contextRef="#ctx0" brushRef="#br0" timeOffset="87166.18">12621 10120 0,'26'0'0,"-52"0"0,65-13 16,-25 13-16,-1 0 0,0 0 0,13-13 0,-12 13 15,12 0-15,-13-13 16,14 13-16,-14 0 0,0 0 0</inkml:trace>
  <inkml:trace contextRef="#ctx0" brushRef="#br0" timeOffset="87489.31">13203 9829 0,'13'0'0,"0"0"16,-13 13 0,0 1-16,0-1 15,-13 0-15,0 0 0,-1 1 16,-12-1-16,13 0 0,0 0 0,-1 1 16,1-1-16,0 0 0,13 0 0,-13-13 15,13 13-15,0 1 16,0-1-16,13-13 15,0 0-15,0 13 16,1-13-16,-1 0 16,0 0-16,0-13 0,0 13 15,1 0-15,-1 0 0,0 0 0,0-13 16,1 13-16,-1 0 0</inkml:trace>
  <inkml:trace contextRef="#ctx0" brushRef="#br0" timeOffset="87679.85">13494 9776 0,'26'27'16,"-26"-14"0,0 0-16,0 0 15,0 1-15,0 12 0,0-13 16,0 1-16,0-1 0,0 13 0,-13-12 15,13-1-15,-13 13 0</inkml:trace>
  <inkml:trace contextRef="#ctx0" brushRef="#br0" timeOffset="87838.26">13348 9988 0,'0'0'15,"40"-13"-15,-27 0 0,0 13 16,14-14-16,-14 14 0,0 0 16,14 0-16,-14 0 0</inkml:trace>
  <inkml:trace contextRef="#ctx0" brushRef="#br0" timeOffset="88173.2">14102 9776 0,'0'-13'15,"0"0"-15,-13 39 47,13 1-47,0-14 16,0 0-16,0 0 0,-13 14 0,13-14 16,0 14-16,0-14 0,-13 0 15,13 14-15,0-14 0,0 0 0,0 0 16,0 0-16,0 1 0,-14-1 15</inkml:trace>
  <inkml:trace contextRef="#ctx0" brushRef="#br0" timeOffset="88344.65">13904 9975 0,'26'-13'31,"-12"13"-31,12 0 0,-13-14 16,14 14-16,-1 0 0,1 0 0,-1-13 16,53 13-16,-39 0 15</inkml:trace>
  <inkml:trace contextRef="#ctx0" brushRef="#br0" timeOffset="88914.43">14698 9882 0,'13'13'0,"-13"1"16,0-1-16,13 0 15,-13 0-15,13 1 0,-13 12 16,0-13-16,14 0 0,-14 1 0,0-1 16,-14 13-16,14-12 0,0-1 0,-13 0 15,0 14-15,13-14 0,-13-13 16,-1 13-16,1 0 0,0-13 0,0 13 16,-1-13-16,1 0 0,13-13 15,-13 13-15,13-13 16,13 0-16,-13 0 0,0-1 0,13 1 15,1-13-15,-1 12 0,0 1 0,-13-13 16,13 12-16,-13 1 0,14 0 16,-14 0-16,13 0 0,-13-1 15,0 1-15,0 0 0,-13 0 16,13-1-16,-14 14 0,1 0 16,0-13-16,0 13 15,13 13-15,-27-13 0,14 0 16</inkml:trace>
  <inkml:trace contextRef="#ctx0" brushRef="#br0" timeOffset="89237.3">15174 9909 0,'0'13'0,"-13"27"16,13-27 0,-14 13-16,14-13 0,0 1 15,-13 12-15,0-13 0,13 1 0,-13 12 16,13-13-16</inkml:trace>
  <inkml:trace contextRef="#ctx0" brushRef="#br0" timeOffset="89650.43">14975 10120 0,'14'-13'0,"-14"0"0,66-14 16,-40 27-1,-13-13-15,14 13 0,-1-13 16,1 0-16,-1-1 0,14 1 0,-14 0 15,1 13-15,13-13 0,-14 0 0,-13-1 16,14 14-16,-14-13 0,0 13 16,0-13-16,1 13 0,-14-13 15,0 39 32,0-13-47,0 1 16,13-1-16,-13 0 0,13 0 15,-13 14-15,13-14 0,1 0 0,-14 14 16,0-14-16,13 0 0,-13 0 0,0 1 16,-13-1-16,13 0 0,-14 0 0,14 0 15,-13 1-15,0-1 0,0-13 16,-1 13-16,1-13 0,0 13 0,0-13 16,0 0-16,-1-13 15,1 13-15,13-13 0</inkml:trace>
  <inkml:trace contextRef="#ctx0" brushRef="#br0" timeOffset="89994.38">16404 8916 0,'40'0'16,"52"-13"-1,-65 13-15,-14 0 0,0 0 16,14 0-16,-14 0 0</inkml:trace>
  <inkml:trace contextRef="#ctx0" brushRef="#br0" timeOffset="90137.14">16417 9181 0,'27'13'0,"-14"-13"0,0 0 15,1 0-15,118-13 16,-79 13-16,0 0 16,0-13-16,13 0 0,0-1 0</inkml:trace>
  <inkml:trace contextRef="#ctx0" brushRef="#br0" timeOffset="96088.56">18561 9009 0,'0'0'0,"13"-13"16,26 13 0,-25 0-16,-1 0 0,0 0 15,0 0-15,-13 13 0,14 0 0,-1 1 16,-13-1-16,-13 0 0,13 0 15,-14 0-15,1 1 0,0 12 16,0-13-16,-1 1 0,1-1 0,0 0 16,0 0-16,0 1 0,-1-1 0,1 0 15,0 0-15,13 0 16,-13-13 0,26 14-1,0-14-15,0 0 16,-13 13-16,14-13 0,-1 0 15,0 0-15,0 0 0,0-13 16,14 13-16,-14 0 0,0 0 0,1 0 16,-1-14-16,0 14 0</inkml:trace>
  <inkml:trace contextRef="#ctx0" brushRef="#br0" timeOffset="96241.33">18865 9221 0,'0'-13'32,"13"13"-17,0-14 1</inkml:trace>
  <inkml:trace contextRef="#ctx0" brushRef="#br0" timeOffset="96588.37">19129 9088 0,'0'-13'0,"-13"13"16,0 13-16,13 1 16,-13-1-1,13 0-15,0 0 0,13 1 16,-13-1-16,13 0 0,-13 0 15,13-13-15,1 14 0,-1-14 16,0 0-16,0 0 0,1 13 0,-1-13 16,0-13-16,0 13 0,0 0 0,1-14 15,-14 1-15,13 13 16,-13-13-16,0 0 0,0-1 0,13 14 16,-26-13-16,13 0 0,0 0 15,0-1-15,-13 14 0,13-13 0,-14 13 16,14-13-16,-13 13 0,0-13 15,0 26-15,0-13 16,-1 0-16,1 13 0,13 0 16</inkml:trace>
  <inkml:trace contextRef="#ctx0" brushRef="#br0" timeOffset="96920.21">19500 9022 0,'-40'0'16,"27"0"-16,-14 14 31,14-1-31,13 0 0,13 0 16,1 0-1,-1-13-15,-13 14 16,13-1-16,0-13 0,-13 13 16,0 0-16,0 1 15,-13-1-15,0 0 16,0 0-16,-1-13 0,1 14 16,0-1-16,0-13 0,-14 13 0,14 0 15,0-13-15,0 13 0,-1-13 16,14 14-16,-13-14 0</inkml:trace>
  <inkml:trace contextRef="#ctx0" brushRef="#br0" timeOffset="97116.43">19632 9115 0,'-26'26'0,"12"-12"15,-12-1-15,-1 13 16,1 1-16,0-14 0,-1 13 0,1 1 16,-14-1-16,14 1 0,-1-1 0,1-13 15,-27 40 1</inkml:trace>
  <inkml:trace contextRef="#ctx0" brushRef="#br0" timeOffset="97305.56">19738 9141 0,'0'0'0,"13"0"0,-39 27 15,12-1 1,1-12-16,-13-1 0,-1 13 16,1 1-16,-1-1 0,1 1 15,-1-1-15,1 0 0,13 14 0,-14-13 0,14-1 16,-13-13-16,26 14 0,-14-14 15,1 0-15,13 0 0</inkml:trace>
  <inkml:trace contextRef="#ctx0" brushRef="#br0" timeOffset="100197.61">19672 9565 0,'0'13'0,"13"0"15,-13 0-15,13 1 0,14-1 16,-1 13-16,14 1 0,0-1 15,-1 14-15,54 13 0,-40-27 16,-14 1-16,14-1 0,40 14 16,-67-14-16,27-12 0,-26-1 15,12 0-15,-12 0 0,-1-13 16,1 13-16,-14-13 0,14 14 0,-14-14 16,0 0-16,0 0 0,-13 13 0,13-13 15,1 0-15,-1 0 16,0-13-16,0-1 15,-13 1 1</inkml:trace>
  <inkml:trace contextRef="#ctx0" brushRef="#br0" timeOffset="100538.4">20624 9684 0,'0'-13'0,"40"52"32,-27-26-32,0 1 0,1-1 0,-1 0 15,13 0-15,1 1 0,-1 12 16,-13-13-16,14 0 0,-14 1 0,0-1 15,14 0-15,-14 0 0,0 1 0,1-1 16,-14 0-16,13 0 0,0 14 16,-13-14-16,-13 0 15,13 0-15,-13 14 0,13-14 0,-27 14 16,1-1-16,-1 1 0,1-1 0,-1 0 16,-26 1-16,14-1 0,-1-12 15,0 12-15,-13 1 0,14-14 0,-27 26 16,26-25-16</inkml:trace>
  <inkml:trace contextRef="#ctx0" brushRef="#br0" timeOffset="106026.4">18561 9578 0,'-14'-13'0,"14"-1"16,0 1-1,14 40 16,-14-14-31,0 13 16,13 14-16,-13 0 0,0-1 0,0 1 16,13 0-16,-13 13 0,0-14 0,0 1 15,0 0-15,0-14 0,0 1 16,0-1-16,0 1 0,0-1 0,0 1 16,0-14-16,0 0 0,0 13 15,0-12-15,0-1 0,0 0 0</inkml:trace>
  <inkml:trace contextRef="#ctx0" brushRef="#br0" timeOffset="106777.4">18534 9551 0,'-66'80'31,"53"-54"-31,-14 1 0,14-1 0,-13 1 16,12-1-16,-12 1 0,26-1 16,-13-13-16,-1 0 0,14 14 0,-13-14 15,13 0-15,0 1 0</inkml:trace>
  <inkml:trace contextRef="#ctx0" brushRef="#br0" timeOffset="106979.17">18455 9631 0,'26'13'0,"67"27"31,-67-27-31,1 0 0,-1-13 0,14 13 0,-14 1 16,1-1-16,-1 0 0,1 0 15,-1 1-15,-13-1 0</inkml:trace>
  <inkml:trace contextRef="#ctx0" brushRef="#br0" timeOffset="114980.88">20743 4643 0,'-132'14'0,"106"-1"16,-14 13-16,-39 27 15,-1 27-15,54-41 0,-1 14 16,1-13-16,-1 13 0,14-13 15,0 12-15,0-12 0,13-13 16,13 12-16,0 1 0,0 0 0,14-14 0,-1 1 16,14-1-16,0 1 0,13-1 15,-14-13-15,14-13 0,-13 13 16,26-26-16,-13 13 0,13-13 0,0 0 16,-13-14-16,0 14 0,0-27 0,-13 14 15,-1-14-15,-12 1 0,-1 12 16,-13-13-16,-13 1 0,14-1 0,-28 0 15,1 1-15,0-1 0,0 0 0,-14 1 16,1-1-16,-1 13 0,-12 1 0,12 13 16,-12-14-16,-1 14 0,13 13 15,1 0-15,-1-13 0,1 13 0</inkml:trace>
  <inkml:trace contextRef="#ctx0" brushRef="#br0" timeOffset="116061.45">20889 7157 0,'0'-13'16,"0"0"0,-13 13-1,13-14-15,-14 14 0,1-13 16,0 13-16,0-13 0,-1 13 0,-12 0 16,13 0-16,-14 0 0,1 13 15,-14 0-15,1 1 0,-1-1 0,0 13 16,0 14-16,-12-14 0,12 14 15,13 13-15,-12-13 0,12-1 16,1 14-16,13-13 0,-1 0 0,1-1 16,13-12-16,0-1 0,13 14 0,14 26 15,-14-39-15,13-1 16,1 0-16,-1 1 0,1-14 0,13 14 16,-1-14-16,1 0 0,0-13 0,-1 13 15,-12-13-15,12 0 0,1-13 0,0 13 16,13-13-16,-27 0 0,14-1 15,0-12-15,-14 13 0,14-14 0,-14 1 16,1-1-16,-14 1 0,0-14 0,0 14 16,-13-14-16,0 0 0,0 1 15,-13-1-15,0 0 0,0 14 0,-27-14 16,13 0-16,1 14 0,0-1 0,-1 1 16,-13 13-16,14 0 15,-14-1-15,1 1 0,12 13 0,-13 0 16,14 0-16,0 0 0,-14 13 0,0-13 15,0 14-15,1-1 0,12 0 16</inkml:trace>
  <inkml:trace contextRef="#ctx0" brushRef="#br0" timeOffset="117867.31">19050 6403 0,'0'0'0,"-13"0"0,52 0 47,-25 0-32,12 0-15,1-13 0,12 13 0,1-14 16,13 14-16,-13-13 0,13 0 0,-1 0 16,1 13-16,-13-13 15,13-1-15,0 14 0,-13-13 0,-1 13 16,1 0-16,-14 0 0</inkml:trace>
  <inkml:trace contextRef="#ctx0" brushRef="#br0" timeOffset="118230.08">19619 6191 0,'172'0'31,"-132"13"-31,-1 1 0,1-1 16,-14 0-16,1 0 0,-1 14 0,1-1 16,-27 14-16,13 0 0,-13-1 15,-13 28-15,-14-1 0,1 13 0</inkml:trace>
  <inkml:trace contextRef="#ctx0" brushRef="#br0" timeOffset="128672.24">24381 4961 0,'0'-13'0,"14"13"0,-14-14 16,13 14-16,0 0 0,0 0 16,1 0-16,-1 14 15,0-1 1,-13 0 0,0 0-16,0 1 0,0 12 15,-13-13-15,13 14 0,-13-1 0,13 14 16,-14-14-16,1 14 0,0-13 0,0 12 15,13-12-15,-14 12 16,14-25-16,-13 12 0,13 1 0,0-1 16,0-13-16,0 14 0,0-14 0,0 13 15,0-12-15,0-1 0,13 13 16,-13-13-16,14-13 0,-1 14 0,-13-1 16,13 0-16,0-13 0,1 0 0,-1 0 15,0 13-15,0-26 0,0 13 16,1 0-16,-1 0 0,13-13 0,-12 0 15,-1 13-15,-13-14 0,13 1 0,0 0 16,0 0-16,-13 0 16,0-1-16,14 14 15,-41 14 17,14-1-32,0 0 15,13 0-15,-13 0 0,13 14 0,-14-1 16,1 1-16,13-1 0,-13 14 15,0 0-15,13-1 0,-14 1 0,14 0 16,-13-1-16,0 1 0,13 0 16,0 13-16,0-14 0,0 1 0,0 13 15,13-13-15,-13 13 0,13 0 16,1-1-16,-1 1 0,0 0 0,0 0 16,14 0-16,-14-13 0,13 0 0,-12-1 15,-1 1-15,13-14 0,-12 14 16,-1-14-16,0 14 0,0-13 0,1-1 15,-14 1-15,0-1 0,13 0 16,-13 14-16,0-13 16,0-14-16,-13 13 0,13-12 0,-14 12 0,1-13 15,0 14-15,0-14 0,-14 13 0,1-12 16,-1 12-16,1-13 0,13 0 16,-14 1-16,-13-1 0,14 0 0,13 0 15,-14-13-15,1 14 0,13-14 0,-1 13 16,1-13-16,0 0 15</inkml:trace>
  <inkml:trace contextRef="#ctx0" brushRef="#br0" timeOffset="131112.4">23416 7938 0,'0'13'16,"-14"0"0,1 0-16,13 0 0,-13 1 15,0-14-15,-1 13 0,1 13 0,0-12 16,0-1-16,-14 0 0,1 0 0,-1 14 15,1-14-15,0 0 16,-1 14-16,-13-14 0,1 0 0,12 14 16,-12-14-16,-14 0 0,13-13 0,-13 13 15,-13 0-15,0 1 16,0-1-16,-1-13 0,-12 0 0,13 13 0,-13-13 16,-1 0-16,-12 0 0,-1-13 0,0 13 15,1 0-15,-14 0 0,-26-13 16,13 13-16,13-14 0,-27 14 0,1-13 15,13 13-15,-13-13 0,-1 13 16,1-13-16,26 13 0,1-13 0,12 13 16,-13 0-16,0-14 0,0 14 0,1 0 15,-1 0-15,13 0 0,-13 0 16,0 0-16,-13 0 0,14 0 0,-14 0 16,13 14-16,-27-14 15,1 0-15,39 13 0,-12-13 0,-1 0 0,0 0 16,13 13-16,-12-13 0,12 0 0,-13 13 15,14-13-15,-1 0 0,14 0 16,-14 0-16,0 0 0,1 0 0,12 13 16,1-13-16,0 0 0,-1 0 0,1 0 15,26 0-15,-13 0 0,13 0 16,-13 14-16,13-14 0,0 0 16,13 0-16,14 0 0,-14 0 0,14 0 15,12 0-15,-12 0 0,13 0 0,-1 0 16,1 0-16,0 0 0,0 0 15,0 0-15,-1 0 0,1 0 16,0 0 0,13-14-1,13 1 1</inkml:trace>
  <inkml:trace contextRef="#ctx0" brushRef="#br0" timeOffset="131378.37">16642 7977 0,'-26'0'0,"-1"13"0,-65 54 31,65-41-31,1 0 0,-1 1 0,14 13 15,0-14-15,0-13 0,13 14 0,0-14 16,0 13-16,13-12 0,27 12 16,-1-13-16,14 1 0,13-1 0,27 0 15,0-13-15,12 0 0,41 0 16,-1-13-16,14 0 0,0-1 0</inkml:trace>
</inkml:ink>
</file>

<file path=ppt/ink/ink1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0:51.845"/>
    </inkml:context>
    <inkml:brush xml:id="br0">
      <inkml:brushProperty name="width" value="0.05292" units="cm"/>
      <inkml:brushProperty name="height" value="0.05292" units="cm"/>
      <inkml:brushProperty name="color" value="#FFFFFF"/>
    </inkml:brush>
  </inkml:definitions>
  <inkml:trace contextRef="#ctx0" brushRef="#br0">18098 3585 0</inkml:trace>
  <inkml:trace contextRef="#ctx0" brushRef="#br0" timeOffset="1206.08">20757 3056 0,'0'26'0,"13"-12"16,-13 12-16,0 14 0,0 13 0,13 0 0,-13 13 15,13 0-15,-13 13 0,13-13 0,-13 14 16,14-1-16,-14 1 0,13-14 16,-13 0-16,13 0 0,-13-13 15,0-13-15,13-1 0,-13 1 0,14 0 16,-14-14-16,0 1 0,0-14 0,0 0 15,0 0-15,0 0 0,0 1 16</inkml:trace>
  <inkml:trace contextRef="#ctx0" brushRef="#br0" timeOffset="1591.78">20439 3069 0,'66'-66'0,"-26"26"16,132-52-1,-132 79-15,12 13 0,1 0 16,14 13-16,-1 13 0,-13 1 0,0 12 16,13 27-16,-27 1 0,1 12 0,-14 14 15,-12-27-15,-14 26 0,0-12 16,0 26-16,-27 13 0,1-27 16,-1 14-16,-12-13 0,-1-1 0,0 1 15,-13-14-15,27-13 0,-14-13 0,1 13 16,12-13-16,-13-13 0,14 0 15,-1-14-15,14 1 0,-13-1 0,13-13 16,-1 1-16,1-41 16,13 14-16,-13 0 15</inkml:trace>
  <inkml:trace contextRef="#ctx0" brushRef="#br0" timeOffset="2102.73">21484 4048 0,'13'-40'15,"-26"80"-15,40-93 0,-14 27 0,0-1 0,0-12 16,1 12-16,-1 1 0,-13-14 15,13 14-15,-13-1 0,13 14 16,-13 0-16,0-1 0,0-12 0,0 13 16,0-1-16,-13 14 0,0 14 15,0-1 1,-1 13-16,1-12 0,13 12 16,-13 14-16,13-14 0,-13 1 0,13-1 15,0 1-15,0-14 0,0 13 16,0-12-16,0 12 0,13-13 0,-13 0 15,13 1-15,-13-1 0,13-13 0,1 0 16,-1 13-16,0-13 0,0-13 16,14 13-16,-14 0 0,13-13 0,-12-1 15,12 14-15,1-13 0,-14 0 0</inkml:trace>
  <inkml:trace contextRef="#ctx0" brushRef="#br0" timeOffset="2383.66">21934 3678 0,'-26'-14'0,"52"28"0,-66-28 0,27 14 16,0 0-1,13 14-15,-13-1 16,13 0-16,0 0 0,0 1 16,13-1-16,-13 13 0,13-12 15,-13 12-15,13-13 0,-13 14 0,14-14 16,-14 13-16,0-12 0,13-1 0,-13 0 15,0 0-15,13 1 0,-13-1 16,0 0-16,-13 0 0,13 0 16,-13 1-16,-1-14 0,14 13 15,-13-13-15,0 13 0,0-13 16,-1 0-16,1 0 16,0 0-16</inkml:trace>
  <inkml:trace contextRef="#ctx0" brushRef="#br0" timeOffset="2944.77">22146 3691 0,'0'-13'0,"-14"13"15,1 26 1,13-13-16,0 1 16,-13 25-16,13-25 15,0 12-15,0-13 0,0 0 0,0 14 16,0-14-16,0 0 0,0 1 16,0-1-16,0 0 0,13-13 15,-13 13-15,0 1 0,13-28 31,1 1-31,-14 0 16,13 13-16,-13-13 0,13-1 0,-13 1 16,13 0-16,1 0 0,-14-1 0,13 14 15,-13-13-15,13 13 0,0 0 16,14 0-16,-27 13 16,13-13-16,0 14 0,-13-1 0,13 13 15,-13-12-15,0-1 0,0 13 0,0-12 16,14-1-16,-14 0 0,0 0 15,0 0-15,0 1 16,0-1-16,26-40 31,-13 1-15,-13 13-16,14 0 0,-14-1 0,13 1 16,0 0-16,-13 0 0,0-1 0,13 1 15,-13 0-15,13 13 0,-13-13 16,0-1-16,14 14 15,-14-13-15,13 0 0</inkml:trace>
  <inkml:trace contextRef="#ctx0" brushRef="#br0" timeOffset="3112.64">22595 3717 0,'14'14'0,"-1"39"16,-13-40-1,0 13-15,0-13 0,0 1 0,0-1 16,-13 0-16,13 14 0,0-14 0,0 0 16,0 0-16,-14-13 0,14 14 15,0-1-15</inkml:trace>
  <inkml:trace contextRef="#ctx0" brushRef="#br0" timeOffset="3238.86">22609 3638 0,'0'-13'0,"0"26"0,-14-39 16</inkml:trace>
  <inkml:trace contextRef="#ctx0" brushRef="#br0" timeOffset="3721.73">22860 3281 0,'13'26'0,"-13"1"16,-13-1-16,13 14 0,0 13 0,0-14 15,0 28-15,0-1 0,0 13 16,0-13-16,-13 14 0,13-14 0,-13 0 15,-1 0-15,14 0 0,-13 0 0,0-13 16,13-13-16,-13 0 0,-1-1 16,14 1-16,-13-13 0,13-1 0,-13 0 15,13-12-15,-13-1 0,13 0 16,-14 0-16,14 1 0,-13-14 16,0-14-1,13 1-15,-13 0 0,13-14 0,0 1 16,0-14-16,13 1 0,-13-28 0,13 1 15,0 0-15,1 0 0,-1 0 16,0 0-16,0 0 0,14 13 0,-14 0 16,14 26-16,-14-12 0,13 12 0,-13 14 15,14 0-15,-14-1 0,0 14 0,1 0 16,-1 14-16,0-14 16,0 26-16,1-13 0,-14 14 0,0-1 0,0 1 15,0 26-15,-14-14 0,1 1 16,-13 0-16,12-1 0,-12 1 15,13-13-15,-14-1 0,14 1 0,-13-1 16,12-13-16,1 0 0,13-39 31</inkml:trace>
  <inkml:trace contextRef="#ctx0" brushRef="#br0" timeOffset="3963.88">23270 3241 0,'13'0'0,"-13"119"31,-13-66-31,13-13 16,-13 13-16,13 0 0,0 0 16,-13-14-16,13 14 0,0-13 0,0 13 15,-14-14-15,14-12 0,0-1 0,0 1 16,0-1-16,0-12 0,0-1 15,0 0-15,0 0 0,0 0 0</inkml:trace>
  <inkml:trace contextRef="#ctx0" brushRef="#br0" timeOffset="4293.92">22992 3876 0,'27'-26'16,"12"-1"-1,-12 27-15,-14-13 0,14 0 0,-14 0 16,13 13-16,-12-14 0,12 1 0,-13 0 16,0 13-16,1-13 0,12 13 15,-13-14-15,14 14 0,-27-13 16,13 13-16,0 0 0,0 0 15,1 0-15,-14 13 0,13-13 16,0 14-16,0-1 16,-13 0-16,14 0 0,-14 1 0,13-1 15,-13 0-15,13 0 0,-13 0 0,13 1 16,-13-1-16,0 0 0,0 0 16,14 1-16,-14-1 0,0 0 15,0 0 1</inkml:trace>
  <inkml:trace contextRef="#ctx0" brushRef="#br0" timeOffset="4439.78">23521 3612 0,'0'-14'0,"-13"14"31</inkml:trace>
  <inkml:trace contextRef="#ctx0" brushRef="#br0" timeOffset="5107.68">23680 3717 0,'13'0'0,"-26"0"0,40 14 32,-14-14-32,-13 13 15,0 0-15,13 0 0,-13 1 16,13-1-16,-13 0 16,0 0-16,14 0 0,-14 1 0,13-14 15,-13 13-15,0 0 0,0 0 0,13-13 16,-13 14-16,0-1 15,13-13-15,-13 13 16,13-26-16,14 13 16,-14 0-1,0-13 1,1 13 0,-1 0-1,-13-14 1,13 14-16,-13-13 0,13 13 15,1-13-15,-1 0 16,-13-1-16,13 1 16,0 0-16,0 0 0,1 0 15,-1-1-15,-13 1 0,13 13 0,-13-13 16,-26 26 15,12 0-31,14 1 0,-13-14 16,13 13-16,0 0 0,0 13 15,13-26-15,1 0 16,-1 14-16,13-14 0,1 0 0,13 0 16,-1 0-16,14 0 0,0 0 15,0 0-15,-13-14 0,-14 14 0,1 0 16</inkml:trace>
  <inkml:trace contextRef="#ctx0" brushRef="#br0" timeOffset="6150.72">21775 5305 0,'-39'-13'0,"78"26"0,-105-26 16,40 13-16,-1 0 0,-26 26 16,27-13-16,-14 1 0,-13 25 15,27-12-15,12-1 0,1 1 0,13-1 16,0 1-16,0 12 0,0 1 16,13 0-16,14 13 0,-14-1 15,0 1-15,14 0 0,-14 0 0,-13 13 16,13-13-16,-13 0 0,0 0 15,-13 0-15,0 13 0,0-13 0,-14 0 16,1 0-16,-14 0 0,14 0 0,-14-14 16,0 1-16,0 0 0,-12 0 15,12-14-15,-13 14 0,27-27 0,-27 0 16,13 14-16,0-14 0,14-13 0,-14 13 16,14-13-16,12-13 0,1 13 15,0-13-15,0-1 0,13-12 16</inkml:trace>
  <inkml:trace contextRef="#ctx0" brushRef="#br0" timeOffset="6447.37">21987 4815 0,'0'14'0,"0"-28"0,0 41 0,0-14 16,0 27-16,-13 13 0,13 13 15,-14 0-15,1 13 0,0 27 0,0 0 16,0 0-16,-1 13 0,1-13 16,0 13-16,-14-13 0,14 13 0,-13-13 15,12-1-15,1 1 0,-13-13 0,13-14 16,-1 1-16,1-14 0,0 0 0,0 0 16,-1-13-16,1-13 0,0-1 15,13-12-15,-13-14 0,13 13 0,0-12 16,-14-1-16,14-40 31</inkml:trace>
  <inkml:trace contextRef="#ctx0" brushRef="#br0" timeOffset="6709.16">21537 6310 0,'66'-53'16,"-132"106"-16,185-132 0,-79 66 0,0-14 16,-1 14-16,1 0 0,0-14 15,-1 14-15,1 0 0,-14 0 0,14-1 16,-27 1-16,14 13 0,-14 0 0,0-13 15,0 13-15,1 0 0,-1 0 0,0 0 16,0 0 0,-13 13-16</inkml:trace>
  <inkml:trace contextRef="#ctx0" brushRef="#br0" timeOffset="7443.92">22225 6046 0,'-53'66'15,"27"-53"-15,12 14 16,1-1-16,0-13 0,0 14 15,13-14-15,-14 0 0,14 14 0,0-14 16,-13-13-16,13 13 0,13 0 16,-13-26-16,27 0 15,-14 0-15,14-1 0,-1-12 16,1-1-16,-1 1 0,-13 13 16,0 0-16,1-1 0,-1 1 0,-13 0 15,13 13-15,0 13 16,-13 0-1,0 1-15,-13-1 0,13 0 0,0 0 16,13 0-16,-13 1 0,14-1 16,12-13-1,-13-13-15,1 13 16,-1-14-16,0 1 0,13-13 0,1-1 16,-14-12-16,14-1 0,-1-13 0,0 0 15,1 0-15,-1-13 0,1 0 16,-1 0-16,1 0 0,-1-1 0,-13 15 15,1 25-15,-1-13 0,0 27 0,-13-13 16,13 26-16,-13-13 0,0 65 16,-13-25-1,13 26-15,-13-14 0,0 14 0,-1 0 16,1 0-16,0 13 0,-13-13 16,26 0-16,-14-13 0,1 0 0,13-1 15,0-12-15,-13-1 0,13-13 0,0 1 16,13-1-16,-13 0 0,13-13 15,1 0 1,-1-13-16,13-14 0,1 1 0,-1-1 16,1 1-16,-14 13 0,13-14 15,-12 14-15,-1 13 0,-13-13 16,13 26-16,-13 0 16,0 1-16,0-1 0,0 13 0,-13-13 15,13 1-15,-13 12 0,13-13 16,0 1-16,0-1 0,0 0 15,0 0-15,0 1 0,13-14 16</inkml:trace>
  <inkml:trace contextRef="#ctx0" brushRef="#br0" timeOffset="7625.26">22939 5622 0,'0'-13'31,"0"0"-31</inkml:trace>
  <inkml:trace contextRef="#ctx0" brushRef="#br0" timeOffset="7826.76">22357 5834 0,'0'0'0,"27"-13"15,-14 13-15,13-13 0,1 13 0,-1-14 16,1 14-16,-1-13 0,1 0 15,-1 13-15,1-13 0,-14 13 16,13 0-16,1 0 0,-14-14 0,13 14 16</inkml:trace>
  <inkml:trace contextRef="#ctx0" brushRef="#br0" timeOffset="8130.71">23191 5794 0,'-53'0'16,"106"0"-16,-119 14 0,52-14 0,1 0 15,0 13-15,0 0 16,13 0-16,0 1 16,0-1-16,13 0 0,-13 13 15,13 1-15,0-14 0,1 14 0,-14-1 16,13-13-16,0 14 0,-13-14 0,0 13 15,0-12-15,0-1 0,0 0 16,-13 0-16,0 1 0,13-1 0,-14 0 16,1-13-16,0 13 0,0-13 0,-1 0 15,1 0 1,0-26-16,0 13 16,13-1-16,13-12 0,-13-1 0</inkml:trace>
  <inkml:trace contextRef="#ctx0" brushRef="#br0" timeOffset="8358.61">23588 5305 0,'0'79'32,"-14"-52"-32,14 12 0,-13 1 0,13 13 15,-13-13-15,0 13 0,13-14 16,-14 14-16,14-13 0,-13 0 0,13-1 15,-13 1-15,13-14 0,0 1 16,0-1-16,0-12 0,0 12 0,13-13 0,-26 0 16,26 1-16,-13-1 15</inkml:trace>
  <inkml:trace contextRef="#ctx0" brushRef="#br0" timeOffset="8674.94">23349 5913 0,'-13'-13'0,"40"0"31,-14 0-31,0 0 0,27-14 16,-14 14-16,14 0 0,13-27 16,-27 27-16,1 13 0,-1-14 15,-12 1-15,12 13 0,-13-13 0,14 13 16,-14-13-16,0 13 15,0 13-15,-13 0 16,0 0-16,0 1 0,0-1 16,0 13-16,0-12 0,0-1 15,0 13-15,-13-12 0,13-1 16,0 13-16,0-13 0,0 1 0,0-1 0,-13-13 16,13 13-16,0 0 0,13 1 15,0-14 1,1-14-1</inkml:trace>
  <inkml:trace contextRef="#ctx0" brushRef="#br0" timeOffset="8818.81">23905 5517 0</inkml:trace>
  <inkml:trace contextRef="#ctx0" brushRef="#br0" timeOffset="9168.81">23971 5675 0,'-13'40'16,"26"-80"-16,-39 80 0,26-27 0,-13 14 15,13-14-15,0 0 0,0 0 16,13-13 0,0 0-16,0 0 15,0-13-15,14 13 0,-14-13 16,14 0-16,-14 13 0,0-14 0,14 14 15,-14-13-15,0 13 0,0-13 0,0 13 16,1 0-16,-1 13 0,0-13 16,-13 13-16,13-13 0,-13 14 15,0-1-15,0 0 0,0 0 0,-13-13 16,13 27-16,-13-14 0,0 0 16,-1 1-16,1-1 0,0 0 15,0 0-15,0 0 0,-1 1 16</inkml:trace>
  <inkml:trace contextRef="#ctx0" brushRef="#br0" timeOffset="9312.9">24474 5741 0,'0'0'15,"-40"0"32</inkml:trace>
  <inkml:trace contextRef="#ctx0" brushRef="#br0" timeOffset="11283.41">4432 833 0,'0'27'0,"13"-1"15,-13-12-15,0 12 0,0-13 0,0 0 16,-13 14-16,13-1 0,0 1 16,0-1-16,0 1 0,0-1 15,0 1-15,-13-14 0,26 13 0,-13-12 16,0-1-16,0 0 0</inkml:trace>
  <inkml:trace contextRef="#ctx0" brushRef="#br0" timeOffset="11560.1">4419 794 0,'26'-27'16,"67"41"0,-80-1-16,13 0 15,1 13-15,-1 1 0,-13-1 16,-13 1-16,0 26 0,0-14 16,-13 1-16,0 0 0,-27 26 15,14-40-15,-14 41 0,14-41 16,12-13-16,1 0 0,0 1 15,0-14-15</inkml:trace>
  <inkml:trace contextRef="#ctx0" brushRef="#br0" timeOffset="11954.28">4882 1019 0,'0'-27'15,"0"54"-15,0-67 0,-14 27 0,14-1 16,-13 14-1,-13 14 17,12-1-32,14 0 15,-13 0-15,13 27 0,0-13 16,106 12 31,-93-39-47,40-13 15</inkml:trace>
  <inkml:trace contextRef="#ctx0" brushRef="#br0" timeOffset="12145.68">5080 926 0,'0'-13'16,"-13"13"-16,26 13 0,-26-13 31,13 26-16,13-26-15,-13 14 0,0-1 16,0 0-16,0 0 0,0 27 16,0-27-16,0 1 0,0 12 0,-13-13 15,13 0-15,-13 1 0,-1 12 16,1-13 0,0-13-16</inkml:trace>
  <inkml:trace contextRef="#ctx0" brushRef="#br0" timeOffset="12351.84">5345 609 0,'0'13'16,"13"0"-16,-13 0 0,0 14 15,0-14-15,0 13 0,13 1 16,-13-1-16,0 1 0,0-1 0,0 1 16,13 26-16,-13-27 0,0-13 15,0 0-15,0 1 0</inkml:trace>
  <inkml:trace contextRef="#ctx0" brushRef="#br0" timeOffset="13551.03">5212 992 0,'-13'13'0,"0"-13"15,13 14-15,0-1 0,-13 0 0,13 14 16,0-14-16,0 0 16,0 0-16,0 0 0,0 1 0,0-1 15,0 0-15,13 0 16,-13 1-16,13-14 0,0 0 15,1 0-15</inkml:trace>
  <inkml:trace contextRef="#ctx0" brushRef="#br0" timeOffset="14071.93">5345 1019 0,'13'-27'47,"-13"14"-47,0 0 15,0-1-15,13 1 16,-13 0-16,0 0 0,13-14 0,1 1 16,-14 13-16,13-14 0,0 14 0,-13 0 15,13 0-15,0-27 16,1 27-16,-1-1 15,-13 1-15,13 13 16</inkml:trace>
  <inkml:trace contextRef="#ctx0" brushRef="#br0" timeOffset="14237.61">5583 661 0,'0'0'0,"0"27"16,0-14-16,13 0 0,-13 1 15,0 12-15,0-13 0,0 1 16,0 12-16,0-13 0,0 0 16,0 1-16,-13-1 0,13 0 0,13 0 15,-13 1-15,0 12 0</inkml:trace>
  <inkml:trace contextRef="#ctx0" brushRef="#br0" timeOffset="14790.79">5675 569 0,'14'53'16,"-14"-27"-16,13-13 0,-13 14 15,0 13-15,13-1 0,-13 1 0,0 0 16,13-1-16,-13 1 0,0 39 15,0-39-15,0-13 0,0-1 16,0 0-16,0 1 0,0-14 0,0 14 16,0-14-16,0 0 0,-13-13 0,13 13 15,-13-39 1,13 13 0,0-1-16,0-12 0,0-1 15,0-12-15,0-1 0,0-13 0,0 13 16,13 14-16,-13-14 0,13 14 15,14-27-15,-14 40 16,0 0-16,0 13 0,1 13 16,-1 0-16,0 0 15,0 0-15,1 40 16,-14-13-16,0-27 16,0 14-16,-14 39 31</inkml:trace>
  <inkml:trace contextRef="#ctx0" brushRef="#br0" timeOffset="14963.75">6019 582 0,'13'-53'16,"-26"106"-16,40-93 15,-14 93 1,0-39-16,0 38 0,-13-12 15,0 13-15,14 0 16,-14 0-16,0-40 16,0 0-16,0 1 0,0 12 15</inkml:trace>
  <inkml:trace contextRef="#ctx0" brushRef="#br0" timeOffset="15266.04">6019 860 0,'0'-13'0,"40"-27"31,-27 40-31,0-13 16,1 0-16,12-1 15,-13 14-15,1 0 0,-1-13 0,0 13 16,13 0-16,-26 13 15,14-13-15,-1 14 16,0-14-16,-13 13 0,13-13 0,-13 13 16,0 0-16,14-13 15,-14 13-15,0 1 0,0-1 16,0 0-16,0 0 16</inkml:trace>
  <inkml:trace contextRef="#ctx0" brushRef="#br0" timeOffset="15415.69">6350 595 0,'-13'0'16,"0"-13"15,-1 26-31,14 1 0</inkml:trace>
  <inkml:trace contextRef="#ctx0" brushRef="#br0" timeOffset="15857.02">6482 675 0,'14'0'16,"-14"13"-1,13 0-15,-13 0 16,0 1-16,0-1 16,0 0-16,13-13 15,-13 13-15,13 1 16,0-14-1,1 0-15,-14-14 16,26 14-16,-26-13 0,13 13 16,1-13-16,-1 0 15,0 13 1,-13-14-16,13 14 0,27-13 47,-27 13-47,0-13 0,1 13 15,-1-13 1,0 13-16,-66 26 31,27-13-31</inkml:trace>
  <inkml:trace contextRef="#ctx0" brushRef="#br0" timeOffset="16279.44">5106 1574 0,'0'-13'0,"-39"40"15,12-14-15,1 13 16,-1 14-16,-12 0 0,-54 39 15,-13 14-15,0-14 16,14 14-16,39-54 16,0 1-16,13 0 0,-52 39 15,26-26-15,26-27 16,13 1-16,14-27 16,13 13-16,13-26 31</inkml:trace>
  <inkml:trace contextRef="#ctx0" brushRef="#br0" timeOffset="16771.79">5146 1654 0,'66'13'16,"-132"-26"-16,172 39 0,-53-26 0,66 13 16,-40 1-16,1-1 0,12-13 15,1 13-15,0 0 0,105 0 16,-105 1-16,-1-14 0,80 13 16,-106 0-16,0-13 15,40 0-15,-53 0 0,13 13 16,-26-13-16,-27 0 0,14 0 15,12 0-15,-25 0 16,-1 0-16,0 0 0,0 0 16,1-13 31,-14 0-32</inkml:trace>
  <inkml:trace contextRef="#ctx0" brushRef="#br0" timeOffset="18739.6">2633 2686 0,'79'-14'32,"-39"14"-32,26-13 15,0 0-15,0 0 0,0-1 0,106-12 16,-92-1-16,12 14 0,120-40 16,-106 27-16,13 13 15,53-27-15,0 0 16,-14 14-16,-78 13 15,65-14-15,-78 14 16,78-14-16,-105 14 16,-14 13-16,40 0 15,-39-13-15,-14 13 16,0 0-16,0 0 16,1 0-16,-1 0 15,-13 13-15,0 0 16,0 1-16,13 39 15,0-14-15,1 54 16,-14-53-16,13-1 0,13 41 16,-12-41-16,12 27 15,-13-26-15,0-13 0,27 52 16,-40-53-16,13-12 16,1 12-16,-14-13 0,26 14 15,-26-14-15,0 0 0,13 0 16,-13 1-16,0-1 0,0 0 15,0 0 1,-13 1-16,0-1 16,0 0-16,-1-13 0,-12 13 0,-1 1 15,-52 12-15,39 0 16,-79 1-16,66-1 0,-26-12 16,13 12-16,-93 27 0,53-13 15,-92 13 1,26 13-16,26-27 15,14 1-15,-80 26 16,159-53-16,-66 14 16,14 13-16,12-14 15,53-13-15,1 1 0,-1-1 16,0 0-16,14 0 16,-1-13-16,1 13 0,13 1 0,-14-14 15,14 0-15,0 13 0,-14-13 0,14 13 0,0-13 16,0 0-16,-1 13 15,1-13-15,0 0 16,0 0-16,-14 0 16,1-13-1,13 13-15,-107-132 47,94 92-31,0-26-16,-120-490 62,133 503-62,-14-26 0,-39-172 47,66 224-31,0 14-1,0 0-15,27 13 16,-1-13-16,1 13 16,-1 0-16,53-27 0,14 14 15,-53 0-15,39-1 16</inkml:trace>
  <inkml:trace contextRef="#ctx0" brushRef="#br0" timeOffset="19546.7">2672 3029 0,'0'27'15,"14"-14"1,-14 0-16,0 1 15,13-14-15,-13 13 0,0 0 16,13-13 0,-13 13-16,0-39 31,0 13-15,0-1-16,0 1 0,0 0 15,0-14-15,0 14 16,0 0-16,0 0 15,0 0-15,26 26 47,-26 0-47,14-13 0,-1 13 16,0-13 0,0 0-16,1 0 15,-14-13 1,13 0-16,-13 0 15,13-1-15,-13 1 16,0 0 0,13 13-16,14 0 31,-27 13-31,13-13 16,0 13-1,0 1-15,1-14 16,-1 0-16,-13 13 0,13-13 15</inkml:trace>
  <inkml:trace contextRef="#ctx0" brushRef="#br0" timeOffset="19821.86">3096 2950 0,'-14'-13'15,"28"26"-15,-28-39 0,1 12 16,0 14 15,0 14-31,13-1 16,0 0 0,13 0-1,-13 1-15,13-14 0,0 0 16,1 0-1,-1 0-15,0 0 0,0 0 0,27-14 16</inkml:trace>
  <inkml:trace contextRef="#ctx0" brushRef="#br0" timeOffset="20172.75">3321 2818 0,'-27'0'16,"14"0"-16,0 13 0,-1 0 16,1 1-1,13-1-15,0 0 16,0 0 0,13 0-16,14-26 31,-27 0-16,13 13-15,-13-13 16,13 13-16,-13-13 16,14 13-16,-1 0 31,0 0-15,0 0-16,-13 13 15,13-13-15,-13 13 16,0 0-16</inkml:trace>
  <inkml:trace contextRef="#ctx0" brushRef="#br0" timeOffset="20710.75">3466 2791 0,'0'0'16,"13"27"15,-13-14-15,0 0-1,13 1-15,-13-1 16,0 0-1,0 0 1,0 0-16,27-13 47,-14-13-47,-13 0 16,13 13-16,-13-13 15,14 0-15,-1-1 16,-13 1-1,13 0 1,0 13 15,1 0-15,-1 0 0,0 0 15,-13-13-31,13 13 47</inkml:trace>
  <inkml:trace contextRef="#ctx0" brushRef="#br0" timeOffset="21362.95">3889 2646 0,'-13'26'31,"13"-12"-15,0-1-16,0 0 16,0 0-1,13-13-15,1 0 16,12 0-1,-26-13-15,13 13 16,1-13-16,-14 0 16,0-1-1,0 1 1,-14 13 0,1 0-1,40 13 16,-14 1-15,-13-1-16,13-13 16,-13 13-16,13 0 0,0 0 15,-13 1-15,0-1 0,0 0 16,0 0 0,0 1-16,0-1 15,14-40 16,-14 14-31,13-13 16,-13 12-16,13-38 16,0 38-16,1-12 0,-14 13 15,13-1-15,0 1 0,0-13 16</inkml:trace>
  <inkml:trace contextRef="#ctx0" brushRef="#br0" timeOffset="22219.31">7064 1865 0,'-13'0'16,"13"14"-1,13 25-15,1 1 0,-1 0 16,27 52-16,12 27 16,1 27-16,-13-1 15,13-12-15,-27-80 16,14 52-16,0-38 15,-27-28-15,0-12 16,0-67 15</inkml:trace>
  <inkml:trace contextRef="#ctx0" brushRef="#br0" timeOffset="22851.67">6932 1786 0,'-13'-40'16,"79"-13"-1,-13 40-15,13-13 16,0 12-16,0-12 0,120-27 16,52-13-16,-119 39 15,0 1-15,119-40 16,-106 26-16,239-66 15,-1-13-15,424-66 47,-755 172-47,28 13 16,-41 0-16,53 13 16,133 225 30,-146-106-30,14 1 0,105 171 15,-93-185-15,-39-40-1,-39-65-15,12 39 16,-26-40-16,-13 13 15,-40 27-15,-13-13 16,13-27-16,-132 53 16,-80 14-1,-66-1 1,93-13-16,-13 0 16,13 0-16,0-13 15,52 0 1,41-13-16,79-27 15,-93 14-15,119-14 16,1-13-16,-28 0 16,28 0-16,26-13 15,-27-1-15,27 1 16</inkml:trace>
  <inkml:trace contextRef="#ctx0" brushRef="#br0" timeOffset="23443.84">7673 1786 0,'0'0'0,"13"26"31,-13-12-31,13-1 16,-13 0-1,0 0-15,14 1 16,-1-28 31,-13 1-47,13 0 15,0 13 17,1 13-32,-1-13 15,0 13-15,13 1 16,-12-14-16,-1 0 15,13 0-15,-12-14 16,-1 14 0,-13-13-16,13 0 0,-13 0 15,0-1-15,13 14 0,-13-26 16,0 13-16,0-1 16,-13-12-16,40 13 46,-27 26-46,13 0 16</inkml:trace>
  <inkml:trace contextRef="#ctx0" brushRef="#br0" timeOffset="23756.15">8149 1786 0,'0'-13'0,"0"-1"16,-13 14-16,13-13 16,0 0-1,-13 39 1,-1-12 0,14-1-16,0 0 15,14 0-15,-14 1 16,13-1-16,0 0 15,0-13-15,1 0 16,12 0 0,-13-13-16,1 13 0,12-13 15,14-1-15,-14 1 16,-13 0-16,14 0 16</inkml:trace>
  <inkml:trace contextRef="#ctx0" brushRef="#br0" timeOffset="24118.47">8440 1574 0,'-13'0'16,"26"0"-16,-39 14 0,13-14 16,-1 13-16,14 0 15,-13 0-15,13 0 16,0 1-16,0-1 15,0 0 1,13-13-16,-13 13 0,14-13 16,-1 0-16,0 0 15,-13-13-15,13 13 16,0-13-16,1 13 16,-14-13-16,13 13 0,0-14 15,0 14 1,1 0-1,-1 0 1,-13 14 0,13-14-16,0 0 15,0 0-15,1 0 16</inkml:trace>
  <inkml:trace contextRef="#ctx0" brushRef="#br0" timeOffset="24612.1">8705 1508 0,'13'27'31,"-13"-14"-31,13 0 0,-13 0 16,0 14-1,-13-1 1,13 1-16,-13-27 16,13 26 15,13-52-16,-13 12 1,40-38 0,-40 38-16,13-12 15,0 13 1,0-1 0,-13 1-1,14 26 1,-1-13-16,0 0 15,0 0 1,1 0 0,-1 0-1,0 0-15,13 0 16</inkml:trace>
  <inkml:trace contextRef="#ctx0" brushRef="#br0" timeOffset="25171.48">9009 1442 0,'-13'26'15,"13"-12"1,-13-14-16,-1 13 16,14 0-16,-13 0 0,0 1 15,0-14 1,13 13-16</inkml:trace>
  <inkml:trace contextRef="#ctx0" brushRef="#br0" timeOffset="25721.7">9036 1402 0,'13'14'31,"0"-1"-16,-13 13-15,13-26 0,0 53 47,14-66 0,-14-14-31,-13 14-16,13 0 0,1-13 15,52 12 17</inkml:trace>
  <inkml:trace contextRef="#ctx0" brushRef="#br0" timeOffset="25916.69">9340 1455 0,'0'-13'15,"13"0"-15,-13 0 16,0-1 0,0 41 31,13-14-32,0-13-15,1 0 16,12 0-1</inkml:trace>
  <inkml:trace contextRef="#ctx0" brushRef="#br0" timeOffset="26458.72">9750 1217 0,'-13'0'16,"-1"13"-16,1 1 15,13-1 1,-13-13-16,13 13 16,13 0-16,0-13 15,1 0 1,-1-13 0,0 13-16,-13-13 0,13 13 15,-13-13-15,0-1 16,0 1-16,-13 0 15,-13 26 17,12 0-17,28 1 1,-1-14 0,0 0-16,0 13 15,1-13-15,12 0 16,-13 13-16,0 0 0,1 0 15,-1 1-15,-13-1 0,13 13 16,-13-12-16,0-1 0,0 13 16,-13-12-16,0 25 0,13-26 15,-14 1-15,14-1 0,-13 0 0,13 0 16,27-39 15,-14 13-31,0-27 0,27-13 16,13-40-16,0 1 15,-27 52-15,14-39 16,13 13-16,-27 26 16</inkml:trace>
  <inkml:trace contextRef="#ctx0" brushRef="#br0" timeOffset="28599.58">6787 675 0,'26'0'15,"-13"-14"1,0 1-16,14 0 0,-14-13 0,0 12 15,1 1-15,-1 0 16,0-14-16,-13 14 0,13 0 16,-13 0-16,-13 13 0,-13 13 15,-1 13 1,1 1-16,12-1 0,1 14 16,13-14-16,-13-12 0,26 12 15,-13-13-15,0 1 0,13-1 16,1 0-16,-1 0 0,13 1 0,1-14 15,-1 13-15,1-13 0,12 0 0,-12 0 16,-1 0-16,14 0 0,0 0 16,-1-13-16,-12 13 0,-1-14 0,1 14 15,-1 0-15,-13-13 0</inkml:trace>
  <inkml:trace contextRef="#ctx0" brushRef="#br0" timeOffset="30659.6">2752 3492 0,'-14'27'15,"28"-54"-15,-28 67 0,1-27 0,13 1 0,0-1 16,0 0-16,0 0 0,0 1 16,0 12-16,13-13 0,-13 0 15,0 1-15,14-1 0,-14 0 0,13 0 0,0 1 16,0-14-16,1 13 16,-1-13-16,0 0 15,0 0-15,1 0 0,-1 0 0,13-27 16,-13 27-16,1-13 0,-1 0 15,0 0-15,-13-1 16,13-12-16,-13 13 0,14 13 0,-14-13 16,0-1-1,0 1-15,0 40 32,-14-14-17,28 0-15,-14 0 16,0 0-16,13-13 15,0 14-15,0-14 0,-13 13 16,13-13-16,1 0 16,-1 0-16,0 0 0,0-13 15,1 13-15,-14-14 16,13 14-16,-13-13 0,13 13 16,-13-13-16,0 0 0,0 0 15,13 13-15,-13-14 16,0 1-1,14 13-15,-1 0 32,0 0-17,0 0 1,-13 13-16,13-13 0,-13 14 31,14-14-31,-1 0 31,0 0-15,0 0 0,1-14-16,-1 1 15,-13 0-15,13 0 0,0-1 16,-13 1-16,14 0 0,-1 0 16,-13-1-16,13 1 0,-13-26 15,0 25-15,0-12 0,0 13 0,0-1 16,-13-12-16,13 13 0,0-14 15,-13 14-15,13 0 16,0 0-16,0 39 31,0-13-31,0 1 0,0 12 16,0-13-16,13 14 0,-13-1 16,0 1-16,13-14 0,-13 13 15,0-13-15,13 14 0,-13-14 16,0 0-16,13-13 0</inkml:trace>
  <inkml:trace contextRef="#ctx0" brushRef="#br0" timeOffset="30839.74">3294 3492 0,'0'-13'0,"-13"0"31,26 13-31,-13-13 0,13 13 15,-13-13-15,14 13 0,-1-14 16,0 14-16,0-13 0,0 13 16,1-13-16,-1 13 0</inkml:trace>
  <inkml:trace contextRef="#ctx0" brushRef="#br0" timeOffset="31242.69">3545 3347 0,'0'13'15,"0"0"1,14 1-16,-14-1 0,0 0 16,0 0-16,13 1 0,-13-1 0,0 13 15,13-26-15,-13 13 0,0 1 16,0-1-16,13-13 16,-13 13-16,0-39 31,0 12-16,0 1-15,0 0 0,0 0 16,0 0-16,0-1 0,0 1 0,0-13 16,0 12-16,14 1 0,-14 0 15,0 0-15,13 13 0,-13-13 0,13 13 16</inkml:trace>
  <inkml:trace contextRef="#ctx0" brushRef="#br0" timeOffset="31916.02">3770 3334 0,'-13'26'31,"0"-13"-15,13 1-1,13-1-15,-13 0 0,0 0 16,13-13 0,1 0-16,-1 0 15,0 0 1,-13-13-16,13 13 16,0 13-1,1-13-15,-1 0 16,0 0-16,0-13 15,1 13 1,-1-13-16,0-14 0,0 27 16,-13-13-16,14 0 0,-14-13 0,0 12 15,13 1-15,-13-13 16,0-14-16,0 27 0,0-14 16,0 1-16,13-1 0,-26 1 15,26 66 16,-13-27-31,0 13 16,0-13-16,0 40 16,13-13-16,-13-13 15,13-14-15,1 13 0,-1 1 16,0-27-16,0 13 16,1-13-16,-1-13 15</inkml:trace>
  <inkml:trace contextRef="#ctx0" brushRef="#br0" timeOffset="32116.78">4207 2963 0,'-13'-13'16,"13"79"15,0-39-15,13-1-16,-13 1 0,13-14 15,-13 13-15,13 1 0,-13-1 0,14 1 16,-1-14-16,-13 13 0,13-12 0,0 12 16,-13 1-16,13-14 15,1 0 1</inkml:trace>
  <inkml:trace contextRef="#ctx0" brushRef="#br0" timeOffset="32298.58">4194 3321 0,'-14'-14'0,"14"1"0,0 0 15,14 0 1,-1-1-16,-13 1 16,13 0-16,0 0 0,1 13 0,-1-14 15,0 1-15,0 0 0,0 13 16,14-13-16,-1 0 15</inkml:trace>
  <inkml:trace contextRef="#ctx0" brushRef="#br0" timeOffset="33081.21">4498 3201 0,'-13'-26'32,"13"13"-17,-14 13-15,1 13 31,13 0-31,0 0 16,0 1-16,0-1 16,13 0-1,-13 0-15,14-13 16,-1-13 0,0 13-16,0-13 15,1 13 1,-1 0-1,0 0-15,0 0 16,14 0 0,-14-13-16,0 13 15,0 0-15,1-14 16,-1 14-16,0-13 0,0 13 16,-13-13-16,14 13 0,-14-13 15,13 13-15,-13-13 16,13 13-16,0-14 15,0 28 17,-13-1-1,14-13-15,-1-13-16,-13-1 15,0 1-15,13 13 0,-13-26 0,13 12 16,-13 1-16,0-13 15,0 12-15,0-12 0,0 0 0,0-1 16,0 1-16,0 12 0,0-12 0,0 13 16,0 0-16,0-1 0,0 1 15,0 40 1,0-14 0,0 0-16,14 0 0,-14 27 15,0-27-15,26 27 16,14-1-1,-27-39 1,13 0-16,-12-13 16</inkml:trace>
  <inkml:trace contextRef="#ctx0" brushRef="#br0" timeOffset="34147.18">8427 2236 0,'26'39'0,"-12"-25"0,-1-1 16,0 0-16,0 0 16,1 1-16,-1 12 0,0 0 0,13-12 0,-12 12 15,-1-13-15,13 1 0,-12-1 16,-1 0-16,0-13 0,-13 13 16,13-13-16,1 0 0,-1 14 0,13-28 15,-13 1 1,-13 0-16,14-14 15,-14 14-15,0 0 0,0-14 0,0 1 16,0-14-16,0 1 0,0-1 0,-14 0 16,14 1-16,0-1 0,0 13 15,-13 1-15,13 0 0,0 12 16,0 1-16,13 40 31,-13-14-31,14-13 0</inkml:trace>
  <inkml:trace contextRef="#ctx0" brushRef="#br0" timeOffset="34712.92">8956 2130 0,'0'0'0,"-13"13"0,0-13 16,13 13-16,-14 1 0,14-1 15,-13 0-15,13 0 0,0 0 16,-13 1-16,13-1 0,0 13 16,0-12-16,0-1 0,0 0 15,0 0-15,0 1 16,13-28 0,0 14-1,-13-13-15,14 0 0,-1 0 16,-13-1-16,13 1 0,0 0 15,1 13-15,-14-13 0,13 13 16,0 0-16,0 0 16,1 13-16,-1 0 0,0-13 15,0 13-15,-13 1 0,13-1 16,-13 0-16,14 0 16,-14 1-16,0-1 0,13 0 31,-13-39-16,0 12-15,0 1 16,13 0-16,-13 0 0,13-14 16,-13 14-16,14-14 0,-14 14 0,13-13 15,0 13-15,0-1 0,-13 1 0,14 13 16,-1-13-16,0 13 16,0 0-16,0 0 0,1 0 15,-14 13-15,13 0 0,-13 1 16,13-1-16,-13 0 0,0 0 15,0 0-15,0 1 0,0-1 16,0 0-16,0 0 0,0 1 16</inkml:trace>
  <inkml:trace contextRef="#ctx0" brushRef="#br0" timeOffset="34844.08">9247 1918 0</inkml:trace>
  <inkml:trace contextRef="#ctx0" brushRef="#br0" timeOffset="35656.15">9591 2064 0,'-26'0'31,"26"13"-31,-14-13 0,14 13 16,-13-13-16,13 13 15,-13 1-15,13-1 0,-13 0 16,13 0-16,0 1 0,-13-14 0,13 13 15,0 0-15,0 0 16,13 0-16,0-13 16,0 0-1,0 0 1,1 0-16,-1 0 0,0 0 16,0 0-1,1 0-15,-1 0 16,0 0-16,0-13 15,1 13-15,-14-13 0,13 0 16,-13 0-16,13-1 0,0 1 16,-13 0-16,0-14 0,13 1 0,-13 0 15,0-14-15,0 13 0,0 1 0,0-1 16,0 1-16,0 0 0,0 12 16,14 1-16,-14 0 0,0 0 0,0 39 31,-14-13-31,14 14 0,0-14 15,0 13-15,0-12 16,0 12-16,0-13 0,0 14 0,0-14 16,0 0-16,0 1 0,0-1 0,0 0 15,14-13-15,-14 13 16,13-26 0,0 13-16,0 0 0,1-13 15,-1 13-15,0 0 16,0 0-16,0 0 0,1 0 0,-1 13 15,0-13-15,0 0 0,-13 13 16,14-13-16,-14 13 0,0 1 16,0-1-16,-14-13 0,14 13 15,-13 0-15,13 1 0,-13-1 0,0 0 16,-1 0-16,1 0 16,0-13-16,0-13 31</inkml:trace>
  <inkml:trace contextRef="#ctx0" brushRef="#br0" timeOffset="35820.58">10014 1945 0,'0'0'0,"0"13"0,14 0 16,-14 0-16,0 1 15,0-1-15,0 0 0,0 0 16,0 1-16,0-1 0,0 0 15,0 0-15,0 0 0,0 1 16</inkml:trace>
  <inkml:trace contextRef="#ctx0" brushRef="#br0" timeOffset="35951.48">9962 1746 0,'0'-13'0,"0"26"0,-14-26 0</inkml:trace>
  <inkml:trace contextRef="#ctx0" brushRef="#br0" timeOffset="36295.25">10081 1521 0,'13'0'15,"0"14"-15,-13-1 0,0 0 16,0 0-16,13 14 0,-13-1 16,14 1-16,-14 12 0,0 1 0,13 0 0,-13-1 15,0 1-15,0-13 0,0-1 0,0 0 16,0 1 0,13-14-1,-13 27-15,0-14 0,13 1 0,0-27 16,14 0-1,-27-13-15,13 13 16,-13-14-16,13 14 0,-13-13 16,14 13-16,-1 0 15,0 0 1,-13 13-16,0 1 16,0-1-1,0 0-15,0 0 31</inkml:trace>
  <inkml:trace contextRef="#ctx0" brushRef="#br0" timeOffset="36442.25">10345 1640 0,'0'0'16,"-26"14"15</inkml:trace>
  <inkml:trace contextRef="#ctx0" brushRef="#br0" timeOffset="36947.98">10411 1588 0,'0'26'31,"14"-13"-31,-14 14 0,0-14 16,0 13-16,13 1 0,-13-1 0,0 14 16,13-14-16,-13 1 0,0-1 0,0 1 0,0-1 15,0-13-15,0 14 0,0-14 16,0 0-16,0 1 0,0-1 16,0 0-16,13 0 0,1-26 62,-1 13-46,0 0-1,0 0 1,-13-13-16,13 13 0,1 0 16,-14-13-16,13 13 0,0-14 0,0 14 15,1-13-15,-1 13 0,-13-13 0,13 13 16,0 0-16,0 0 15,1 13-15,-14 0 16,0 1-16,0-1 16,0 0-16,-14 14 0,14-14 15,-13 0-15,13 0 0,-13 0 16,13 1-16,26-41 31,1 14-31,-1-27 0,41-52 16,-28 39-16,1 0 0,0-13 15,13 0-15,105-173 16,-105 160-16,-13 26 0</inkml:trace>
  <inkml:trace contextRef="#ctx0" brushRef="#br0" timeOffset="37870.47">4723 3572 0,'106'-13'0,"-67"-1"0,27 1 15,14 0-15,-1 0 0,1-14 0,12 14 16,14-13-16,-13-1 0,12 1 16,-12-1-16,-14 14 0,107-27 15,-107 27-15,14-13 0,-14 12 0,27-12 16,-27 13-16,1-1 0,-14 1 0</inkml:trace>
  <inkml:trace contextRef="#ctx0" brushRef="#br0" timeOffset="38455.37">9181 2910 0,'-119'40'15,"53"-27"-15,-596 199 32,517-172-32,-1 13 0,-12 0 0,-54 13 15,66-13-15,-12-14 0,-1 14 0,13 0 16,1 0-16,-14 0 0,27 0 0,-14-13 15,14-1-15,13 1 0,13 0 16,0-14-16,27 1 0,26-14 0,0 0 16,13 0-16</inkml:trace>
  <inkml:trace contextRef="#ctx0" brushRef="#br0" timeOffset="38622.86">7157 3532 0,'278'-79'0,"-119"39"0,-1 0 15,80 1-15,-13-14 0,13 13 0,239-66 16,-226 67-16,0-1 0,-12 0 16</inkml:trace>
</inkml:ink>
</file>

<file path=ppt/ink/ink13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0:03.703"/>
    </inkml:context>
    <inkml:brush xml:id="br0">
      <inkml:brushProperty name="width" value="0.05292" units="cm"/>
      <inkml:brushProperty name="height" value="0.05292" units="cm"/>
      <inkml:brushProperty name="color" value="#FF0000"/>
    </inkml:brush>
  </inkml:definitions>
  <inkml:trace contextRef="#ctx0" brushRef="#br0">344 1429 0,'0'0'0,"119"-27"15,-53 27-15,0-13 0,27-13 0,0 12 16,39 1-16,0-13 0,14 12 0,-1 1 16,1 0-16,26 0 0,-14 0 0,1-1 15,13 1-15,-13 13 0,13-13 16,-13 13-16,-1-13 0,1 13 16,-13 0-16,-14 0 0,-26 0 0,0 0 0,-1 0 15,81-14-15,-41 14 16,-79 0-16,-26 0 15,0 0-15,-14 0 0,1 0 0,-14 0 16,0-13-16,0 13 16,-66 0-16,0 0 0,1 13 15,-28-13-15</inkml:trace>
  <inkml:trace contextRef="#ctx0" brushRef="#br0" timeOffset="338.91">331 1746 0,'0'0'15,"-53"27"-15,26-27 0,14 0 0,93-14 32,-14 1-32,13 0 0,27-13 0,26-1 15,14 1-15,12-1 0,1 1 0,26-1 16,1-12-16,-1 25 15,0-12-15,66-1 0,-52 14 0,-14-13 16,0 13-16,0-1 0,1 14 0,-14-13 0,0 0 16,-27 13-16,1-13 15,-14 13-15,-39 0 0,-1 0 0,-12-14 16,-1 14-16,-26 0 0,0 0 0,-27 0 16,14 0-16,-27 0 0,14 0 15,-14 0-15,0 0 0,-53 0 31,27 0-31,-27 14 0,1-14 16</inkml:trace>
  <inkml:trace contextRef="#ctx0" brushRef="#br0" timeOffset="4065.04">18825 1535 0,'-13'26'32,"13"-13"-32,0 14 15,0-14-15,0 13 0,0 1 0,0 13 16,0-14-16,0 0 0,0 1 0,0-1 16,0 1-16,0-1 0,0-12 15,0-1-15,-13 13 0,13-13 0,0 1 16,0-1-16,0 0 0,0 0 0,0 1 15,-14-14-15,14 13 16,-13-40 0,26 14-1,-13-13-15,0-14 0,0 0 0,14 1 16,-14-14-16,13 13 0,-13 0 16,13 1-16,0-1 0,1 0 15,-14 14-15,13-1 0,0 1 0,-13 13 16,0-1-16,13 1 0,-13 0 0,13 0 15,1 26 1,-1-13-16,0 13 0,0 14 16,-13-14-16,14 27 0,-1-14 0,0 14 15,-13-14-15,13 14 0,-13-14 16,14 1-16,-14-1 0,13 1 0,-13-1 16,0 1-16,0-14 0,0 13 0,13-12 15,-13-1-15,0 0 0,0 0 0,0 0 16</inkml:trace>
  <inkml:trace contextRef="#ctx0" brushRef="#br0" timeOffset="4260.89">18785 1892 0,'0'-40'15,"14"40"1,-1-13-16,0 13 0,14-13 0,-1-1 15,0 14-15,1-13 0,-1 13 16,14-13-16,0 0 0,-14-1 0,1 14 16,-1-13-16,1 13 0,-1 0 15,-13 0-15,14-13 0,-14 13 16,13 0-16</inkml:trace>
  <inkml:trace contextRef="#ctx0" brushRef="#br0" timeOffset="4716.33">19394 1799 0,'-13'-26'15,"13"12"1,0 1-16,-13 0 15,13 0-15,0 0 0,0-1 0,0 1 16,0 0-16,13 0 0,-13-1 0,0 1 16,0 0-16,0 0 0,0 0 15,0 39 17,0-13-32,13 0 15,-13 1 1,13-14-16,-13 13 0,13-13 0,14-13 15,-14 13-15,0 0 16,1-14-16,-1 14 0,0 0 0,0 0 16,0 0-16,1 0 0,-1 0 15,0 0-15,0 0 0,1 14 16,-1-14-16,0 13 0,0 0 16,1 0-16,-14 1 15,13-1-15,-13 0 0,13 0 0,-13 0 16,0 14-16,0-14 0,0 14 0,-13-1 15,13 1-15,-13-1 0,-14 0 16,14 1-16</inkml:trace>
  <inkml:trace contextRef="#ctx0" brushRef="#br0" timeOffset="5091.28">18812 2408 0,'-13'0'16,"-1"0"-1,1 13 1,13 0-1,13 0 1,1-13-16,-14 14 16,13-14-16,0 0 0,0 13 0,1-13 15,-1 0-15,0 13 0,0 0 16,0 1-16,1-14 0,-1 13 0,-13 0 16,13 0-16,0 0 0,-13 1 0,14-1 15,-1 0-15,0 0 0,-13 1 16,13-14-16,1 0 0,-1 13 15,0-13-15,0 0 16,0 0-16,14-13 0</inkml:trace>
  <inkml:trace contextRef="#ctx0" brushRef="#br0" timeOffset="5492.89">19473 2487 0,'0'-13'15,"0"0"1,-13-1 0,13 1-1,0 0-15,0 0 0,0-1 16,0 1-1,27 26 17,-14 1-32,0-14 15,0 0 1,0 13-16,1-13 0,-1 0 16,0 0-16,0 0 0,1 0 15,-1 0-15,13 0 16,-12 0-16,-14 13 15,13-13-15,0 13 0,-13 1 16,0-1 0,0 0-1</inkml:trace>
  <inkml:trace contextRef="#ctx0" brushRef="#br0" timeOffset="5987.87">18957 3109 0,'0'0'16,"-13"26"-1,0-12-15,13 12 0,0-13 16,0 14-16,-13-14 0,13 13 0,0 1 15,-14-1-15,14 1 0,0-14 0,0 13 16,0-12-16,0-1 0,0 0 16,0 0-16,0 1 0,14-14 15</inkml:trace>
  <inkml:trace contextRef="#ctx0" brushRef="#br0" timeOffset="6185.08">19076 3241 0,'14'-40'0,"-28"80"0,28-106 0,-14 53 16,13 0-16,-13-1 15,0 1-15,13 26 32,-13 1-32,0-1 15,0 0-15,0 0 0,0 0 0,0 1 16,0 12-16,0-13 0,0 1 0,0 12 16,0-13-16,0 1 0,0 12 15,0-13-15,0 0 0,-13 1 0,13-1 16</inkml:trace>
  <inkml:trace contextRef="#ctx0" brushRef="#br0" timeOffset="6358.82">18957 3387 0,'0'-14'0,"0"28"0,0-41 0,0 14 16,14 13-1,-1 0-15,0-13 0,0 0 0,14 13 16,-14-14-16,13 1 0,1 13 0,-1-13 15,1 13-15,-1-13 0,1 13 0,-14 0 16,13-14-16,1 14 0,-14 0 16,0 0-16</inkml:trace>
  <inkml:trace contextRef="#ctx0" brushRef="#br0" timeOffset="6728.85">19447 3307 0,'-13'0'0,"13"-13"0,-14-13 31,14 12-31,0 1 0,14 0 16,-14 0-16,0-1 16,13 41 30,0-27-30,0 0-16,1-13 16,-1 13-16,0 0 0,0 0 15,0-14-15,1 14 0,-1 0 0,0 0 16,0 0-16,-13 14 0,14-14 16,-1 0-16,0 13 0,-13 0 15,13-13-15,-13 13 0,0 1 0,0-1 16,0 0-16,0 0 15,0 1-15,0-1 0,0 0 0,0 0 16,0 0-16,0 1 16</inkml:trace>
  <inkml:trace contextRef="#ctx0" brushRef="#br0" timeOffset="7878.87">19182 3956 0,'-13'-27'16,"13"14"-16,-13 13 0,13-13 0,-13 39 31,13-13-15,0 14-16,0-1 0,0 14 15,0 0-15,13-1 0,-13 1 0,0 0 16,0-1-16,13 1 0,-13-14 0,0 1 15,0-1-15,13 1 0,-13-1 16,0-12-16,0 12 0,0-13 0,0 0 16,0 1-16,0-1 0,0 0 0,-13-13 15,13 13-15</inkml:trace>
  <inkml:trace contextRef="#ctx0" brushRef="#br0" timeOffset="8043.98">18997 4419 0,'53'-40'31,"-40"27"-31,0 13 0,1-14 16,-1 14-16,13 0 0,-12-13 16,12 13-16,-13-13 0,14 13 0,-14-13 15,13 13-15</inkml:trace>
  <inkml:trace contextRef="#ctx0" brushRef="#br0" timeOffset="8648.83">19381 4141 0,'53'-13'31,"-40"-1"-31,13 1 15,1 0-15,-1 0 0,1-14 16,-14 14-16,13-14 0,-12 14 0,-1 0 16,0 0-16,0 0 0,1-1 0,-14 1 15,13 13-15,-13-13 0,-13 0 16,-1 26 0,1 0-16,0 14 15,13-14-15,-13 26 0,-14-12 16,27 13-16,-13-1 0,0-12 0,13 12 15,-14-12-15,14-1 0,0 1 16,0-14-16,0 13 0,0-12 16,0 12-16,0-13 0,0 1 0,14-1 15,-14 0-15,13 0 0,0-13 16,0 0 0</inkml:trace>
  <inkml:trace contextRef="#ctx0" brushRef="#br0" timeOffset="9550.83">20254 3982 0,'0'0'0,"0"13"16,0 0 0,0 1-16,0-1 0,0 0 0,0 0 15,-13 1-15,13 12 0,0-13 0,0 1 16,0-1-16,13 0 0,-13 0 15,0 0-15,0 1 16,13-41 15,0 14-31,1 0 16,-14 0-16,0-1 0,13 14 16,-13-13-16,13 13 0,0 0 15,0 0 1,1 0-16,-14 13 0,13-13 15,0 14-15,0-14 16,-13 13-16,14-13 0,-1 13 16,0-13-1,0 0-15,1 0 16,-14 13 0,13-13-16,0 0 15,0 0-15,0-13 16,1 13-16,-1 0 15,0-13-15,0 13 0,1 0 0,-1-13 16,0 13-16,0 0 0,-13-14 0,14 14 16,-1 0-1,0-13-15,0 13 16,0-13 0,-13 26 46,14 0-46,-1-13-1,0-13 1,0 13-16,1 0 0,-1-13 16,0 13-16,0-13 15,14 13 1,-14 0-1,-13 13 1,13-13-16,-13 13 0,13-13 16,1 13-1,-1-13-15,0 0 16,0 0-16,1 0 0,-1 0 16,13 0-16,-13 0 15</inkml:trace>
  <inkml:trace contextRef="#ctx0" brushRef="#br0" timeOffset="14852.05">3903 2805 0,'26'13'0,"-13"-13"0,14 0 0,-1 13 0,27-13 15,-13 13-15,13-13 0,26 0 16,-13 14-16,14-14 0,-1 13 0,0-13 0,14 0 16,0 0-16,-14 13 15,14-13-15,-1 0 0,1 0 0,-14 0 16,1 0-16,-28 0 0,15 0 0,-14 13 16,-14-26-16,1 26 0,0-13 0,-14 0 15,0 0-15,1 0 0,-14 0 16,0 0-16,1 0 0,-1 0 0,0 0 15,0 0-15,1 0 0,-1 0 16,0 0 0,0 0-16,0 0 15,1 0 1,-28 0 93,1-13-93,26 13 46,1 0-62,12 0 0,-13-13 16,14 13-16,13 0 0,-1 0 16,14 0-16,0-13 0,13 13 0,0 0 15,-13 0-15,13-14 0,-13 14 0,13 0 0,-13 0 16,14 0-16,-15 0 0,1 0 16,14 0-16,-15 0 0,28 0 0,-14 0 15,0 0-15,-13 0 0,13 14 0,-13-14 16,66 0-1,-66 13-15,0-13 0,-13 0 0,13 0 16,-14 13-16,-12-13 0,12 0 0,-12 0 16,-1 0-16,14 0 0,-14 0 15,-12 13-15,12-13 0,1 0 0,-1 0 16,-13 0-16,1 0 0,12 0 0,-13 0 16,0 0-16,1 0 0,-1 0 15,0 0-15,0 0 0,1 0 16,-1 0-16,0 0 15,0 0 1,1 0-16,-14-13 94,-14 13-79,14-13-15,-13 13 0,0-13 16,-14-1-16,14 14 0</inkml:trace>
  <inkml:trace contextRef="#ctx0" brushRef="#br0" timeOffset="15699.98">4273 2064 0,'-13'0'16,"52"0"0,-12 0-1,-1 0-15,14 0 0,13 0 0,13 0 16,-13 0-16,26 0 0,1 0 16,12 0-16,1 0 0,0 0 0,12 0 15,1 0-15,0-13 0,40 13 0,-14 0 16,13 0-16,1-14 0,-1 14 15,1 0-15,-14 0 0,14 0 16,-1 0-16,-12 0 0,12 0 0,-13 0 16,-26 0-16,-13 0 0,13 0 15,-14 14-15,-12-14 0,12 0 0,-12 13 16,-14-13-16,-13 0 0,0 0 0,-14 0 16,1 0-16,-13 0 0,-14 0 15,13 13-15,-13-13 0,1 0 16</inkml:trace>
  <inkml:trace contextRef="#ctx0" brushRef="#br0" timeOffset="16223.5">6376 1958 0,'0'0'16,"0"-27"15,0 14-31,0 0 0,14 0 16,-14-14-16,0 14 0,13-13 15,0-1-15,-13 14 0,13-14 0,-13 1 16,14 13-16,-1-14 0,-13 14 0,13 0 15,-13 0-15,13-1 16,1 1-16,-1 13 16,0 0-16,0 13 0,0 1 15,1 12-15,-14-13 16,13 14-16,0-14 0,0 13 0,-13 1 16,14-14-16,-1 14 0,0-14 0,-13 13 15,13-12-15,-13-1 0,14 0 16,-14 0-16,0 0 0,13 1 0,-13-1 15,0 0-15,-13 0 16</inkml:trace>
  <inkml:trace contextRef="#ctx0" brushRef="#br0" timeOffset="16396.2">6363 1918 0,'27'-26'31,"-14"26"-31,0-13 16,14 13-16,-14 0 0,13-14 0,1 14 15,-14-13-15,13 13 0,14-13 0,-27 13 16,14-13-16,-1 13 0,1-14 0</inkml:trace>
  <inkml:trace contextRef="#ctx0" brushRef="#br0" timeOffset="16841.09">6932 1852 0,'0'-40'16,"0"27"-16,0 0 0,0 0 16,0-1-16,0 1 0,0 0 0,0 0 15,0 0-15,0-1 16,0 54 15,0-27-31,13 0 16,-13 1-16,0-1 0,14 0 15,-1-13-15,0 13 0,0-13 16,0 0-16,14 0 0,-14 0 16,0 0-16,1 0 0,-1 0 15,0 0-15,0 0 0,1 14 0,-1-14 16,0 13-16,0 0 0,0-13 0,1 13 16,-14 1-16,13-1 0,0 0 15,-13 0-15,13 0 0,-13 1 16,14-1-16,-14 0 0,0 0 15</inkml:trace>
  <inkml:trace contextRef="#ctx0" brushRef="#br0" timeOffset="17192.37">5913 1627 0,'0'0'0,"14"53"0,-14-13 16,0-14-16,0 14 0,0 0 15,0-1-15,0 1 0,0 0 0,0-1 16,0-12-16,13-1 0,-13 1 0,0-1 16,0-13-16,13 14 0,-13-14 15,0 0-15,13 1 0,1 25 16</inkml:trace>
  <inkml:trace contextRef="#ctx0" brushRef="#br0" timeOffset="17724.06">6046 1402 0,'344'-79'0,"-265"52"0,265-25 15,-265 38 1,14 14-16,-14-13 0,1 13 0,-1-13 0,-26 13 16,0 0-16,0 0 0,-13 0 15,-14 0-15,0 0 16,1 0-16,-1 0 0,1 13 0,-14-13 0,14 13 15,-1 1-15,-13-1 0,14 0 0,-1 13 16,-13 1-16,1-1 0,12 1 16,-13-1-16,1 1 0,-1 12 0,13-12 15,-13 13-15,1-14 0,-1 14 0,13-1 16,-12-12-16,-1 13 0,13-14 16,-12 14-16,-1-14 0,0 1 15,13-1-15,-12 1 0,-14-1 0,13-13 16,0 0-16,0 14 0,-13-14 0,14 0 15,-14 1-15,13-1 0,-13 0 16,0 0-16,-13-13 0,13 14 16,-14-1-16,-12 0 0,-14 0 0,1 0 15,-28 1-15,1-1 0,-13 13 16,-14-12-16,-26-1 0,0 13 0,-13-13 16,0 14-16,12-14 0,-12 14 0,13-14 15,-13 13-15,13-12 0,0-1 16,13 13-16,13-13 0,-132 27 15,159-27-15,13 1 16,14-1-16,12-13 0,1 13 0</inkml:trace>
  <inkml:trace contextRef="#ctx0" brushRef="#br0" timeOffset="19615.84">9406 2897 0,'119'27'15,"-66"-27"-15,13 0 16,13 0-16,1 13 0,-1-13 0,27 0 15,0 0-15,26 0 0,14-13 0,-14 13 16,27 0-16,-14 0 0,14-14 16,-14 14-16,160 0 0,-160 0 15,1 0-15,-14 0 0,-26-13 0,0 13 16,-14 0-16,14 0 0,-13 0 16,-14 0-16,1 0 0,-14 0 15,-13-13-15,-14 13 0,1 0 0,-14 0 16,1 0-16,-14 0 0,0 0 0,1 0 15,-1 0-15,-13-13 0,13 13 16,-39-13 0,-1 13-16,14 0 15</inkml:trace>
  <inkml:trace contextRef="#ctx0" brushRef="#br0" timeOffset="20355.95">13904 2884 0,'106'-13'0,"-212"26"0,265-26 0,-93 13 16,13-13-16,14 13 0,-1 0 0,1-14 16,0 14-16,-1 0 0,1-13 15,13 13-15,-14 0 0,1 0 0,-1-13 16,-12 13-16,12 0 0,-12-13 16,-1 13-16,-13 0 0,14 0 0,-27-14 15,-1 14-15,1 0 0,-13 0 0,0 0 16,-14 0-16,1 0 0,-1 0 15,-13 0-15,1 0 0,-54-13 32</inkml:trace>
  <inkml:trace contextRef="#ctx0" brushRef="#br0" timeOffset="20656.93">14023 3043 0,'542'-40'31,"-449"27"-31,0 13 16,-1 0-16,-13 0 0,14 0 0,-14 0 15,1 0-15,-1 0 0,1 0 16,-27 0-16,13 0 0,-13 0 0,0 13 16,-14-13-16,1 0 0,-14 0 0,1 0 15,-1 0-15,-13 0 0,1 0 16,-1 0-16,0 0 0,0 0 0,1 0 16</inkml:trace>
  <inkml:trace contextRef="#ctx0" brushRef="#br0" timeOffset="25151.02">4987 3863 0,'-26'-13'15,"13"-1"-15,-1 14 0,54-13 32,0 0-32,0 13 0,26-13 15,0 13-15,13 0 0,1 0 0,12 0 16,14 0-16,-13 0 0,12 0 15,15 0-15,-1 0 0,-14 13 16,1-13-16,0 0 0,-13 0 0,-14 0 16,0 13-16,1-13 0,-27 0 15,0 0-15,0 13 0,-14-13 0,-26 0 16,14 0-16,-14 14 0</inkml:trace>
  <inkml:trace contextRef="#ctx0" brushRef="#br0" timeOffset="25359.36">4961 3956 0,'0'0'0,"79"13"0,-26-13 0,13 0 15,14 13-15,-1-13 0,14 13 0,-14-13 16,14 0-16,-1 13 0,1-13 0,0 0 15,-14 0-15,0 14 0,-13-28 0,-13 14 16,0 0-16,-13 0 0,-14 0 16,1 0-16,-14 0 0</inkml:trace>
  <inkml:trace contextRef="#ctx0" brushRef="#br0" timeOffset="25929.83">4802 5689 0,'0'13'31,"0"0"-31,0 0 15,0 0-15,13 14 0,-26-14 0,13 14 16,0-1-16,0 1 0,0-1 0,-13-13 16,13 14-16,-13-1 0,13-13 15,0 14-15,-14-14 0,14 0 16,0 14-16,-13-27 0,13 13 0,0 0 16,-13 0-16,13 1 0,13-1 15</inkml:trace>
  <inkml:trace contextRef="#ctx0" brushRef="#br0" timeOffset="26532.25">5080 6019 0,'0'13'31,"0"1"-31,0-1 15,0 0-15,0 0 0,-13 14 16,13-14-16,-13 0 0,13 1 0,-14 12 16,1-13-16,0 0 0,13 1 0,-13-1 15,13 0-15,-14-13 0,14 13 16,-13 1-16</inkml:trace>
  <inkml:trace contextRef="#ctx0" brushRef="#br0" timeOffset="27060.5">5477 5900 0,'26'-13'16,"1"13"0,-27 13-16,13-13 0,0 13 15,-13 1 1,0-1-16,0 0 0,0 0 0,-13 1 16,0-1-16,13 0 0,-13 0 15,-1 0-15,1 1 0,0-14 0,13 13 16,-13 0-16,-1 0 0,14 1 15,0-1 1,14-13 0,-1 0-16,0 0 0,0 0 0,1 0 15,-1 0-15,0 0 0,0 0 0,0 0 16,1 0-16,12 0 16,-13-13-16,1 13 0,12 0 0,-13-14 15,1 14-15,-1-13 0,0 13 0,0-13 16,0 13-16,-13-13 0,14 13 15,-1 0-15,0-14 16,0 28 0,-13-1-1,14 13-15,-28-12 16,14-1-16,0 0 0,0 0 16,0 1-16,0-1 15,-13 0-15,13 0 0,13 0 16</inkml:trace>
  <inkml:trace contextRef="#ctx0" brushRef="#br0" timeOffset="27458.03">6231 5887 0,'13'-13'0,"0"13"16,-26 26 15,13-13-16,0 1 1,0-1-16,13 0 16,-13 0-16,14 1 15,-14-1-15,0 0 16,0 0-16,-14 0 0,14 1 16,-13-1-16,13 0 15,-13-13-15,0 13 0,13 1 16,-14-14-16,14 13 0</inkml:trace>
  <inkml:trace contextRef="#ctx0" brushRef="#br0" timeOffset="27944.4">6628 6059 0,'-13'26'16,"13"-12"-16,-14-1 15,1 0-15,13 0 16,-13 1-16,0-1 0,-1 0 16,14 0-16,-13 0 0,0 1 0,0-1 15</inkml:trace>
  <inkml:trace contextRef="#ctx0" brushRef="#br0" timeOffset="28420.87">7038 5874 0,'0'0'15,"13"-13"-15,0 13 0,-13 26 47,-13-26-47,0 13 0,0 0 0,-1 1 16,14-1-16,-13 0 0,0 0 0,0 1 15,0-1-15,13 0 16,0 0-16,0 0 0,0 1 16,0-1-16,13 0 15,0-13-15,0 13 0,0-13 16,1 0-16,12 0 0,-13 0 15,1 0-15,12 0 0,1-13 0,-14 13 16,0 0-16,13-13 0,-12 13 0,-1-13 16,0-1-16,0 1 0,-13 0 15,14-13-15,-14 12 16,0 1-16,0 0 0,-14 0 0,14-1 16,0 1-16,-13 13 0,13-13 15,0 0-15,-13 13 0,0 0 16,-1 0-16,14 13 0,-13 0 15,0 0-15,0 1 0,13 12 16,-13 1-16,13-1 0,-14 14 16,14-14-16,-13 1 0,13-1 0,0 14 0,0-27 15,0 13-15,13 1 0,-13-1 0,0-12 16,0 12-16,0-13 16,14 14-16,-14-14 0,0 0 0,0 0 15,0 1-15,0-1 0</inkml:trace>
  <inkml:trace contextRef="#ctx0" brushRef="#br0" timeOffset="28976.77">6496 7805 0,'0'0'0,"0"-13"0,0 0 16,13 52 15,-13-25-31,0-1 0,0 13 16,0-12-16,0 12 0,0 1 0,0-1 15,-13 0-15,13 1 0,0-1 0,0-12 16,0 12-16,-14-13 0,14 14 15,0-14-15,0 0 0,0 0 0,0 1 16,0-1-16</inkml:trace>
  <inkml:trace contextRef="#ctx0" brushRef="#br0" timeOffset="29208.79">6919 7805 0,'13'53'31,"-13"-40"-31,0 14 0,0-14 0,0 14 16,0-14-16,0 13 0,0-13 0,-13 14 15,13-14-15,0 14 0,13-14 16,-13 0-16,0 0 0,0 0 0,0 1 15,0-1-15,0 0 0</inkml:trace>
  <inkml:trace contextRef="#ctx0" brushRef="#br0" timeOffset="29389.76">6813 8030 0,'26'13'0,"-12"-13"16,-1 0-16,0 0 0,14 0 15,-1 0-15,1 0 0,-1 0 16,14 0-16,-1 0 0</inkml:trace>
  <inkml:trace contextRef="#ctx0" brushRef="#br0" timeOffset="29972.3">7541 7898 0,'0'-13'0,"13"13"16,13 26-1,-12-26-15,-14 13 0,0 1 16,13-1-16,-13 0 0,-13 0 0,13 0 16,0 1-16,-14-1 0,1 13 0,0-12 15,13-1-15,-13 0 0,-1 0 16,14 0-16,-13 1 0,13-1 15,-13-13-15,13 13 16,0 0-16,13-13 0,-13 14 16,13-14-1,1 0-15,-1 0 0,13 13 16,-12-13-16,-1 0 0,13 0 0,-13-13 16,14 13-16,-1 0 0,1-14 15,13 1-15,-1 0 0,1 13 0,-14-13 16,1-14-16,13 14 0,-27 0 0,13 0 15,-13-1-15,1 1 0,-1 0 16,0 0-16,0-1 0,1 1 16,-14 0-16,13 13 0,-13 26 31,-13-26-15,13 14-16,0-1 0,0 0 15,0 0-15,0 1 0,0-1 0,0 13 16,0-13-16,0 1 0,0-1 15,13 0-15,-13 0 0,0 1 16,0-1-16</inkml:trace>
  <inkml:trace contextRef="#ctx0" brushRef="#br0" timeOffset="30138.95">7885 8109 0,'13'-13'0,"0"13"0,0 0 16,1 0-16,157-13 31,-144 13-31</inkml:trace>
  <inkml:trace contextRef="#ctx0" brushRef="#br0" timeOffset="31456.85">8387 8004 0,'-13'0'62,"26"-14"1,14 14-48,-14 0 1,0 0-16,0 0 0,1 0 16,-1 0-16,-13 14 0,13-14 0,0 0 15,-13 13-15,14-13 16,-14 13-16,0 0 15,13-13-15,-13 14 16,13-1 0,-13 0-16,0 0 0,13 0 15,-26 1 1,13-1-16,0 0 16,-13-13-16,13 13 0,-13-13 15,13 14-15,-14-14 0,1 0 16,0 13-16,0-13 0</inkml:trace>
  <inkml:trace contextRef="#ctx0" brushRef="#br0" timeOffset="31665.14">8930 7964 0,'13'13'16,"-13"0"-16,0 1 16,0-1-16,0 0 0,0 0 15,0 1-15,0-1 0,0 0 16,0 0-16,0 0 16,0 1-16,0-1 0</inkml:trace>
  <inkml:trace contextRef="#ctx0" brushRef="#br0" timeOffset="31851.19">8811 8070 0,'39'-13'31,"-25"13"-31,-1 0 0,0 0 15,13 0-15,-12 0 0,-1 0 16,0 0-16,14 0 0,-14 0 0,13-14 16</inkml:trace>
  <inkml:trace contextRef="#ctx0" brushRef="#br0" timeOffset="32253.95">9631 7951 0,'13'-13'16,"-26"39"31,0-26-32,13 13-15,-14 0 0,1-13 0,13 14 16,-13-14-16,0 13 0,-1 0 0,1-13 16,13 13-16,-13 1 0,0-14 0,13 13 15,-13-13-15,13 13 0,-14-13 16,14 13-16,-13 0 16,26 1-16,-13-1 15,14-13-15,-1 13 16,0-13-16,0 0 0,0 0 15,14 13-15,-14-13 0,0 0 16,1-13-16,25 13 16,-25-13-16,-1 13 0,0 0 15,0-27-15</inkml:trace>
  <inkml:trace contextRef="#ctx0" brushRef="#br0" timeOffset="32420.03">9710 7938 0,'-79'132'32,"79"-106"-32,-13 1 0,13-1 15,-14 1-15,14-1 0,0 1 0,0-1 16,0-13-16,0 14 0,0-14 0,0 13 16,0-12-16,0-1 15,0 0-15</inkml:trace>
  <inkml:trace contextRef="#ctx0" brushRef="#br0" timeOffset="32848.91">6641 8599 0,'0'0'15,"132"13"-15,-39-13 0,105 0 16,-65 13-16,-1-13 0,13 0 0,14 14 16,-13-14-16,-1 0 0,14 0 0,0 0 15,0 0-15,-1 0 0,1 0 16,0 0-16,-14 0 0,1 13 0,-14-13 16,-26 0-16,0 0 0,0 0 0,-14 0 15,-12 13-15,-1-13 0,-26 0 16,0 0-16,-14 0 0,-12 13 0,-14-13 15,-39 14 1,-1-14-16</inkml:trace>
  <inkml:trace contextRef="#ctx0" brushRef="#br0" timeOffset="33385.8">8229 9115 0,'0'0'16,"-14"13"-1,1 0 1,0 1-16,0-14 0,-14 13 0,14 0 15,-14 0-15,1 14 0,0-14 16,12 0-16,-12-13 0,-14 27 16,27-14-16,-13 0 0,12 0 15,1-13-15,13 14 0,-13-1 0,0 0 16,26 0 0,-13 0-16,13-13 15,-13 14-15,13-14 0,1 0 0,12 13 0,-13-13 16,14 0-16,-1 0 0,1 0 0,-14 0 15,13 0-15,14-13 0,-14 13 16,1-14-16,-1 1 0,1 0 0,-1 13 16,-13-13-16,1 0 0,12 13 0,-13-14 15,-13 1-15,14 0 0,-1 0 16</inkml:trace>
  <inkml:trace contextRef="#ctx0" brushRef="#br0" timeOffset="33587">8215 9088 0,'-26'27'0,"13"-1"16,-1-12-16,-65 237 15,66-211 1,0 13-16,13-14 0,-14 1 16,1 0-16,0-1 0,13 1 15,-13-14-15,13 14 0,-14-13 0,14-14 0,0 13 16,0-13-16,0 1 0,0-1 15,14 0-15</inkml:trace>
  <inkml:trace contextRef="#ctx0" brushRef="#br0" timeOffset="34027.87">10292 8612 0,'40'-13'0,"53"0"16,-80 13-16,27 0 15,-14 0-15,0 0 0,1-14 0,-1 14 16,-12 0-16,-1 0 0,13 0 16,-26 14-16</inkml:trace>
  <inkml:trace contextRef="#ctx0" brushRef="#br0" timeOffset="34208.01">10345 8771 0,'0'0'0,"27"13"0,-14-13 16,0 0-16,0 0 0,1 0 0,12-13 16,1 13-16,-1 0 15,14 0-15,-14-13 0,1 13 0,12 0 0,-12 0 16,-14-14-16,13 14 0,-26-13 0,14 13 15,-1 0-15,-13-13 16</inkml:trace>
  <inkml:trace contextRef="#ctx0" brushRef="#br0" timeOffset="35896.04">7514 7752 0,'53'0'0,"-26"0"0,12 0 0,1 14 15,13-14-15,0 0 0,0 0 16,0 13-16,0-13 0,-14 0 0,14 13 16,-13-13-16,-14 0 0,1 0 0,-1 0 15,1 0-15,-14 0 0,0 0 16,0 0-16</inkml:trace>
  <inkml:trace contextRef="#ctx0" brushRef="#br0" timeOffset="36204.32">6350 7594 0,'26'0'0,"1"0"15,-1 0-15</inkml:trace>
  <inkml:trace contextRef="#ctx0" brushRef="#br0" timeOffset="36611.94">9499 7779 0,'26'0'16,"-13"0"-16,0 0 0,14 0 0,-14 13 16,27-13-16,-14 0 0</inkml:trace>
  <inkml:trace contextRef="#ctx0" brushRef="#br0" timeOffset="37219.68">12171 8229 0,'0'0'0,"0"26"15,0-13-15,-13 0 16,13 14-16,-14-14 0,-39 238 187</inkml:trace>
  <inkml:trace contextRef="#ctx0" brushRef="#br0" timeOffset="37399.87">12356 8295 0,'-40'211'15,"54"-197"-15,-1-1 0,0 0 0,-13-264 0,13 502 16,14-238-16,-14-13 0,13 0 0,-12 0 16,12 0-16,-13 0 0,1-13 15,12 0-15,-13 13 0,0-27 0,-13 14 16,14 0-16,-14-14 0,0 14 0,0-13 15,0 13-15,-14-14 0,14 1 16,-13 12-16,13 1 0,-13 0 0,13 0 16,-13-1-16,0 14 0,13-13 0,-14 26 15,1-13 1,0 14-16,13-1 0</inkml:trace>
  <inkml:trace contextRef="#ctx0" brushRef="#br0" timeOffset="37855.18">11919 8930 0,'40'-14'0,"-80"28"0,107-28 0,-41 14 16,-13 0-16,14 0 16,12-13-16,-12 13 0,13 0 0,-1 0 15,1 0-15,0 0 0,-1 0 0,14 0 16,-26 0-16,12 0 0,-12 0 15,13 0-15,-27 0 0,13 0 0,-13 0 16,1 0-16,-1 0 0,0 13 16</inkml:trace>
  <inkml:trace contextRef="#ctx0" brushRef="#br0" timeOffset="38354.94">12250 9128 0,'0'13'0,"-39"14"16,12-14-1,1 0-15,12-13 0,-12 27 0,-1-14 16,-12 13-16,26-12 0,-14-1 0,14 0 15,0 0-15,-1 1 0,1-1 16,13 0-16,-13-13 0,13 13 16,-13 0-16,13 1 15,13-1-15,0 0 0,0-13 16,1 0-16,12 13 0,-13-13 16,1 0-16,12 0 0,-13 0 0,14-13 15,-14 13-15,13-13 0,1 13 0,-1-13 16,-12-1-16,-1 1 0,13 0 15,-13 0-15,1 0 0,-1-1 0,0 1 16,0 0-16,-13 0 0,14-1 0,-1 1 16,-13 0-1,-13 53 17,-1-27-32,14 0 0,-13 14 0,0 12 15,0-12-15,-1 12 0,1 1 16,0-13-16,0-1 0,0 0 0,13-12 15,-14 12-15,14-13 0,0 1 0,0-1 16,14 0-16,-14 0 0,13-13 16</inkml:trace>
  <inkml:trace contextRef="#ctx0" brushRef="#br0" timeOffset="38623.08">13123 8824 0,'66'13'16,"-39"-13"-16,-14 0 16,14 13-16,-1-13 0,-13 0 15,14 0-15,-14 0 0</inkml:trace>
  <inkml:trace contextRef="#ctx0" brushRef="#br0" timeOffset="38817.24">13137 8983 0,'-14'13'31,"41"-13"-15,-14 0-16,0 0 0,0 0 16,1 0-16,-1 0 0,13 0 15,1 0-15,-1 0 0,-12 0 0,12-13 16,14 13-16,-14 0 0,1-14 0</inkml:trace>
  <inkml:trace contextRef="#ctx0" brushRef="#br0" timeOffset="39187.15">13996 8612 0,'14'-13'16,"25"26"-1,-25-13-15,-1 13 0,0-13 16,-13 14-16,13-1 0,-13 0 0,0 0 16,14 1-16,-28-1 0,14 0 0,-13 13 15,13-12-15,-13 12 16,0-13-16,-1 14 0,1-14 0,0 0 0,0 1 15,13-1-15,-14 0 16,1-13-16,13 13 16,0 0-16,0 1 15,13-14 1,1 0-16,-1 0 0,-13 13 16,13-13-16,0 0 0,1 0 0,-1-13 15,0 13-15,14 0 0,-14 0 0,0-14 16,13 14-16,-12-13 0</inkml:trace>
  <inkml:trace contextRef="#ctx0" brushRef="#br0" timeOffset="39419.24">14499 8705 0,'-13'0'32</inkml:trace>
  <inkml:trace contextRef="#ctx0" brushRef="#br0" timeOffset="39738.83">14817 8559 0,'-27'0'0,"-39"13"31,66 1-31,-13-14 16,13 13-16,13 0 0,-13 0 15,0 1-15,13-1 0,1 0 0,-14 0 16,13 1-16,-13-1 0,0 0 16,13 0-16,-13 0 0,0 1 15,-13-1-15,0 0 0,-1 0 16,1-13-16,0 14 0,-14-1 15,14 0-15,-13 0 0,-1 1 0,1 12 16,-1-13-16,1 0 0,-1 14 0,1-14 16,-1 0-16,14 14 0</inkml:trace>
  <inkml:trace contextRef="#ctx0" brushRef="#br0" timeOffset="40013.24">13891 9208 0,'0'0'0,"39"-14"0,-12 14 0,-1 0 0,-13 0 15,14 0-15,-1-13 0,1 13 16,13 0-16,-14 0 0,0-13 0,14 13 16,-13 0-16,-1 0 0,1-13 0,-14 13 15,13 0-15,-13 0 0,1 0 16</inkml:trace>
  <inkml:trace contextRef="#ctx0" brushRef="#br0" timeOffset="40263.98">13732 9313 0,'26'0'0,"67"0"31,-53 0-31,-14 0 0,14 0 0,-14 0 0,1 0 16,12 0-16,-12 0 0,-1 0 15,-12 0-15,12 0 0,-13 0 0,0 0 16,1-13-16,-1 13 0,0 0 0,0 0 16,1-13-1</inkml:trace>
  <inkml:trace contextRef="#ctx0" brushRef="#br0" timeOffset="43987.01">6244 11258 0,'0'-13'16,"-13"39"-1,13-13 1,0 14-16,-13-14 16,13 14-16,-14-1 0,14 1 0,-13 39 15,0-40-15,0 1 0,0-1 16,13 1-16,-14-1 0,14-13 15,-13 0-15,0 14 0,13-14 0,0 0 16,-13 1-16</inkml:trace>
  <inkml:trace contextRef="#ctx0" brushRef="#br0" timeOffset="44487.53">6641 11337 0,'-13'14'31,"0"-14"-31,13 13 0,-14 0 16,1 0-16,13 1 0,-13-1 0,0 0 15,13 0-15,-14 0 0,1 1 16,0 12-16,0-13 0,13 1 0,-13-1 15,-1 0-15,1 0 0,0 1 0,13-1 16,-13-13-16,13 13 0,-14 0 16,1-13-16</inkml:trace>
  <inkml:trace contextRef="#ctx0" brushRef="#br0" timeOffset="44719.44">6350 11456 0,'0'0'0,"13"0"16,0 14-1,1-1-15,-1-13 0,0 13 16,0-13-16,1 13 0,-1 1 16,0-1-16,0-13 0,1 13 0,-1 0 15,0 1-15,0-14 0,-13 13 16,13-13-16,1 13 0,-1-13 15,-13 13-15,13-13 0,0 0 16</inkml:trace>
  <inkml:trace contextRef="#ctx0" brushRef="#br0" timeOffset="45003.16">6945 11271 0,'0'53'31,"-13"-40"-31,13 1 15,0-1-15,0 13 0,0-12 16,-13 12-16,13-13 0,0 14 0,-13-14 16,13 0-16,0 14 0,0-14 0,-14 0 15,14 0-15,0 1 0</inkml:trace>
  <inkml:trace contextRef="#ctx0" brushRef="#br0" timeOffset="45289">7263 11377 0,'-27'27'31,"14"-1"-31,-13 0 16,-1-12-16,14 25 0,-13-12 0,-1-1 15,1 1-15,-14 12 0,27-12 16,-40 39-16,0-13 0,26-27 16,14 1-16,-13-1 0,12-12 15,1-1-15,0 0 0,13 0 16,-13 0-16,0-13 0,13 14 0,-14-1 16</inkml:trace>
  <inkml:trace contextRef="#ctx0" brushRef="#br0" timeOffset="45786.97">7263 11880 0,'-53'26'32,"40"-13"-32,-1-13 0,1 14 0,0-14 15,0 13-15,0 0 0,-1 0 16,1-13-16,0 0 0,13 14 16,-13-14-16,-1 13 0,14 0 15,0 0 1,14-13-16,-14 14 15,13-14-15,0 13 0,0-13 0,1 0 16,-1 0-16,13 13 0,1-13 16,-14 0-16,13 0 0,-12 0 0,-1 0 15,13 0-15,-13 0 0,1 0 16,-1 0-16,0 0 0,0-13 0,1 13 16,-1 0-16,0-13 15</inkml:trace>
  <inkml:trace contextRef="#ctx0" brushRef="#br0" timeOffset="46010.23">7422 11906 0,'-27'27'32,"27"-14"-17,0 0-15,-13 0 0,13 14 0,0-14 16,0 0-16,0 14 0,-13-14 0,13 13 15,0-12-15,0 12 0,0-13 0,-14 14 16,14-14-16,0 0 0,0 1 16,14-14-16,-14 13 0,0 0 0,13 0 15</inkml:trace>
  <inkml:trace contextRef="#ctx0" brushRef="#br0" timeOffset="46380.01">8057 11351 0,'0'39'31,"0"-25"-31,0-1 0,0 0 15,0 13-15,0-12 0,0-1 0,0 13 16,0-12-16,0 12 0,0-13 0,0 1 16,0 12-16,0-13 0,13 0 0,-13 1 15,0-1 1</inkml:trace>
  <inkml:trace contextRef="#ctx0" brushRef="#br0" timeOffset="46584.62">7871 11523 0,'0'-14'16,"80"14"0,-67-13-1,13 13-15,1 0 0,-1 0 16,1 0-16,-1 0 0,1 0 0,12-13 15,-12 13-15,-14 0 0,14 0 16</inkml:trace>
  <inkml:trace contextRef="#ctx0" brushRef="#br0" timeOffset="47076.31">8784 11218 0,'0'0'0,"13"0"0,1 0 16,-1 0-16,0 14 15,0-14 1,-13 13-16,14-13 0,-14 13 0,-14 0 16,14 0-16,-13 1 0,13 12 15,-13-13-15,0 1 0,-1-1 16,1 0-16,0 0 0,0 1 0,13-1 15,-14-13-15,1 13 0,0 0 16,13 0-16,-13-13 16,26 14-1,0-14-15,0 0 16,1 0-16,-1 0 0,0 0 16,0 0-16,14 0 0,-14 0 0,14 0 15,-1 0-15,-13 0 0,14-14 0,-1 14 16,-13 0-16,14-13 0,-1 13 15,1-13-15</inkml:trace>
  <inkml:trace contextRef="#ctx0" brushRef="#br0" timeOffset="47274.78">9459 11152 0,'-13'13'31,"-1"1"-31,14-1 0,-13 0 16,13 0-16,-13 1 0,0 12 0,-1-13 16,1 14-16,0-1 0,0 1 0,0-1 15,-1-13-15,1 1 16,0 12-16,13-13 0,-13 0 0,-1-13 16,14 14-16</inkml:trace>
  <inkml:trace contextRef="#ctx0" brushRef="#br0" timeOffset="47479.82">9155 11324 0,'39'0'31,"-25"13"-31,-1-13 0,13 0 0,-13 0 16,14 14-16,-1-14 0,1 13 15,-1-13-15,1 0 0,-1 13 0,1-13 16,-1 13-16,1-13 0,-14 0 0,0 0 16</inkml:trace>
  <inkml:trace contextRef="#ctx0" brushRef="#br0" timeOffset="47767.09">9842 11046 0,'14'40'31,"-14"-27"-31,13 14 0,-13-14 0,0 0 16,0 14-16,0-14 0,0 13 0,0 1 16,0-14-16,0 13 15,0-12-15,0-1 0,0 13 0,0-12 16,0-1-16,13 0 0</inkml:trace>
  <inkml:trace contextRef="#ctx0" brushRef="#br0" timeOffset="48013.09">10253 11232 0,'-40'13'0,"40"0"16,-27 0-16,14 14 0,-13-14 0,-1 27 15,-12-14-15,-1 14 0,13-14 16,-12 14-16,-1 0 0,14-14 0,-14 14 15,0-1-15,14-12 0,-1-1 0,1 1 16,-1-1-16,14-12 0,-13 12 16,26-13-16,-13 0 0,-1 1 0,14-1 15,-13-13-15,13 13 16</inkml:trace>
  <inkml:trace contextRef="#ctx0" brushRef="#br0" timeOffset="48464.99">10081 11734 0,'0'0'0,"-27"14"31,14-14-15,0 13-16,-1-13 0,1 13 0,0-13 15,0 13-15,0 0 0,-14-13 0,14 14 16,13-1-16,-13-13 0,-1 13 15,1-13-15,13 13 0,-13-13 16,13 14-16,0-1 16,13-13-1,-13 13-15,13-13 0,1 0 0,-1 0 16,13 13-16,1-13 0,-14 0 16,0 0-16,14 0 0,-14 0 0,13 0 15,-12 0-15,-1-13 0,0 13 16,14 0-16,-14 0 0,0 0 15,0-13-15,0 13 16</inkml:trace>
  <inkml:trace contextRef="#ctx0" brushRef="#br0" timeOffset="48691.87">10160 11761 0,'-13'0'0,"13"13"16,-27 66 0,14-52-1,13-14-15,-13 13 0,13 1 0,-13-14 16,13 14-16,-14-14 0,14 13 16,0-12-16,-13 12 0,13-13 0,0 0 15,0 1-15,0-1 0,0 0 16</inkml:trace>
  <inkml:trace contextRef="#ctx0" brushRef="#br0" timeOffset="50215.92">10941 11152 0,'-40'27'0,"27"-14"0,-1 13 15,1-12-15,0 12 0,0-13 16,-1 14-16,1-1 0,0-13 0,0 14 15,-14-1-15,14 1 0,0-14 0,0 0 16</inkml:trace>
  <inkml:trace contextRef="#ctx0" brushRef="#br0" timeOffset="50432.06">10663 11258 0,'13'26'31,"0"-12"-31,0-1 0,1 0 0,-1 0 16,13-13-16,-12 14 0,12-1 16,-13 0-16,14 0 0,-1-13 15,-13 14-15,14-14 0,-1 13 0,1-13 16,-1 0-16</inkml:trace>
  <inkml:trace contextRef="#ctx0" brushRef="#br0" timeOffset="50942.03">11655 11007 0,'0'-14'0,"13"14"16,-13 27 0,0-14-1,0 0-15,0 1 0,0-1 16,0 13-16,0-13 0,0 14 0,0-1 16,0-12-16,0 12 0,0-13 0,0 14 15,0-14-15,0 0 0,0 14 16,0-14-16,0 0 0</inkml:trace>
  <inkml:trace contextRef="#ctx0" brushRef="#br0" timeOffset="51191.94">11456 11417 0,'27'0'16,"-27"-13"-16,13 13 16,0 0-16,1 0 0,12 0 15,1 0-15,-1-14 0,0 14 0,1 0 16,-1-13-16,1 13 0,-1 0 16,1 0-16,-1-13 0,1 13 0,-1 0 15,-13 0-15,14 0 0,-1 0 16,-13 0-16</inkml:trace>
  <inkml:trace contextRef="#ctx0" brushRef="#br0" timeOffset="52706.97">10795 11020 0,'0'-13'16,"-13"39"-1,13-13 1,0 1-16,0 12 0,0 0 0,0 1 16,0 13-16,-13-1 0,13 1 0,0 0 15,0-1-15,0 1 0,0-13 16,0-1-16,0 0 0,0 1 0,0-1 16,0 1-16,0-14 0,0 14 0,0-14 15,0 0-15,0 0 0,0 0 16,0 1-16,0-1 15</inkml:trace>
  <inkml:trace contextRef="#ctx0" brushRef="#br0" timeOffset="52959.81">10478 11430 0,'-14'-13'16,"28"0"0,-1 13-16,0-14 0,13 14 0,1 0 15,-1-13-15,1 13 0,-1 0 0,14-13 16,0 13-16,-14-13 0,14 13 16,-14 0-16,1-14 0,12 14 0,-12 0 15,-14 0-15,14-13 0,-1 13 16,0 0-16,-12 0 0,-1 0 15,13 0-15,-12 0 0,-1 0 0,13 0 16</inkml:trace>
  <inkml:trace contextRef="#ctx0" brushRef="#br0" timeOffset="54229.2">11179 11245 0,'26'-13'63,"-13"13"-48,1 0 1,-14 13-16,0 0 31,0 0-31,0 0 31,13 1-15,-13-1-16,13-13 0,-13 13 16,13 0-16,0 1 15,-13-1-15,0 0 16,0 0-16,-13 1 16,13-1-16,-13-13 0,13 13 15,-13 0-15,0-13 0,-1 13 0,1-13 16,0 14-16,0-14 15,-1 0-15</inkml:trace>
  <inkml:trace contextRef="#ctx0" brushRef="#br0" timeOffset="54452.28">11536 11205 0,'-13'27'15,"13"-14"1,-14 0-16,1 0 15,13 0-15</inkml:trace>
  <inkml:trace contextRef="#ctx0" brushRef="#br0" timeOffset="54619.98">11430 11271 0,'26'13'47,"-12"-13"-47,-1 14 0,0-14 16,0 13-16,1-13 0,-1 13 0,13-13 15,-12 13-15</inkml:trace>
  <inkml:trace contextRef="#ctx0" brushRef="#br0" timeOffset="55075">11721 11721 0,'-26'27'16,"12"-14"-1,1 0-15,0 0 0,13 0 16,-13 1-16,-1-1 0,14 0 0,-13-13 15,13 13-15,-13 1 0,13-1 16,-13 0-16,13 0 16,13 0-16,0 1 15,0-14-15,1 13 16,12-13-16,-13 0 0,1 0 16,-1 0-16,0 0 0,0-13 0,1 13 15,-1 0-15,0-14 0,0 14 0,0-13 16,1 13-16,-1-13 0,-13 0 15,13 0-15</inkml:trace>
  <inkml:trace contextRef="#ctx0" brushRef="#br0" timeOffset="55247.21">11867 11761 0,'0'-27'0,"0"67"0,0-93 0,0 93 0,0-93 15,-14 53-15,14-13 16,-13 26 0,0 0-16,13 0 15,0 1-15,0-1 0,-13 0 0,13 0 16,0 0-16,0 1 0,0 12 0,-14-13 15,14 1-15,0 12 0,0-13 16,0 0-16,0 1 0,14-1 0,-14 0 16,0 0-16,13 1 0,0-1 15</inkml:trace>
  <inkml:trace contextRef="#ctx0" brushRef="#br0" timeOffset="55591.16">12634 11152 0,'0'13'0,"0"1"0,-13-1 16,13 0-16,0 14 0,0-14 0,0 0 15,0 13-15,0-12 0,0 12 16,0-13-16,0 1 0,0 12 0,0-13 15,0 1-15,0-1 0,0 0 16,0 0-16</inkml:trace>
  <inkml:trace contextRef="#ctx0" brushRef="#br0" timeOffset="55787.31">12396 11298 0,'0'0'0,"26"0"16,-13 0-1,14 0-15,-14-14 0,14 14 16,39 0-16,-40-13 16,1 13-16,12 0 0,-12 0 0,-1-13 15</inkml:trace>
  <inkml:trace contextRef="#ctx0" brushRef="#br0" timeOffset="56204.5">13467 11033 0,'-26'13'0,"-14"14"31,27-14-31,0-13 0,13 13 0,-14 0 15,1-13-15,13 14 0,-13-14 16,13 13-16,-13-13 16,26 13-1,-13 0-15,13-13 0,0 0 16,1 0-16,-1 0 0,0 0 0,0 14 16,1-14-16,12 0 0,-13-14 15,14 14-15,-14 0 0,0 0 0,0 0 16,14 0-16,-14 0 0,0-13 0,1 13 15,-1 0-15</inkml:trace>
  <inkml:trace contextRef="#ctx0" brushRef="#br0" timeOffset="56428.95">13560 10888 0,'-40'53'31,"40"-40"-31,0 0 0,0 13 16,-13-12-16,13 12 0,0 1 0,0-1 15,-13 0-15,13 1 0,0-1 16,0-12-16,-13 12 0,13-13 16,0 14-16,0-14 0,0 0 0,0 0 0,0 1 15,13-1 1</inkml:trace>
  <inkml:trace contextRef="#ctx0" brushRef="#br0" timeOffset="56656.91">14354 10954 0,'-14'13'0,"1"0"0,0 0 16,0 1-16,0 12 0,-1-13 15,1 1-15,0-1 0,-14 13 0,14-13 16,0 14-16,0-14 16,-1 0-16,1 1 0,13-1 0</inkml:trace>
  <inkml:trace contextRef="#ctx0" brushRef="#br0" timeOffset="56843.33">14155 11007 0,'13'0'0,"14"39"31,-14-39-31,0 14 0,1-1 0,-1-13 15,0 13-15,0 0 0,1-13 16,-1 13-16,0-13 0</inkml:trace>
  <inkml:trace contextRef="#ctx0" brushRef="#br0" timeOffset="57116.94">14698 10663 0,'-14'66'31,"14"-40"-31,0-12 0,0 12 0,-13 0 0,13 14 16,0-13-16,-13-1 0,0 14 15,13-14-15,-14 1 0,14-1 16,-13-13-16,13 14 0,-13-1 0,13-13 16,0 1-16,0-1 0</inkml:trace>
  <inkml:trace contextRef="#ctx0" brushRef="#br0" timeOffset="57367.27">14856 10927 0,'-79'93'32,"53"-67"-32,-1 14 0,1 0 0,-14-1 15,13-12-15,-12 13 0,12-1 16,1-12-16,-1-1 0,1 14 0,-1-14 15,1 1-15,0-1 0,12 1 0,1-14 16,0 0-16,0 0 0,13 1 0,-14-14 16,14 13-16</inkml:trace>
  <inkml:trace contextRef="#ctx0" brushRef="#br0" timeOffset="57823.94">14737 11470 0,'-26'13'0,"-40"27"31,52-40-31,1 13 0,0 0 0,0-13 15,0 13-15,-1 1 0,1-1 16,0-13-16,13 13 0,-13-13 16,13 13-1,0 0-15,13-13 16,-13 14-16,13-14 0,0 0 16,1 0-16,-1 0 0,0 0 0,0 0 15,0 0-15,1 0 0,-1-14 0,0 14 16,14 0-16,-14-13 0,0 0 15,14 0-15</inkml:trace>
  <inkml:trace contextRef="#ctx0" brushRef="#br0" timeOffset="58016.89">14896 11390 0,'0'0'0,"-26"14"0,26-1 15,-14 0-15,1 0 0,13 14 16,-13-14-16,0 13 0,13 14 0,-14-13 15,1 12-15,13-12 0,-13-1 16,13 1-16,0-1 0,0 1 0,-13-14 16,13 13-16,0-13 0,0 14 0,0-14 15,0 0-15,0 1 0,0-1 16,0 0-16</inkml:trace>
  <inkml:trace contextRef="#ctx0" brushRef="#br0" timeOffset="58907.15">6800 13004 0,'145'14'16,"-65"-14"-16,-1 0 16,14-14-16,-1 14 0,14 0 15,26-13-15,1 13 0,12-13 16,1 13-16,12-13 0,1-1 0,13 1 16,0 0-16,27 0 0,-14-1 15,13 1-15,14 0 0,39 0 0,14 0 16,-67-1-16,14 1 0,53 0 0,-67 13 15,14-13-15,52-1 0,-65 14 16,-1-13-16,-13 0 0,14 13 0,-14-13 16,-13 13-16,-13 0 0,-1-14 0,-12 14 15,-14 0-15,-26 0 0,-27 0 16,1-13-16,-14 26 0,-26-13 0,-1 0 16,-12 0-16,-14 0 0</inkml:trace>
  <inkml:trace contextRef="#ctx0" brushRef="#br0" timeOffset="59519.48">11946 13216 0,'-27'13'15,"14"-13"1,0 13-16,0-13 0,0 0 0,-1 14 0,1-1 15,-13-13-15,12 13 0,-12-13 16,13 13-16,0-13 0,-14 14 0,14-1 16,0-13-16,13 13 0,-14-13 15,14 13-15,-13-13 0,13 13 16,13 1-16,1-1 16,12-13-16,-13 13 0,14-13 0,-1 0 15,1 13-15,12-13 0,-12 0 0,12 0 16,1 0-16,13 0 0,-13-13 15,-1 13-15,1-13 0,0 0 0,0-1 16,-1 1-16,-12 13 0,-14-13 0,13 0 16,-12 0-16,-1-1 15,-13 1-15,13 13 16,-39 13 15,12 1-31,14-1 0,-13 13 0,13 1 16,-13-1-16,0 14 0,-1-14 0,14 14 15,-13-14-15,13 1 0,0-1 16,0 1-16,0-14 0,0 13 0,0 1 16,13-1-16,-13-12 0,0-1 0,14 13 15,-14-12-15,0-1 16,0 0-16</inkml:trace>
  <inkml:trace contextRef="#ctx0" brushRef="#br0" timeOffset="60419.93">6773 11126 0,'-92'158'0,"26"173"31,66-265-31,0 1 0,13-1 16,-13 13-16,13-13 0,0 0 0,1-13 16,-1 13-16,0-26 0,13 0 15,-12-1-15,-1 1 0,0-13 0,14-1 16,-14-13-16,0 0 0,0 1 0,0-14 16,1 0-16,-1 0 0,0 0 15,0-14-15</inkml:trace>
  <inkml:trace contextRef="#ctx0" brushRef="#br0" timeOffset="60738.77">7170 11086 0,'66'40'16,"-132"-80"-16,172 119 0,-53-39 0,-13 13 0,-1-13 16,1 26-16,0-13 0,-1 26 15,1 1-15,-13-14 0,12 0 0,-12 13 16,-14-13-16,13 0 0,-12 14 0,-14-14 15,13 0-15,-13 0 0,0-13 16,0 0-16,0-13 0,-13-1 0,13 1 16,0-27-16,0 14 0,13-14 0</inkml:trace>
  <inkml:trace contextRef="#ctx0" brushRef="#br0" timeOffset="61302.95">9790 10927 0,'-172'450'31,"145"-357"-31,14-14 16,13 0-16,-13 1 0,13-1 15,0 1-15,0-14 0,13 0 16,0 0-16,0-13 0,14 0 0,-1 0 16,1-27-16,-1 1 0,14-1 15,-14-13-15,1 1 0,-1-14 16,1-14-16</inkml:trace>
  <inkml:trace contextRef="#ctx0" brushRef="#br0" timeOffset="61620.05">10186 10755 0,'40'66'0,"-80"-132"0,107 185 0,-41-66 0,-13 13 15,1 1-15,12 12 0,-13 27 16,0-27-16,-13 1 0,14 12 15,-14 1-15,0-14 0,-14 1 0,14-1 16,-13 0-16,13-13 0,-13 1 0,0-1 16,0-27-16,13 1 0,0 0 15,0-27-15</inkml:trace>
  <inkml:trace contextRef="#ctx0" brushRef="#br0" timeOffset="62271.17">11615 10874 0,'-13'14'16,"13"-1"-16,-13 27 0,0-14 15,-1 27-15,-12 13 0,13 0 0,-1 0 16,1 0-16,0 14 0,0-1 15,-1 14-15,14-14 0,0-13 0,0 14 16,0-14-16,0 0 0,14 0 0,-1-13 16,0-13-16,0-1 0,1-12 15,-1 13-15,13-27 0,-12 0 16,12 0-16,-13-13 0,0 0 0,14 0 16</inkml:trace>
  <inkml:trace contextRef="#ctx0" brushRef="#br0" timeOffset="62595.28">11986 10782 0,'132'211'15,"-92"-158"-15,-14 0 16,14 13-16,-14 1 0,1-15 16,-14 15-16,0-1 0,0 0 0,1 0 15,-14 0-15,0-26 0,0 26 0,-14-13 16,1-13-16,13-1 15,-13 1-15,13 0 0,-13-14 0,13-13 16,0 1-16,0-1 0</inkml:trace>
  <inkml:trace contextRef="#ctx0" brushRef="#br0" timeOffset="63200.03">14579 10478 0,'0'0'0,"-53"79"16,26-39-16,1 12 0,12 1 0,-12 14 16,0 12-16,-1 14 0,1-1 0,-1 1 15,1-1-15,-1-12 0,14-1 16,0 0-16,13 1 0,-13-14 0,13 0 16,13 0-16,0-13 0,-13-13 0,13 0 15,1-1-15,12-12 0,-13-1 16,0-13-16,1-13 0,-1 14 0,0-14 15,0 0-15</inkml:trace>
  <inkml:trace contextRef="#ctx0" brushRef="#br0" timeOffset="63478.93">15028 10557 0,'0'0'0,"53"92"0,-26-39 0,-1 14 0,1-1 15,-1 13-15,-13 14 0,1-1 16,-1-12-16,-13-1 0,-13 40 0,-1-26 15,-12 13-15,-1-14 0,-12 1 16,-1-40-16,0 39 0,-13-12 0,0-14 16,1 0-16</inkml:trace>
  <inkml:trace contextRef="#ctx0" brushRef="#br0" timeOffset="65293.2">6879 10954 0,'0'-27'0,"53"-92"31,-26 93-31,12-14 0,1 0 0,0 1 16,13 12-16,-1-12 0,15-1 0,-15 13 15,15 1-15,-1-14 0,0 14 0,13-1 16,1 1-16,-1 13 0,0-14 15,1 1-15,-1 13 0,1-1 16,12 1-16,1 0 0,-1 0 0,1-1 16,0 14-16,-1 0 0,1 0 15,-1 0-15,1 14 0,0-14 0,-1 13 16,1 0-16,-14 14 0,1-14 0,-1 13 16,-13 1-16,0-1 0,0 1 15,53 26-15,-79-14 0,13-12 16,-27-1-16,1 1 0,-1-1 0,1-13 15,-14 14-15,0-14 0,1 0 0,-14 0 16,13 1-16,-13-1 0,13 0 16,-13 0-16,0 1 0,13-14 31,0-14-15,-13 1-16,14 13 15,-1-13-15</inkml:trace>
  <inkml:trace contextRef="#ctx0" brushRef="#br0" timeOffset="65836.77">10014 10689 0,'0'-13'0,"53"-40"31,-39 40-31,-1 0 0,13-14 0,1 14 16,-1-14-16,14 1 0,0 0 0,-1-1 15,14 1-15,0-1 0,-13 14 0,13-14 16,0 14-16,0 0 0,-14 0 16,1 0-16,13 13 0,0 0 0,-14-14 15,14 14-15,0 14 0,0-14 0,-13 13 16,13-13-16,0 13 0,-14 0 15,1 0-15,0 1 0,-1-1 0,1-13 16,-13 26-16,-1-26 0,1 14 0,-14-1 16,0-13-16,13 13 0,-12 0 15,-1 1-15,0-14 16,0 0-16,-13 13 0,14-13 16,-1 13-16,0-13 31,0-13-31,1 13 15</inkml:trace>
  <inkml:trace contextRef="#ctx0" brushRef="#br0" timeOffset="66426.95">11470 10491 0,'26'-27'16,"-13"14"-16,1 13 0,-1-13 0,0 0 15,14-1-15,-1 1 0,0-13 0,14 12 16,-13-12-16,12 13 0,67-40 16,-40 13-16,0 14 0,1-1 15,-1-12-15,26 12 0,14-13 0,0 14 16,0-14-16,0 14 0,-1-1 15,15 1-15,-1-1 0,-14 14 0,-12 0 16,0 0-16,-1 13 0,1 0 0,-1 0 16,1 13-16,0 0 0,-1 0 0,-12 1 15,-1 12-15,0-13 16,-12 14-16,12-1 0,-13 1 0,-13-1 16,13 1-16,-13-1 0,13 1 0,-26-1 15,0 0-15,-1-12 0,1-1 16,-27 0-16,14 0 0,-14 1 0,0-1 15,0-13-15,1 13 0,-1-13 0,0 0 16,-13 13-16,13-13 0,0 0 16,1 14-1,-1-28-15,0 1 16,0 0 0,1 13-16,-14-13 0,13 13 0,-13-14 15,13 14-15,0-13 0</inkml:trace>
  <inkml:trace contextRef="#ctx0" brushRef="#br0" timeOffset="68047.03">18772 9194 0,'0'40'16,"0"-27"-16,-13 0 16,13 1-16,0 12 0,0 1 15,-13-1-15,13 0 0,-14 1 0,14 13 16,-13-14-16,13 1 0,-13-1 0,13-13 16,0 14-16,-13-14 0,13 0 15,0 0-15</inkml:trace>
  <inkml:trace contextRef="#ctx0" brushRef="#br0" timeOffset="68307.5">19182 9419 0,'-92'80'31,"52"-54"-31,0 14 0,1-14 15,-1 14-15,0 0 0,1-14 0,-1 14 16,0-1-16,14-12 0,-14-1 0,14 1 16,-1-14-16,1 13 0,-1 1 15,14-14-15,0 0 0,0 1 16,-1-1-16,1 0 0,13 0 0,-13-13 16,0 13-16,13 1 15</inkml:trace>
  <inkml:trace contextRef="#ctx0" brushRef="#br0" timeOffset="68823.39">19024 9856 0,'-67'26'16,"54"-13"-16,0 1 0,0-1 15,-14 0-15,14 0 0,0 1 0,0-1 16,-1 0-16,1 0 0,0 0 0,0 1 16,-1-1-16,14 0 15,-13-13-15,13 13 0,0 1 16,13-14-16,-13 13 0,14-13 15,-1 0-15,0 0 0,0 0 16,1 0-16,-1 0 0,13 0 16,-13-13-16,14 13 0,-14-14 0,14 14 15,-14-13-15,0 13 0,27-26 16,-27 12-16,27-25 16,-27 12-16,0 1 15,-13 13-15,0-1 0,13 1 0,-13 0 16,0 0-16,-13-1 31,0 41-15,13-14-16,-13-13 15,13 13-15,0 14 0,-14-14 0,14 0 16,0 14-16,0-1 0,-13 1 0,13-14 16,0 13-16,0 1 0,0-14 15,13 14-15,-13-14 0,0 0 0,0 13 16,14-12-16,-1-1 0,0-13 0,0 13 15</inkml:trace>
  <inkml:trace contextRef="#ctx0" brushRef="#br0" timeOffset="69183.98">20069 9141 0,'-14'27'16,"14"-14"-16,0 14 15,0-14-15,0 13 0,0 1 0,0-1 16,0 14-16,0-14 0,0 1 0,0-1 16,0 1-16,0-1 0,0-13 15,0 14-15,0-1 0,0-13 0,0 1 16,0-1-16</inkml:trace>
  <inkml:trace contextRef="#ctx0" brushRef="#br0" timeOffset="69363.9">19936 9432 0,'27'0'0,"-14"0"15,0 0-15,0 0 0,1 0 0,12 0 16,-13 0-16,14 0 0,-14 0 16,14-13-16,-1 13 0,14 0 0</inkml:trace>
  <inkml:trace contextRef="#ctx0" brushRef="#br0" timeOffset="69556.03">20664 9102 0,'-13'26'16,"0"-13"-1,13 1-15,0-1 0,-14 13 0,14-12 16,-13 12-16,13 0 0,-13-12 0,13 12 16,-13 1-16,13-1 0,-14-13 15,14 14-15,0-14 0,0 0 0,14 0 16</inkml:trace>
  <inkml:trace contextRef="#ctx0" brushRef="#br0" timeOffset="69808.14">21114 9300 0,'0'0'0,"-27"13"31,14 1-31,0-1 0,-14 13 15,1 1-15,-14-1 0,14 1 0,-1 12 16,-12 1-16,12-14 0,1 1 16,-14 13-16,14-14 0,-1 1 0,1-1 15,12 0-15,-12-12 0,13-1 16,13 0-16,-13 0 0,-1 1 0,14-1 16,-13 0-16,13 0 15,0 0-15,0 1 16</inkml:trace>
  <inkml:trace contextRef="#ctx0" brushRef="#br0" timeOffset="70122.83">21021 9657 0,'-53'40'31,"40"-27"-31,0-13 0,-14 13 16,14 1-16,0-1 0,-14 0 16,14 0-16,0 1 0,0-1 0,-1 0 15,1 0-15,13 0 0,-13-13 16,13 14-16,0-1 16,0 0-16,13 0 15,0-13-15,1 0 16,-1 0-16,0 0 15,14 0-15,-14 0 0,0-13 16,0 13-16,1 0 0,-1-13 0,13 0 16,-13 13-16,1-14 0,-1 1 0,0 0 15</inkml:trace>
  <inkml:trace contextRef="#ctx0" brushRef="#br0" timeOffset="70284.08">21074 9684 0,'-13'26'15,"26"-52"-15,-39 65 0,12-25 16,14-1-16,-13 0 0,13 14 0,-13-14 16,13 13-16,-13 1 0,-1-14 0,14 13 15,-13 1-15,13-14 0,0 0 16,-13 14-16,13-14 0,0 0 16,0 0-16,13 1 0,-13-1 0</inkml:trace>
  <inkml:trace contextRef="#ctx0" brushRef="#br0" timeOffset="70589.34">22027 9022 0,'-27'27'0,"27"-14"0,0 80 16,0-67-16,0 14 15,0-1-15,0-12 0,0 13 0,13-14 16,-13 0-16,0 1 0,0-1 0,0 1 15,0-14-15,0 14 0,0-14 16</inkml:trace>
  <inkml:trace contextRef="#ctx0" brushRef="#br0" timeOffset="70755.2">21762 9446 0,'26'-14'0,"-12"14"16,-1 0-16,13 0 0,1 0 16,13 0-16,-14-13 0,14 13 0,13 0 15,-27-13-15,0 13 0</inkml:trace>
  <inkml:trace contextRef="#ctx0" brushRef="#br0" timeOffset="70989.8">22820 8864 0,'-13'26'0,"13"-13"15,0 14-15,-13-1 0,13 14 16,-13-14-16,13 14 0,-14 0 0,1-1 15,0 1-15,13 0 0,-13-1 0,-1 1 16,1-13-16,0 25 16,13-25-16,0-14 0,0 0 0</inkml:trace>
  <inkml:trace contextRef="#ctx0" brushRef="#br0" timeOffset="71205.92">23032 9287 0,'0'0'0,"13"0"16,-26 13 0,0 0-16,0 1 0,-14 12 15,1 0-15,-1 1 0,1 13 0,-14-1 16,0-12-16,14 12 0,-14 1 0,0-13 16,14 12-16,-14-12 0,14-1 15,-1 1-15,14-1 0,-13-13 0,12 1 16,1-1-16,13 0 0,-13 0 0,13 0 15</inkml:trace>
  <inkml:trace contextRef="#ctx0" brushRef="#br0" timeOffset="71527.09">22926 9644 0,'-26'13'31,"12"1"-15,1-1-16,0 0 0,0 0 0,-14 0 15,14 1-15,0-1 0,0 13 0,-14-12 16,14-1-16,13 0 0,-13-13 16,-1 13-16,14 0 0,-13-13 0,13 14 15,0-1-15,0 0 16,13 0-16,1 1 15,-1-14 1,0 0-16,0 0 0,1 0 0,-1 0 16,0 0-16,0 0 0,1-14 0,-1 14 15,0-13-15,0 13 0,14-13 16,-14 0-16,0-1 0,0 14 0,-13-13 16,14 0-16</inkml:trace>
  <inkml:trace contextRef="#ctx0" brushRef="#br0" timeOffset="71707.9">23019 9684 0,'-13'0'16,"-1"13"0,1-13-16,13 13 0,-13 0 0,13 1 15,-13-1-15,13 0 0,-14 0 0,14 14 16,-13-14-16,0 13 0,13-12 16,0 12-16,-13-13 0,13 14 15,-14-14-15,14 14 0,0-14 0,-13 13 16,13-13-16,-13 14 0,13-14 15,0 0-15,13-13 16</inkml:trace>
  <inkml:trace contextRef="#ctx0" brushRef="#br0" timeOffset="71982.78">23733 9102 0,'-13'0'0,"0"13"0,13 0 0,-53 93 31,40-80-31,-1 14 0,14 0 16,-13-1-16,13 1 0,-13-13 0,13-1 15,-13 1-15,13-14 0,0 13 0,-14-13 16,14 14-16,-13-14 16,13 0-16</inkml:trace>
  <inkml:trace contextRef="#ctx0" brushRef="#br0" timeOffset="72179.97">23429 9353 0,'26'13'15,"-12"-13"-15,-1 0 16,0 0-16,13 0 0,1 0 0,-1 0 16,1 0-16,-1 0 0,1 0 0,-1 0 15,14-13-15,-14 13 0,1 0 16</inkml:trace>
  <inkml:trace contextRef="#ctx0" brushRef="#br0" timeOffset="72388.86">24395 8903 0,'-80'119'31,"67"-79"-31,0-14 16,0 1-16,-1 13 0,-12-14 0,13 1 16,-1 12-16,14-12 0,-13-14 15,0 13-15,0 1 0,13-14 0,0 0 16,0 0-16</inkml:trace>
  <inkml:trace contextRef="#ctx0" brushRef="#br0" timeOffset="72644.06">24619 9287 0,'-39'40'16,"12"-27"-16,1 13 0,-14-13 16,1 27-16,12-13 0,-13 12 0,1-12 15,-1 12-15,0-12 0,1 13 0,-1-14 16,0 14-16,1-14 0,12 1 15,1-1-15,-14 1 0,27-14 0,-14 13 16,1-13-16,13 1 0,-1-1 16,14 0-16,-13-13 0,0 13 15</inkml:trace>
  <inkml:trace contextRef="#ctx0" brushRef="#br0" timeOffset="72940.97">24289 9697 0,'-40'0'15,"27"13"-15,0-13 0,-1 13 16,1 1-16,0-14 15,0 13-15,13 0 0,-14-13 0,14 13 16,-13-13-16,13 14 0,0-1 16,0 0-1,13-13 1,1 13-16,-1-13 0,0 0 0,0-13 16,1 13-16,-1 0 0,0 0 0,0-13 15,14 13-15,-14-13 16,0-1-16,0 14 0,14-13 0</inkml:trace>
  <inkml:trace contextRef="#ctx0" brushRef="#br0" timeOffset="73128.53">24487 9631 0,'-53'26'32,"40"1"-32,0-14 0,0 0 0,-1 14 15,-12-1-15,13 1 0,-14-1 0,14-13 16,0 14-16,0-14 0,13 0 15,-14 14-15,1-14 0,0 0 16,13 0-16,-13 1 0,-1-1 0,14 0 16,-13 0-16,13 0 0,-13 1 0,0-14 15,13 13-15,-14-13 0</inkml:trace>
  <inkml:trace contextRef="#ctx0" brushRef="#br0" timeOffset="73724.81">17820 9988 0,'39'-13'0,"-78"26"0,92-39 16,-40 26-16,0 0 0,0 0 0,1-14 15,-1 14-15,0 0 0,0 0 16</inkml:trace>
  <inkml:trace contextRef="#ctx0" brushRef="#br0" timeOffset="73885.95">17859 10120 0,'27'0'16,"-14"0"-16,0-13 16,1 13-16,-1 0 0,0 0 0,0 0 15,14 0-15,-14-13 0,0 13 16</inkml:trace>
  <inkml:trace contextRef="#ctx0" brushRef="#br0" timeOffset="74264.95">18150 11377 0,'40'0'16,"-27"0"-16,1 0 0,12 0 0,-13-13 16,0 13-16,14 0 15,-14 0-15,0 0 0,14 0 0,-14 0 16,0 0-16,1 0 0</inkml:trace>
  <inkml:trace contextRef="#ctx0" brushRef="#br0" timeOffset="74453.12">18137 11602 0,'66'-13'16,"-39"13"-1,-14-13-15,13 13 0,-12-14 16,12 14-16,93-39 15</inkml:trace>
  <inkml:trace contextRef="#ctx0" brushRef="#br0" timeOffset="75034.93">19672 11073 0,'0'0'15,"-27"13"-15,14 0 0,0-13 0,0 13 0,-1-13 16,1 14-16,-13-1 0,12-13 16,1 13-16,0-13 0,13 13 0,-13 1 15,0-14-15,13 13 0,0 0 16,-14-13-16,14 13 0,14 1 15,-14-1-15,13-13 0,-13 13 16,13 0-16,0-13 0,14 13 0,-14-13 16,13 14-16,-12-14 0,12 0 0,-13 0 15,14 13-15,-14-13 0,0 0 16,0 0-16,14-13 0,-14 13 0,0 0 16,-13-14-16,14 14 0</inkml:trace>
  <inkml:trace contextRef="#ctx0" brushRef="#br0" timeOffset="75217.75">19672 11060 0,'0'0'0,"-27"26"0,27-13 0,-13 0 0,13 14 16,-13-14-16,13 14 0,-13-14 0,-1 13 15,14 14-15,-13-14 0,0 14 16,0-13-16,13-14 0,-14 13 0,1 1 15,13-14-15,0 0 0,0 14 0,0-14 16</inkml:trace>
  <inkml:trace contextRef="#ctx0" brushRef="#br0" timeOffset="75452.52">20135 11152 0,'-53'80'32,"26"-54"-32,-12 0 0,-1 1 15,0 13-15,-13-1 0,1-12 16,-1 12-16,13 1 0,0-13 0,-13 12 16,14-12-16,12-1 0,1 1 0,-1-1 15,1 1-15,13-14 16,-1 0-16,1 0 0,13 1 0,-13-14 15,13 13-15</inkml:trace>
  <inkml:trace contextRef="#ctx0" brushRef="#br0" timeOffset="75860.02">19791 11774 0,'-66'40'31,"52"-40"-31,-12 26 16,13-13-16,0-13 0,-1 14 0,1-1 15,0 0-15,13 0 16,0 0-16,0 1 16,13-14-1,0 13-15,1-13 0,-1 0 0,0 13 16,13-13-16,1 0 0,-14 0 0,14 0 15,-1 0-15,1-13 0,-1 13 16,0-13-16,-12 13 0,12-14 0,-13 14 16,1-13-16,-1 0 0</inkml:trace>
  <inkml:trace contextRef="#ctx0" brushRef="#br0" timeOffset="76027.03">19963 11748 0,'-27'39'0,"54"-78"0,-54 91 0,14-38 0,0 12 16,13-13-16,-13 14 16,13-1-16,-14 1 0,14-1 0,-13 1 0,13-1 15,0 1-15,-13-1 0,13 0 16,0-12-16,0 12 0,0 1 0,0-14 16,0 13-16</inkml:trace>
  <inkml:trace contextRef="#ctx0" brushRef="#br0" timeOffset="76336.98">18944 13137 0,'13'-14'15,"1"14"-15,-1 0 0,0 0 16,0 0-16,1-13 0,12 13 15,0 0-15,-12 0 0,-1 0 16</inkml:trace>
  <inkml:trace contextRef="#ctx0" brushRef="#br0" timeOffset="76523.87">18825 13401 0,'27'0'16,"78"-26"-1,-65 12-15,0 1 16,-14 0-16,14 13 0,-14-13 0,14 0 16</inkml:trace>
  <inkml:trace contextRef="#ctx0" brushRef="#br0" timeOffset="76784.7">19711 12978 0,'-13'40'0,"13"-27"0,-13 26 16,0-25-16,13 12 15,0-13-15,-13 14 0,13-14 0,-14 0 16,14 14-16,0-14 0,-13 0 0,13 0 16,0 1-16,0-1 0</inkml:trace>
  <inkml:trace contextRef="#ctx0" brushRef="#br0" timeOffset="77035.03">20267 13150 0,'0'0'0,"-53"39"16,27-25-16,-1 12 0,-12 1 0,-1 12 16,-13-12-16,13 12 0,-13 1 0,14 0 15,-1-14-15,0 14 0,14-14 0,-1 1 16,14-1-16,-13-12 0,12-1 16,14 0-16,-13 0 0</inkml:trace>
  <inkml:trace contextRef="#ctx0" brushRef="#br0" timeOffset="77220.17">20545 13176 0,'-27'27'16,"54"-54"-16,-80 80 0,27-26 0,-1-1 0,-13 1 15,1 12-15,-14 1 0,13 0 16,-13-1-16,0 1 0,0 0 0,0-1 15,14 1-15,-14-14 0,0 14 0,13 0 16,-13-14-16</inkml:trace>
  <inkml:trace contextRef="#ctx0" brushRef="#br0" timeOffset="81956.72">5080 4088 0,'-13'40'16,"13"-27"-16,0 13 0,0-13 16,0 14-16,0-1 0,0 14 0,0-14 15,0 14-15,0 0 0,0-14 16,0 1-16,0-1 0,0 14 0,0-27 0,0 14 16,0-1-16,0 1 15,0-14-15,0 0 0,-13 0 0,13 0 16,0 1-16,0-1 0</inkml:trace>
  <inkml:trace contextRef="#ctx0" brushRef="#br0" timeOffset="82157.1">5093 4180 0,'-53'67'31,"40"-41"-31,-13 0 16,12 1-16,1-1 0,-13 1 0,12-1 15,1 1-15,0-1 0,0-13 0,0 14 16,-1-14-16,14 0 0,-13 1 16</inkml:trace>
  <inkml:trace contextRef="#ctx0" brushRef="#br0" timeOffset="82313.19">4961 4247 0,'13'0'0,"0"13"0,1-13 16,-1 13-16,0-13 0,0 13 0,14 0 16,-14 1-16,13-14 0,1 13 15,-1 0-15,-12 0 0,12-13 0,1 14 16,-1-1-16,-13-13 0</inkml:trace>
  <inkml:trace contextRef="#ctx0" brushRef="#br0" timeOffset="82619">5636 4035 0,'0'40'0,"0"-27"0,0 79 31,0-65-31,13 26 0,-13-14 0,0 1 16,0 0-16,0 0 0,-13-1 0,13-12 15,0-1-15,0 1 0,0-1 16,0 1-16,0-1 0,0-13 16,0 0-16,0 1 0,0-1 0</inkml:trace>
  <inkml:trace contextRef="#ctx0" brushRef="#br0" timeOffset="82820.03">5662 4180 0,'-13'27'0,"0"-14"15,-1 14-15,1-14 16,-13 13-16,12 1 0,-12-1 0,13 1 0,-14-1 16,1-13-16,13 14 0,-1-14 15,1 0-15,0-13 0,0 13 16,0-13-16</inkml:trace>
  <inkml:trace contextRef="#ctx0" brushRef="#br0" timeOffset="82978.87">5437 4167 0,'13'0'0,"-26"0"0,40 0 16,-14 13-16,0-13 0,0 14 15,1-14-15,-1 13 16,0 0-16,0 0 0,14-13 0,-14 14 15,13-1-15,-26 0 0,27 0 0,-14-13 16,14 13-16,-14-13 0,13 14 0</inkml:trace>
  <inkml:trace contextRef="#ctx0" brushRef="#br0" timeOffset="83241.1">6376 4022 0,'-26'26'16,"26"40"0,0-39-16,0-1 0,13 14 15,-13 0-15,0-1 0,13 1 0,-13 0 16,14-1-16,-14 1 0,0-14 15,13 1-15,-13-1 0,0 1 0,0-1 16,0-12-16,0-1 0,13 0 0,-13 0 16,-13 0-16</inkml:trace>
  <inkml:trace contextRef="#ctx0" brushRef="#br0" timeOffset="83449">6390 4101 0,'-14'40'0,"-38"52"32,38-78-32,1 12 0,0 14 0,-27 26 15,27-40-15,0-12 16,13-1-16,-14 0 0,14 0 0,-13 0 15</inkml:trace>
  <inkml:trace contextRef="#ctx0" brushRef="#br0" timeOffset="83625.12">6204 4075 0,'14'0'0,"-1"0"0,0 13 0,0 0 15,1-13-15,12 13 0,1 1 16,-14-1-16,13 0 0,14 0 0,-14 0 16,1-13-16,-1 14 0,1-1 0,12-13 15,-12 13-15,-1-13 0</inkml:trace>
  <inkml:trace contextRef="#ctx0" brushRef="#br0" timeOffset="83947.93">7329 3863 0,'0'26'16,"13"1"-16,-13-1 15,13 1-15,-13 12 0,14 1 0,-1 0 16,-13 0-16,13-1 0,0 1 16,-13 0-16,14-1 0,-14 1 0,0 0 15,0-14-15,13 1 0,-13-1 16,0-13-16,0 14 0,0-14 0,0 0 15</inkml:trace>
  <inkml:trace contextRef="#ctx0" brushRef="#br0" timeOffset="84173.26">7488 3956 0,'-27'26'16,"14"0"-16,0-12 0,0 12 0,-14 14 16,1-14-16,12 1 0,-12-1 15,-1 14-15,1-14 0,0 1 0,-1-1 16,14 1-16,-14-14 0,27 0 0,-13 0 16,0-13-16,13 14 0,-13-14 15</inkml:trace>
  <inkml:trace contextRef="#ctx0" brushRef="#br0" timeOffset="84332.35">7316 3929 0,'26'-13'15,"-13"13"-15,67 66 16,-54-53 0,1 14-16,-1-1 0,-13 1 0,14-14 15,-1 13-15,1 1 0,-1-14 16,-13 0-16,1 0 0,12 1 0,-13-1 15,1-13-15,-1 13 0,0-13 16</inkml:trace>
  <inkml:trace contextRef="#ctx0" brushRef="#br0" timeOffset="88415.03">7064 344 0,'53'0'0,"-26"0"15,92-13 1,-66 0-16,-14 13 0,1 0 16,-13-14-16,-1 14 0,14 0 0,-14 0 0,1-13 15,-14 13-15,13 0 0,-12 0 0,-1 0 16,0 0-16,0 13 15,-13 1-15,0-1 16,-13 0-16,13 13 0,0-12 16,-13-1-16,13 0 0,-13 14 15,13-1-15,0 0 0,0 1 16,0-1-16,0 14 0,0 0 0,13-1 16,-13 14-16,26-13 0,-26 13 15,27-13-15,-14-1 0,0-12 0,14 12 16,-14-12-16,0-1 0,0 1 0,1-1 15,-1-12-15,0-1 0,-13 0 16,0 0-16,0 0 0,-13 1 0,0-1 16,-1 0-16,-12 14 0,-27-1 0,0-13 15,-13 14-15,-14-1 16,-25 1-16,-1-1 0,0 1 0,0-1 16,0 1-16,27-1 0,-27 0 0,14-12 15</inkml:trace>
  <inkml:trace contextRef="#ctx0" brushRef="#br0" timeOffset="90979.84">21153 2659 0,'14'0'0,"-28"0"0,41 0 0,-14 0 16,14 0-16,-14 0 0,13 0 0,1 0 15,12 0-15,-12-13 0,-1 13 16,14 0-16,0-13 0,-14 13 0,14-14 16,-14 14-16</inkml:trace>
  <inkml:trace contextRef="#ctx0" brushRef="#br0" timeOffset="91249.89">21616 2447 0,'14'27'15,"-14"-14"-15,13-13 16,0 13-16,-13 1 0,13-1 16,1 0-16,-1 0 0,0 0 0,-13 1 15,13-1-15,1-13 0,-14 13 0,0 0 16,0 1-16,13-1 0,-13 0 15,0 0-15,-13-13 0,13 14 0,0-1 16,0 0-16,-14 0 0,14 0 16,0 1-1</inkml:trace>
  <inkml:trace contextRef="#ctx0" brushRef="#br0" timeOffset="93119.92">4723 6654 0,'13'-13'15,"-13"40"1,0-14-16,0 0 0,13 27 16,-13-14-16,0 1 0,0-1 15,0 0-15,0 1 0,0-1 16,0-12-16,0 12 0,0 1 0,0-1 15,0-13-15,0 14 0,-13-14 16,13 0-16,0 0 0,0 1 16,0-1-16</inkml:trace>
  <inkml:trace contextRef="#ctx0" brushRef="#br0" timeOffset="93305.93">4749 6668 0,'-26'39'16,"13"-26"0,-1 14-16,1-1 0,-13 40 15,12-39-15,1 13 0,-26 39 16,25-53 0,14-12-16,-13-1 15,13 0-15,-13-13 0</inkml:trace>
  <inkml:trace contextRef="#ctx0" brushRef="#br0" timeOffset="93456.17">4657 6787 0,'13'0'16,"0"0"-16,40 26 16,-40-26-1,0 0-15,1 0 0,-1 13 16,0-13-16,0 0 0,14 0 0,-14 0 15,0 0-15,14 0 0</inkml:trace>
  <inkml:trace contextRef="#ctx0" brushRef="#br0" timeOffset="94082.92">5556 6548 0,'0'14'31,"0"12"-31,13-13 0,-13 14 0,0-14 16,0 14-16,0 12 0,0-12 0,14-1 15,-14 1-15,0-1 0,0 0 0,0 1 16,0-1-16,0-12 0,0 12 15,0-13-15,0 1 0,0-1 0</inkml:trace>
  <inkml:trace contextRef="#ctx0" brushRef="#br0" timeOffset="94349.32">5503 6535 0,'-13'27'16,"0"-14"-16,13 0 0,0 0 15,0 14-15,-13-14 0,13 14 0,0-1 16,-14-13-16,14 14 0,0-1 15,-13-13-15,13 14 0,0-14 0,0 0 16,0 14-16,0-14 0,-13 0 0</inkml:trace>
  <inkml:trace contextRef="#ctx0" brushRef="#br0" timeOffset="94572.1">5437 6548 0,'13'0'0,"-26"0"0,40 14 15,-14-14-15,0 13 0,0-13 16,1 13-16,12 0 0,-13 1 0,0-14 16,14 13-16,-14 0 0,0-13 0,14 13 15,-14-13-15,0 14 0,1-1 16,-1-13-16,0 0 0,0 0 15,0 13-15</inkml:trace>
  <inkml:trace contextRef="#ctx0" brushRef="#br0" timeOffset="95755.06">6257 6443 0,'14'0'0,"-14"-14"16,13 41-1,0-14-15,-13 0 0,0 1 16,13 12-16,-13 0 0,14-12 15,-14 12-15,0 1 0,0-1 0,0 1 16,13-14-16,-13 13 0,0 1 16,0-14-16,0 0 0,0 0 0,0 14 15,0-14-15,0 0 0</inkml:trace>
  <inkml:trace contextRef="#ctx0" brushRef="#br0" timeOffset="95984.95">6284 6456 0,'-27'26'0,"54"-52"0,-54 66 0,14-27 0,13 0 15,-13 0-15,0 0 0,13 14 16,-14-14-16,14 14 0,-13-1 15,0-13-15,13 14 0,-13-1 0,0-13 16,13 14-16,0-14 0,0 0 0,-14 1 16,14-1-16</inkml:trace>
  <inkml:trace contextRef="#ctx0" brushRef="#br0" timeOffset="96204.05">6204 6390 0,'14'0'0,"12"13"0,-13 0 16,14 0-16,-14 1 0,0 12 16,14-13-16,-14 1 0,0-1 15,14 0-15,-14 0 0,0 0 0,0 1 16,1-1-16,-1 0 0,0 0 0,0-13 15,1 14-15,-1-14 0</inkml:trace>
  <inkml:trace contextRef="#ctx0" brushRef="#br0" timeOffset="97083.87">7210 6615 0,'0'26'16,"13"1"-1,-13-1-15,13-13 0,-13 14 16,14-14-16,-14 13 0,0 1 16,13-1-16,-13-13 0,0 14 0,0-1 0,0-12 15,13 12-15,-13-13 0,0 14 16,0-14-16,0 0 0,0 0 15,0 1-15,0-1 0</inkml:trace>
  <inkml:trace contextRef="#ctx0" brushRef="#br0" timeOffset="97387.54">7236 6535 0,'0'0'0,"-13"13"15,13 1-15,-13-1 0,13 0 16,-13 14-16,13-14 0,-14 13 0,1 1 15,13-14-15,-13 13 0,13 1 16,-13-1-16,13-12 0,-13 12 0,13-13 16,-14 14-16,14-14 0,-13 0 0,13 0 15,0 1 1</inkml:trace>
  <inkml:trace contextRef="#ctx0" brushRef="#br0" timeOffset="97708.08">7144 6575 0,'26'0'16,"-52"0"-16,65 0 0,-25 0 0,12 0 0,-13 13 15,14-13-15,-14 13 0,13-13 16,-12 0-16,12 14 0,1-14 16,-14 13-16,0-13 0,14 13 0,-14-13 15,0 0-15,0 13 0,0-13 16,1 0-16,-1 0 0,0 0 0,-13 14 16,13-14-16,1 0 0,-1 0 15,0 13 16</inkml:trace>
  <inkml:trace contextRef="#ctx0" brushRef="#br0" timeOffset="99792.86">4538 5715 0,'-14'-13'15,"14"0"-15,0-1 16,0 1 0,0 0-16,0 0 0,14-1 15,-14 1-15,13-13 0,-13 12 16,13 1-16,-13 0 0,13 0 15,1 0-15,-1-1 0,0-12 0,0 13 16,0-1-16,1 1 0,-1 0 0,0 0 16,0 0-16,14 13 0,-14-14 15,0 1-15,0 0 0,1 13 0,12-13 16,1-1-16,-14 14 0,13 0 16,-12-13-16,12 13 0,-13-13 15,14 13-15,-14 0 0,13 0 0,-12 0 16,-1 0-16,13 0 0,-12 0 0,-1 13 15,13-13-15,-13 0 0,1 13 0,-1-13 16,0 14-16,0-1 0,1-13 16,12 13-16,-13-13 0,1 13 0,-14 1 15,13-14-15,0 13 0,0 0 16,0-13-16,1 13 0,-1 0 0,0 1 16,0-14-16,1 13 0,-1 0 0,0-13 15,0 13-15,1 1 0,-1-14 16,0 13-16,0-13 0,0 13 0,1-13 15,-1 0-15,0 13 0,0-13 0,1 0 16,-1 0-16,0 0 0,0 0 16,14 0-16,-14 0 0,0 0 15,0-13-15,1 13 0,-1 0 0,0 0 16,0-13-16,1 13 0,-1 0 16,0 0-16,-13-13 0,13 13 0,0-14 15,1 14-15,-14-13 16,13 0-16,-13 0 15,13-1-15,-13 1 0,0 0 16,0 0-16,0 0 0,0-1 16,0 1-16,0 0 0,0 0 0,0-14 15,0 14 1,0 0 0,0-1 15,13 28-16,1-14-15,-1 13 16,0-13-16,0 13 16,14-13-16,-14 13 0,0-13 15,0 0-15,14 14 0,-14-14 0,0 13 16,14-13-16,-14 0 0,13 0 16,-12 13-16,12-13 0,14 0 15,-14 0-15,-12-13 0,12 13 0,14 0 16,-14-13-16,1 13 15,-14 0-15,27-14 0,-14 1 16,0 13-16,1-13 0,-1 0 0,14-1 16,-13 1-16,-1 13 0,0-13 15,14 0-15,13 0 16,13-14-16,-39 27 16,52-13-16,-39 13 15,13 0-15,-27 0 16,14 13-16,-14-13 0,40 27 0,-39-14 15,26 13-15,-27-26 16,-13 13-16,27 14 0,-27-14 16,14 14-16,-14-14 15,13 27-15,1-14 16,-1-13-16,27 27 16,0-14-16,13-12 15,-26-1-15</inkml:trace>
  <inkml:trace contextRef="#ctx0" brushRef="#br0" timeOffset="100436.99">8215 5927 0,'0'0'15,"27"-14"1,-14 14-16,13 0 0,1 0 15,-1 0-15,14-13 0,13 13 0,-13-13 16,-1 13-16,14 0 0,-13 0 16,0-13-16,-14 13 0,14-13 0,-14 13 15,1 0-15,-14-14 0,13 14 0,1 0 16,-14 0-16,0 0 0,1-13 16,-1 13-16,0 0 0,-13-13 15</inkml:trace>
  <inkml:trace contextRef="#ctx0" brushRef="#br0" timeOffset="100856.36">8599 5662 0,'26'0'63,"-12"0"-32,12 0-31,-13 0 0,1 0 16,12 0-16,-13 0 0,0 0 15,1 0-15,12 0 0,-13 0 16,1 0-16,-1 0 0,13 0 0,-12 0 16,-1 0-16,0 0 0,0 0 0,0 13 15,1-13-15,-1 0 16,0 14-16,0-14 0,-13 13 0,0 0 16,14 0-16,-14 0 0,-14 1 0,14 12 15,0-13-15,-13 27 0,0-13 16,-14-1-16,14 14 0,-13-14 0,-1 1 15,14 12-15,-13-12 0,-1-1 0,14 1 16,0-1-16,-1-13 0,14 1 16,-13-1-16</inkml:trace>
  <inkml:trace contextRef="#ctx0" brushRef="#br0" timeOffset="101872.2">9803 5689 0,'13'26'16,"0"0"0,0-12-16,-13 12 0,14-13 0,-1 14 15,13-1-15,-12 1 0,-14-1 0,13-13 16,0 1-16,0-1 0,1 0 15,-1 0-15,0 1 0,-13-1 0,13-13 16,0 13-16,1-13 0,-1 0 16,0-13-16,0 13 15,-13-13-15,14-1 0,-14 1 16,13 0-16,-13-14 0,13 1 0,-13 0 16,13-1-16,-13-13 0,0 14 15,0-1-15,0-12 0,0 12 16,0 1-16,0-1 0,0 14 0,0-13 0,0 12 15,0 1-15,0 0 0,14 13 16,-14 13 0,0 0-16,13 1 15,-13-1-15</inkml:trace>
  <inkml:trace contextRef="#ctx0" brushRef="#br0" timeOffset="103391.92">10398 5622 0,'-13'0'0,"-40"40"16,53-27 0,-13 1-16,0-1 0,-1 0 15,14 0-15,-13 0 0,13 1 16,0-1-16,-13 0 0,13 0 0,0 1 15,0-1-15,0 0 16,13 0-16,14-13 16,-14-13-1,-13 0-15,13 13 16,-13-13-16,13-1 0,-13 1 0,0 0 16,13 0-16,-13-1 15,0 1-15,14 40 31,-14-14-15,0 0-16,13-13 0,-13 13 16,13 1-16,0-1 15,1-13-15,-1 0 16,0 0-16,-13-13 16,13 13-16,1-14 15,-1 1-15,-13 0 0,0 0 0,13-1 16,-13 1-16,13-13 0,-13 13 0,0-14 15,0 14-15,0-27 0,0 14 16,0-1-16,0 1 0,0-1 0,-13 1 16,13-1-16,0 14 0,0-13 0,0 13 15,0-1-15,0 1 0,0 0 16,-13 39 0,13-12-1,0 12-15,0-13 16,0 14-16,0-1 0,0 1 0,13-1 15,-13 0-15,0 1 0,13-14 0,-13 14 16,13-14-16,-13 0 0,14 0 16,-1 1-16,-13-1 0,13-13 0,0 13 15,1-13-15,-14 13 0,26-26 16,-13 13-16,-13-13 16,13 13-16,1-13 0,-14-1 15,13 14-15,-13-13 0,13 0 16,-13 0-16,0-1 0,13 1 0,-13 0 15,14 0 1,-14-1-16,-14 54 47,14-27-47,0 1 0,0-1 16,0 0-16,14 0 0,-14 1 15,13-1 1,0-13-16,0 0 15,1 0-15,-1-13 16,0 13-16,0-14 0,0 1 16,-13 0-16,14 0 15,-14-1 1,0 1-16,13 0 0,-13 0 16,-13 26 30,13 0-30,0 0-16,0 1 16,0-1-16,13-13 0,-13 13 15,13-13 1,-13 13-16,13-13 16,1 0-16,-1 0 15,0 0 1,0 0-1,-13-13-15,14 13 16,-14-13-16,13 13 16,-13-13-1,0-1 1,0 1 0,-13 26 62,13 1-78,0-1 15,0 0 1,0 0 0,13 1-1,0-14 16,0-14-31,0 1 16,1 0-16,-1 0 16,0-1-1,0 1 1,1 13-16,-14-13 0,13 13 16,0 13-1,0-13-15,0 13 16,-13 1-16,14-14 15,-14 13-15,0 0 0,0 0 0,0 1 16,-14-1-16,14 0 16,0 0-16,-13-13 0,13 13 0,-13 1 15,0-1-15,13 0 0</inkml:trace>
  <inkml:trace contextRef="#ctx0" brushRef="#br0" timeOffset="104548.85">11880 5371 0,'-13'-13'0,"-14"26"32,14 0-32,0 1 15,-1-1-15,1 13 0,0-13 0,0 14 16,13-14-16,-13 0 0,-1 1 16,14-1-16,0 13 0,0-13 0,-13-13 15,26 14-15,-13-1 0,0 0 16,14 0-1,-1-13-15,0-13 16,-13 0-16,13 13 0,-13-13 16,13-1-16,-13 1 0,14 0 15,-14-13-15,0 12 0,13 1 0,-13 0 16,0-14-16,13 27 0,-13-13 0,0 0 16,0 0-16,13 0 15,-13 26 16,0 0-31,0 0 0,0 0 16,14-13-16,-14 14 0,0-1 16,13 0-16,-13 0 0,13 1 15,0-1-15,0-13 16,1 13-16,-1-26 16,0 13-16,0 0 0,1 0 15,-14-13-15,13-1 0,0 14 0,-13-13 16,13 0-16,-13 0 0,14-14 15,-14 14-15,13 0 0,-13 0 0,0-14 16,0 14-16,13 0 0,-13-1 0,0 1 16,0 0-16,0 0 15,0-1-15,0 1 0,-13 40 47,13-14-31,13 0-16,-13 0 0,0 1 15,13-1-15,-13 0 0,13-13 16,1 13-16,-1 1 0,0-14 16,0 0-16,1 0 0,-1 0 15,0 0-15,0-14 0,1 1 16,-14 0-16,13 13 16,-13-13-16,0-1 0,13 14 15,-13-13-15,0 40 31,0-14-15,0 0-16,13-13 0,-13 13 0,0 1 16,0-1-16,0 0 15,13 0-15,-13 0 0,14-13 16,-14 14-16,13-14 0,0 0 16,0 13-16,1-13 0,-1 0 0,0 0 15,0-13-15</inkml:trace>
  <inkml:trace contextRef="#ctx0" brushRef="#br0" timeOffset="105000.87">13123 4815 0,'0'27'16,"0"-14"-1,-13 14-15,13-14 0,0 13 16,0 1-16,0 12 0,0 1 16,0-13-16,0-1 0,0 14 0,0-14 15,0-13-15,13 14 0,-13-14 0,14 0 16,-14 1-16,13-1 0,0 0 15,0-13-15,0 13 0,1-26 16,-1 13-16,0-13 0,0 13 0,14-13 16,-14-1-16,0-12 0,1-1 15,-1 14-15,-13 0 0,13 13 16,-13-13-16,13-1 0,-13 41 31,13-27-31,-13 13 16,14 0-16,-14 1 15,13-14-15,-13 13 0,13-13 0,0 13 16,1-13-16,-1 0 0,0 0 16,0 0-16,1 0 0,-1 0 0,0 0 15,-13-13-15</inkml:trace>
  <inkml:trace contextRef="#ctx0" brushRef="#br0" timeOffset="105278.23">12859 5133 0,'66'-13'32,"-40"13"-32,1 0 0,-1-14 0,14 14 15,0-13-15,-1 0 0,1 13 16,-14 0-16,1-13 0,-1 13 0,1 0 16,-1-13-16</inkml:trace>
  <inkml:trace contextRef="#ctx0" brushRef="#br0" timeOffset="105810.71">13560 5226 0,'13'-27'32,"-13"14"-32,13 0 15,-13-1 1,14 1-16,-14 0 0,0 0 16,0-1-16,0 1 15,-14 13 1,1 0-1,13 13-15,-13-13 0,13 14 0,-13-1 16,13 0-16,-14-13 0,14 13 16,0 1-16,0-1 0,0 0 15,14-13-15,-14 13 0,13 1 16,0-14-16,0 0 16,1 0-16,-1 13 0,0-13 0,0-13 15,14 13-15,-14 0 0,13 0 0,1 0 16,-14-14-16</inkml:trace>
  <inkml:trace contextRef="#ctx0" brushRef="#br0" timeOffset="106360.29">13917 5146 0,'-26'-26'16,"-1"26"0,14 0-16,0 13 15,-1-13 1,1 13-16,0-13 15,0 13-15,13 1 16,13-1 15,0-13-31,0 0 16,1 0 0,-1 0-16,0 0 0,0-13 0,1 13 15,-1 0-15,-13-14 16,13 14-16,0-13 0,14-13 0,-14 12 15,-13 1-15,13 0 0,0 0 16,1-14-16,-14 1 0,13-1 16,0-12-16,-13 12 0,13-12 0,-13 12 15,14 14-15,-14-14 0,0 1 0,0 13 16,13-1-16,-13 1 0,0 0 16,-13 39-1,-1 14 1,14-27-16,-13 14 0,13-14 15,0 14-15,0-14 0,0 13 16,0-13-16,0 14 0,0-14 0,13 0 16,-13 1-16,14-14 0,-14 13 0,13-13 15,0 0-15,0 0 16,1 0-16,-1 13 0,0-13 16,0 0-16,0 0 0,1 0 15,-1 0-15,0 13 16,0-13-1,1 0-15,-1 0 16</inkml:trace>
  <inkml:trace contextRef="#ctx0" brushRef="#br0" timeOffset="106512.58">13798 4987 0,'40'-13'32,"-14"13"-32,-13 0 0,14 0 15,-1 0-15,1-13 0,-1 13 16,14 0-16</inkml:trace>
  <inkml:trace contextRef="#ctx0" brushRef="#br0" timeOffset="106867.62">14433 4882 0,'-26'0'0,"12"13"0,1-13 15,13 13-15,-13-13 0,0 26 16,-27 27 15,40-39-31,13-14 16,0 0-16,1 0 15,-1-14-15,0 14 0,0-13 0,1 0 16,-1 0-16,0-14 0,0 1 16,14-1-16,-14-12 0,0 12 15,0-13-15,-13 14 0,14 13 0,-14 0 16,13-1-16,-13 1 0,0 0 0,-13 39 31,-1-12-31,14 12 16,-13-13-16,13 14 0,0-1 0,-13-13 15,13 14-15,0-1 0,0-12 0,13 12 16,-13 0-16,13 1 0,-13-14 16,14 14-16,-1-14 0,0 13 15,0-12-15</inkml:trace>
  <inkml:trace contextRef="#ctx0" brushRef="#br0" timeOffset="109113.06">14195 5861 0,'66'-80'31,"-53"67"-16,1-14-15,-14 14 0,13-13 0,-13 13 16,0-1-16,13 1 0,-13 0 16,0 0-16,0-1 0,-13 14 31,0 14-31,-1-1 0,1 0 16,13 0-16,-13 1 0,0 12 0,13-13 15,-14 0-15,14 1 0,0-1 16,0 0-16,14 0 0,-14 1 0,13-1 15,0-13-15,0 0 0,1 0 16,-1 0-16,13 0 0,1-13 16,-1-1-16,1 14 0,-1-13 0,0 0 15,-12 0-15,12-1 0,-13 1 0,1 0 16,-1 0-16,0 0 0,-13-1 16,13 14-16,-13-13 0,0 0 15,14 13-15,-14-13 0,0-1 16,-14 14-16,14-13 15,-13 13-15,-13 0 32,12 13-32,14 1 15,-13-14 1,13 13-16,13 0 16,1-13-1,-1 0 1,0 0-1,0 0-15,1 0 0,-14 13 16,13-13 0,-13 14-16,13-14 15,-13 13-15,0 0 0,0 0 16,0 0-16,13-13 0,-13 14 0,0-1 16,13 0-16,-13 0 15,14-13-15,-14 14 16,13-14-16,0 0 15,0 0-15,1-14 0,-1 1 16,0 0-16,-13 0 16,13-1-16,-13 1 0,14 0 0,-14-13 15,13 12-15,-13-12 0,13 13 16,0-14-16,-13 1 0,0 12 16,0 1-16,13 13 0,-13-13 15,0 0-15,-13 39 31,13-13-31,0 1 16,0-1-16,0 0 0,0 0 0,0 1 16,0-1-16,0 0 0,0 0 15,13 1-15,1-1 16,-1-13-16,0 13 0,14-26 16,-14 13-16,0-13 15,0-1-15,0 14 0,1-13 16,-1 0-16,0 0 0,0-1 15,1 14-15,-14-13 0,13 0 16,0 26 15,-13 0-15,0 1-16,13-14 16,-13 13-16,14-13 15,12 0-15,-13 0 16,0 0-16,1 0 0,-1-13 15,0 13-15,0 0 0,1-14 0,-1 14 16,0-13-16,0 0 16,1 13-16,-14-13 0,0-1 15,0 1 1,-14 13 0,-12 0-16,13 13 15,-1 1-15,14-1 16,-13-13-16,13 13 15,0 0-15,0 1 16,13-1 0,14-26-16,-14 13 15,14-14 1,-14 14-16,0-13 0,0 0 0,0 13 16,14-40-16,-14 27 0,14-13 15,-14-1-15,0-13 0,0 14 16,1-14-16,-1 1 0,0 12 0,0-13 15,0 1-15,-13 12 0,14 1 0,-14 13 16,0-1-16,13 1 0,-13 0 16,0 0-16,0-1 0,-13 54 31,13-27-31,-14 14 0,1 13 16,13-14-16,-13 14 0,0-1 15,13-12-15,0-1 0,0 1 0,0-1 16,0-13-16,0 1 0,0 12 0,0-13 15,13 1-15,-13-1 0,13 0 16,0-13-16,-13 13 0,14-13 16,-1 0-16,0 0 0,0-13 15,1 13-15,-1-13 0,0 0 0,0-1 16,1-12-16,-1-1 0,0 1 16,0 0-16,0-1 0,1 14 0,-1-14 15,-13 14-15,13 0 0,-13 0 16,0-1-16,13 1 0,-13 0 15,0 0-15,-26 26 47,26 0-47,-13 0 16,13 1-16,-14-14 0,14 13 0,0 0 16,0 0-16,-13-13 0,13 14 15,0-1-15,0 0 0,0 0 16,13 1-16,-13-1 0,0 0 0,0 0 15,14-13-15,-14 13 0,13-13 16,-13 14-16,13-14 16,0 0-16,1 0 0,-1 0 15,-13-14-15,13 14 0,0 0 16,0-13-16,1 0 0,-1 13 16,0 0-16,-13-13 0,13 13 15,-13-13-15,14 13 0,-1-14 16,0 1-1,0 13-15,1 0 16,-1 0 0,0 0-16,0 0 0,14 0 15,-14 0 1,0 13-16,0-13 16,1 14-16,-14-1 15,0 0-15,0 0 16,0 0-16,0 1 0,0-1 0,0 0 15,-14 14-15,14-14 0,-13 13 16,13-13-16,-13 14 0,0-14 0,-1 0 16,14 1-16,-13-1 0,0 0 0,13 0 15,-13-13 1,26-26 0,0 13-16,0-14 0,1 1 15,12-1-15,-13 1 0,14-14 16,-1 14-16,-12-1 0,12 1 15,-13 13-15,0-14 0,1 14 0,-14 0 16,13-1-16,0 1 0,0 0 0,1 0 16,-1-1-16</inkml:trace>
  <inkml:trace contextRef="#ctx0" brushRef="#br0" timeOffset="109497.52">14526 6046 0,'66'-14'0,"-27"1"16,1 0-16,13 0 0,79-27 15,-52 27-15,-1-14 0,0 14 16,1-13-16,-14 13 0,13-1 0,1-12 15,-14 13-15,0 13 0,-13-14 0,-13 1 16,-14 13-16,1 0 0,-1 0 0,-13 0 16</inkml:trace>
  <inkml:trace contextRef="#ctx0" brushRef="#br0" timeOffset="109661.89">14631 6032 0,'-39'0'0,"78"0"0,-39-13 32,27 0-32,13 0 0,-1 0 15,27-1-15,-13-12 0,0 13 16,0-14-16,-13 14 0,0 0 0,-1 0 16,-12-14-16,-1 14 0,-13 0 15</inkml:trace>
  <inkml:trace contextRef="#ctx0" brushRef="#br0" timeOffset="110106.03">11681 5794 0,'14'0'0,"-28"0"0,41-13 0,13 0 0,-1 0 16,27-14-16,0 1 0,14 13 16,12-14-16,14-13 0,13 14 0,0-1 15,-13 1-15,13 0 0,-13-1 0,13 1 16,-13 12-16,0-12 0,-14 13 15,-12-14-15,-14 14 0,0 0 16,-13 13-16,-26 0 0,-1-13 0,0 13 16,-12 0-16</inkml:trace>
  <inkml:trace contextRef="#ctx0" brushRef="#br0" timeOffset="110373.9">11972 5861 0,'53'-27'15,"265"-66"1,-252 80 0,13 0-16,1 0 0,-1 0 15,-13-14-15,14 14 0,-14 0 0,0-1 16,0 14-16,-13-13 0,0 13 0,-27-13 15,14 13-15,-27 0 0,14 0 16,-14 0-16,0 0 0,0 0 0,1 0 16</inkml:trace>
  <inkml:trace contextRef="#ctx0" brushRef="#br0" timeOffset="113424.81">6271 5900 0,'0'-13'47,"13"0"-47,-13 0 0,0-1 15,13 1-15,-13 0 0,0 0 16,0-1-16,0-12 0,0 13 15,13-14-15,-13 14 0,0-13 0,0 12 16,0-12-16,0 13 0,0-14 0,0 14 16,0-14-16,0 14 0,0 0 15,0 0-15,0 0 0,0-1 0,0 1 16,-13 0 0</inkml:trace>
  <inkml:trace contextRef="#ctx0" brushRef="#br0" timeOffset="113655.65">6324 5398 0,'-14'26'0,"-25"40"32,25-53-32,14 14 0,-13-14 15,0 13-15,13-12 0,-13 12 0,-1-13 16,14 1-16,-13-1 0,13 0 16,0 0-16</inkml:trace>
  <inkml:trace contextRef="#ctx0" brushRef="#br0" timeOffset="113797.47">6310 5556 0,'14'13'0,"12"1"15</inkml:trace>
  <inkml:trace contextRef="#ctx0" brushRef="#br0" timeOffset="114659.89">5398 6337 0,'-27'26'16,"1"1"-16,12-1 0,-12 14 0,-1 13 15,14-14-15,-13 28 0,-1-14 0,14 13 16,-13 0-16,-1 0 0,14 0 15,-14 0-15,14 14 0,-13-14 16,13 0-16,-14-13 0,14 0 0,0-14 16,-1 1-16,14 0 0,-13-1 15,0-12-15,13-14 0,0 0 0,0 14 16,-13-27-16,13 13 0,0 0 0,0 1 16</inkml:trace>
  <inkml:trace contextRef="#ctx0" brushRef="#br0" timeOffset="114999.98">4908 7183 0,'0'0'0,"-13"53"0,0-13 0,13-14 16,-14 14-16,14 13 0,-13-13 0,13 13 16,-13 0-16,0-14 0,13 1 0,0 0 15,0-1-15,0-25 0,13 12 16,-13-13-16,13 14 0,0-27 0,1 13 16,-1-13-16,13 0 0,1 0 15,-1-13-15,14 0 0,0-1 0,-1-12 16,14 13-16,-13-14 0,0 1 15,-14 12-15,14-12 0,-14 13 0,14 0 16,-14-14-16,1 14 0,-1 0 16,-13-1-16,14 1 0,-14 13 0,0-13 15,1 0-15,-1 13 0</inkml:trace>
</inkml:ink>
</file>

<file path=ppt/ink/ink13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7:12.136"/>
    </inkml:context>
    <inkml:brush xml:id="br0">
      <inkml:brushProperty name="width" value="0.05292" units="cm"/>
      <inkml:brushProperty name="height" value="0.05292" units="cm"/>
      <inkml:brushProperty name="color" value="#0070C0"/>
    </inkml:brush>
  </inkml:definitions>
  <inkml:trace contextRef="#ctx0" brushRef="#br0">21974 1548 0,'0'-13'0,"0"39"31,0-13-15,0 1-16,0-1 0,-14 0 0,14 0 15,0 0-15,0 14 0,0-14 16,0 14-16,-13-14 0,13 0 16,0 13-16,-13-12 0,13-1 0,0 0 15,0 0-15,-13 1 16,13-1-16,13-13 0</inkml:trace>
  <inkml:trace contextRef="#ctx0" brushRef="#br0" timeOffset="203.12">22185 1640 0,'-26'14'16,"13"-1"0,13 0-16,-27 14 0,14-14 0,0 13 15,-1-13-15,-12 14 0,0-1 0,12-12 16,1 12-16,0-13 0,-14 1 15,14-1-15,13 0 0,-13 0 0,0 0 16,0 1-16,13-1 0,-14-13 0,14 13 16</inkml:trace>
  <inkml:trace contextRef="#ctx0" brushRef="#br0" timeOffset="525.07">22225 1852 0,'-13'13'16,"0"1"-16,-1-14 16,14 13-16,-13 0 0,0 0 15,0-13-15,13 13 0,-14 1 0,1-14 16,13 13-16,-13-13 0,13 13 0,-13 0 15,-1 1 17,28-14-32,-1 0 15,0 0-15,0 0 16,1 0-16,-1 0 0,0 0 0,14 0 16,-14-14-16,13 14 0,-13-13 0,1 13 15,-1 0-15,0-13 0</inkml:trace>
  <inkml:trace contextRef="#ctx0" brushRef="#br0" timeOffset="702.42">22331 1786 0,'-13'13'0,"-1"40"31,1-40-31,13 1 0,0-1 0,-13 13 16,13-13-16,0 14 0,-13-14 15,13 0-15,0 1 0,0-1 0,0 0 16,0 0-16,0 1 0,0-1 0,0 0 16</inkml:trace>
  <inkml:trace contextRef="#ctx0" brushRef="#br0" timeOffset="1126.72">22741 1429 0,'-13'66'31,"13"-53"-31,0 14 0,-14-1 0,14 1 0,0-1 16,0 0-16,-13 1 0,13-1 15,0 1-15,-13-1 0,13-13 0,0 14 16,0-14-16,0 0 0,0 1 0,0-1 16</inkml:trace>
  <inkml:trace contextRef="#ctx0" brushRef="#br0" timeOffset="1363.06">22953 1720 0,'-53'53'31,"39"-40"-31,-12 0 0,13 14 0,-14-1 16,14-13-16,-13 1 0,12 12 0,1-13 15,13 0-15,-13 1 16,0-1-16,-1 0 0,1 0 16,0 1-16,13-1 0,-13-13 15,0 13-15,13 0 16</inkml:trace>
  <inkml:trace contextRef="#ctx0" brushRef="#br0" timeOffset="1682.92">22966 1905 0,'-27'13'16,"14"0"-16,0-13 0,13 14 15,-13-1-15,-1-13 0,1 13 0,0 0 16,0 1-16,0-1 16,-1 0-16,14 0 15,-13-13 1,26 14 0,1-14-16,-1 0 15,0 0-15,0 0 0,0 0 16,1 0-16,12 0 0,-13 0 0,1-14 15,-1 14-15,0 0 0,0-13 16</inkml:trace>
  <inkml:trace contextRef="#ctx0" brushRef="#br0" timeOffset="1874.81">22992 1879 0,'-39'39'16,"39"-26"-16,0 1 15,-14-1-15,14 0 0,0 14 0,0-14 16,0 0-16,0 14 0,0-14 16,0 0-16,0 0 0,0 14 0,0-14 15,0 0-15,0 0 0,0 1 16,0-1-16,0 0 16</inkml:trace>
  <inkml:trace contextRef="#ctx0" brushRef="#br0" timeOffset="2199.64">23283 1482 0,'0'13'31,"-13"0"-31,13 0 0,0 14 0,-13-1 16,13 1-16,-13-1 0,13 14 0,-14 0 15,14-14-15,-13 0 0,13 1 16,0-14-16,0 0 0,0 1 16,0-1-16</inkml:trace>
  <inkml:trace contextRef="#ctx0" brushRef="#br0" timeOffset="2424.04">23561 1667 0,'-40'40'16,"27"-27"-16,0 0 0,0 0 0,-14 14 15,-79 105 1,80-106-16,13 1 16,0-14-16,-1 14 0,1-14 0,0 0 15,0 0-15,-1 1 0,1-1 16,13 0-16,-13 0 15</inkml:trace>
  <inkml:trace contextRef="#ctx0" brushRef="#br0" timeOffset="2714.16">23508 2011 0,'-26'13'16,"13"-13"-16,-1 13 15,1-13-15,13 14 0,-13-14 16,13 13-16,-13-13 16,13 13-16,-14-13 15,28 13 1,-1-13-16,-13 13 0,13-13 15,0 0-15,1 0 0,-1 0 0,0 0 16,0 0-16,0 0 0,1 0 0,12 0 16,-13 0-16,1 0 0,-1-13 15</inkml:trace>
  <inkml:trace contextRef="#ctx0" brushRef="#br0" timeOffset="2915.94">23561 2064 0,'-13'26'0,"13"-13"15,0 1-15,0-1 0,0 0 16,0 0-16,-13 1 0,13-1 0,0 0 16,0 0-16,0 0 0,0 1 15,13-1 1,0 0-16</inkml:trace>
  <inkml:trace contextRef="#ctx0" brushRef="#br0" timeOffset="3198.88">24130 1416 0,'-13'39'0,"13"-12"0,0-14 15,-13 13-15,13-12 0,0 25 0,0-12 16,-14 12-16,14 1 0,0 0 15,-13-1-15,13 1 0,0-13 0,-13 12 16,13-25-16,0 25 0,-13-12 16</inkml:trace>
  <inkml:trace contextRef="#ctx0" brushRef="#br0" timeOffset="3784.17">24355 1865 0,'-27'14'31,"14"-1"-31,0 0 0,0 0 0,0 14 16,-14-1-16,1 1 0,12-1 16,-12-13-16,-1 14 0,14-1 0,-13 1 15,13-14-15,-1 13 0,1-12 0,0-1 16,0 0-16,-1 0 0,14 0 16,-13-13-1,13 14-15</inkml:trace>
  <inkml:trace contextRef="#ctx0" brushRef="#br0" timeOffset="4334.89">24262 2130 0,'-39'13'16,"25"-13"-1,14 13-15,-13-13 0,0 14 16,0-1-16,-1-13 16,14 13-16,14 0 31,-1-13-15,0 0-16,0 0 15,14 0-15,-14 0 0,0 0 0,14 0 16,-1 0-16,-13 0 0,1 0 15,12 0-15,-13-13 0,1 13 0,-1 0 16,0 0-16,0 0 0,-13-13 0,14 13 16</inkml:trace>
  <inkml:trace contextRef="#ctx0" brushRef="#br0" timeOffset="4515.08">24408 2077 0,'-13'13'16,"-1"-13"-16,14 13 0,0 1 0,0-1 16,0 0-16,-13 0 0,13 27 15,0-27-15,0 14 0,-13-14 16,13 13-16,0-12 0,0 12 0,0 1 16,0-14-16,0 13 0,0-13 0,0 1 15</inkml:trace>
  <inkml:trace contextRef="#ctx0" brushRef="#br0" timeOffset="6829.21">21749 1323 0,'0'-13'15,"-13"13"-15,26-14 0,-13 1 16,0 0-16,13 13 0,-13-13 16,13 0-16,0 13 0,1-14 15,12 1-15,-13 0 0,1 13 16,12-13-16,1-1 0,-14 14 0,13-13 15,-13 13-15,14 0 0,-14-13 0,0 13 16,14 0-16,-14 0 0,0 0 16,14 0-16,-14 0 0,13 13 15,-12-13-15,12 0 0,-13 0 0,14 13 0,-14-13 16,0 0-16,14 0 0,-14 0 16,13 14-16,-12-14 0,-1 0 15,0 0-15,14 0 0,-14 0 0,0 0 16,13 0-16,-12 0 0,-1 0 0,13-14 15,-12 14-15,-1 0 0,0 0 16,13-13-16,-12 13 0,-1-13 0,0 13 16,0 0-16,-13-13 0,14 13 0,-1-14 15,0 1 1,-13 0-16,13 0 0,-13 0 16,0-1-16,0 1 0,0 0 15,0 0-15,0-1 16,0 1-16,0 0 15,-13 13-15,13-13 16,13 26 31,1 0-31,-1-13-16,0 13 0,0 1 15,0-14-15,1 0 0,-1 13 16,0-13-16,0 0 0,1 13 15,12-13-15,-13 0 0,1 0 0,12 0 16,0 0-16,1 0 0,-14 0 16,14 0-16,12 0 0,-12 0 0,26-13 15,-14 13-15,-12-13 16,-1 13-16,14-14 0,0 14 0,-1-13 0,1 0 16,-14 13-16,1-13 0,13 13 15,13-14-15,-14 14 16,-12 0-16,12 0 0,1 0 0,0 0 15,-14 0-15,14 0 0,-14 0 0,14 0 16,-14-13-16,14 13 0,-13 0 0,-1 0 16,14 0-16,-14 0 15,1 13-15,-1-13 0,14 0 0,-27 0 0,14 0 16,-1 0-16,0 0 16,-12 0-16,-1 14 0,0-14 0,0 0 15,1 0-15,-1 13 16,0-13-16,0 0 0,1 0 31</inkml:trace>
  <inkml:trace contextRef="#ctx0" brushRef="#br0" timeOffset="12155.1">21458 1812 0,'26'0'47,"-13"0"-47,1 0 16,-1 0-16,0 0 0,0 0 15,1 0-15,-1-13 16,0 13-16</inkml:trace>
  <inkml:trace contextRef="#ctx0" brushRef="#br0" timeOffset="12402.51">21392 1998 0,'26'0'32,"-13"0"-32,0 0 0,1 0 0,-1 0 15,0 0-15,0 0 0,1 0 0,-1-14 16,0 14-16,0 0 0,1 0 16,-1 0-16,0 0 0,0 0 15,0 0-15,1 0 0,-1-13 16</inkml:trace>
  <inkml:trace contextRef="#ctx0" brushRef="#br0" timeOffset="13663.28">20717 1693 0,'-13'27'0,"-27"12"32,27-25-32,0-1 0,-1 0 15,14 0-15,-13 1 0,0-1 16,13 0-16,-13-13 0,13 13 15,-14 1-15,28-14 32,12 13-32,-26-26 15,13 13-15,27 0 0,-27 0 16,0 0-16,1-14 16,12 14-16,-13 0 0,1-13 0,12 13 15,-13-13-15,0 13 0,1 0 0,-1-13 16</inkml:trace>
  <inkml:trace contextRef="#ctx0" brushRef="#br0" timeOffset="13891.34">20757 1707 0,'-14'39'31,"14"-26"-31,-13 14 0,13-14 0,0 0 16,0 14-16,-13-14 0,13 14 15,0-14-15,0 13 0,0-13 0,0 1 16,0-1-16,0 0 0,0 14 16,0-14-16,0 0 0,0 0 15,0 1-15</inkml:trace>
  <inkml:trace contextRef="#ctx0" brushRef="#br0" timeOffset="14156.18">20505 2183 0,'0'0'15,"27"-13"1,-14 13 0,0 0-16,14-14 0,-14 14 0,13-13 15,-12 13-15,12 0 0,-13-13 0,14 13 16,-1-13-16,-13 13 16,14 0-16,-14-14 0,0 14 0,0 0 15,1 0-15,-1 0 0,0 0 16</inkml:trace>
  <inkml:trace contextRef="#ctx0" brushRef="#br0" timeOffset="14543.13">20611 2302 0,'-26'13'0,"12"0"0,-12 14 31,13-27-31,-1 13 0,1-13 0,13 13 15,-13 0 1,26 1 0,0-14-1,1 0-15,-1 0 16,0 0-16,0-14 0,14 14 0,-14 0 16,14-13-16,-1 13 0,0-13 0,1 13 15,-1 0-15,-12-13 0,-1 13 16,0-13-16,0 13 0,0-14 0</inkml:trace>
  <inkml:trace contextRef="#ctx0" brushRef="#br0" timeOffset="14732.39">20638 2289 0,'-14'26'0,"28"-52"0,-28 65 0,1-25 16,13-1-16,0 0 0,-13 0 15,13 14-15,0-14 0,0 13 0,0-12 16,0 12-16,0-13 0,0 14 0,0-14 16,0 0-16,13 0 0,0 1 15,1-14-15,-1 0 0,0 0 16</inkml:trace>
  <inkml:trace contextRef="#ctx0" brushRef="#br0" timeOffset="15498.83">22503 1574 0,'-13'14'16,"-1"-1"0,14 0-16,0 0 0,0 0 0,0 1 15,0-1-15,-13 0 0,13 14 16,0-14-16,0 13 0,0-13 0,-13 1 16,13-1-16</inkml:trace>
  <inkml:trace contextRef="#ctx0" brushRef="#br0" timeOffset="15696.54">22344 1746 0,'27'-13'31,"-14"13"-31,0 0 0,0 0 15,0-13-15,1 13 0,-1 0 0,0 0 16,14 0-16,-14 0 0</inkml:trace>
  <inkml:trace contextRef="#ctx0" brushRef="#br0" timeOffset="15978.1">23072 1574 0,'13'27'15,"-13"-14"1,0 0-16,0 0 0,0 1 0,0-1 16,0 0-16,0 0 0,0 1 0,0-1 15,-13 0-15</inkml:trace>
  <inkml:trace contextRef="#ctx0" brushRef="#br0" timeOffset="16171.01">22966 1720 0,'13'-13'16,"14"-1"-1,-14 14-15,13-13 0,-13 13 16,1 0-16,12 0 0,1-13 0,-14 13 15,13 0-15</inkml:trace>
  <inkml:trace contextRef="#ctx0" brushRef="#br0" timeOffset="16429.04">23945 1548 0,'-13'53'16,"13"-40"-1,0 0-15,-14 0 16,14 1-16,0-1 0,0 0 0,0 0 15,-13 1-15</inkml:trace>
  <inkml:trace contextRef="#ctx0" brushRef="#br0" timeOffset="16639.8">23773 1654 0,'39'0'0,"-78"0"0,92-14 0,-40 14 15,0 0-15,0 0 16,1 0-16,12-13 0,-13 13 0,1 0 16,-1 0-16,13 0 0,-13 0 0,1 0 15</inkml:trace>
  <inkml:trace contextRef="#ctx0" brushRef="#br0" timeOffset="17360.48">20518 2381 0,'-26'27'0,"13"-14"0,-14 0 0,14 0 16,-66 80-1,65-80 1,1-13-16</inkml:trace>
  <inkml:trace contextRef="#ctx0" brushRef="#br0" timeOffset="17578.39">20876 1799 0,'-27'13'0,"-52"54"16,52-41-16,1 0 15,-1-12-15,1 12 0,0 1 16,12-14-16,1 0 0,-13 0 0,12 1 16,1-1-16</inkml:trace>
  <inkml:trace contextRef="#ctx0" brushRef="#br0" timeOffset="17878.81">20664 1323 0,'-13'53'16,"13"-27"-1,0 1-15,-13 12 0,13 41 0,0-40 16,0-14-16,0 14 0,0-14 16,0 1-16,0-14 0</inkml:trace>
  <inkml:trace contextRef="#ctx0" brushRef="#br0" timeOffset="18639.18">20704 1111 0,'-40'-39'0,"80"78"0,-93-92 0,26 53 16,1-13-16,-1 0 0,1 13 0,-1 0 16,1 0-16,-27 13 0,13 0 0,-13 14 15,14 12-15,-14-12 0,13 26 16,0-13-16,1 12 0,12 1 0,1 0 16,-1-13-16,14 13 0,0-13 0,13 13 15,0-14-15,0 1 0,0 0 0,13-1 16,0 1-16,14-14 0,-1 1 15,1-1-15,-1 1 0,14-14 16,-14 0-16,14 0 0,0-13 0,-14 0 16,14 0-16,0-13 0,-1 0 0,14-13 15,-13 12-15,13-25 0,-13 25 16,-1-25-16,-12 12 0,-1 1 0,27-40 16,-40 26-16,14 0 15,-14 1-15,-13-1 0,13-13 0,-13 13 16,-13 1-16,13-14 0,-13 13 0,13 0 15,-27 1-15,14-1 0,0 13 0,-14 1 16,1 0-16,-1 12 0,1-12 16,0 13-16,-1-1 0,1 14 0,-14 0 15,13-13-15,1 13 0,-14 0 16,14 13-16,-1-13 0,1 14 0,-14-1 16,14-13-16,-1 13 0,14 0 15,-13 1-15</inkml:trace>
  <inkml:trace contextRef="#ctx0" brushRef="#br0" timeOffset="61307.22">14975 8242 0,'-26'-13'16,"-1"-1"0,14 14-16,13-13 0,-13 13 15,0-13-15,0 13 16,-1-13-16,1 13 16,0-14-16,0 14 0,-1-13 0,1 13 15,0-13-15,-13 13 0,12-13 16,1 13-16,-13-14 0,12 14 0,1 0 15,-13-13-15,12 13 0,-12 0 0,13 0 16,-14 0-16,14 0 0,-13 0 16,-1 13-16,1-13 0,-1 14 0,-12-1 15,12 0-15,-13 0 0,1 1 0,-1-1 16,14 13-16,-14-12 0,0 12 16,1-13-16,-1 0 0,0 14 15,14-14-15,-14 14 0,14-14 0,-14 13 16,13-12-16,1-1 0,-1 13 0,1-13 15,13 1-15,0 12 0,-14-13 16,14 1-16,0-1 0,-1 13 0,14-13 16,-13 14-16,0-14 0,0 14 0,13-1 15,-14-13-15,1 14 0,13-1 16,-13 1-16,13-14 0,-13 13 0,13 1 16,0-1-16,-13 1 0,13-1 0,0 1 15,0-1-15,0 1 0,0-14 16,0 13-16,0 1 0,0-1 15,13 1-15,-13-1 0,0-13 0,13 14 16,0-1-16,0 1 0,-13-1 0,14 1 16,12 12-16,-13-12 0,1-1 15,12 1-15,-13-14 0,14 13 0,-1 1 16,1-14-16,12 0 0,-12 1 0,-1-1 16,1 13-16,12-13 0,-12-13 15,-1 14-15,1-1 0,-1-13 0,1 0 16,-1 13-16,1-13 0,-1 0 0,1 0 15,12 0-15,-12 0 0,-1 0 0,14-13 16,0 13-16,-14 0 16,14-13-16,-14-1 0,14 1 0,-14 13 15,14-13-15,-14 0 0,1 0 0,-1-1 16,1 1-16,-14 0 0,27 0 16,-14-14-16,-13 14 0,14 0 0,-14-1 15,0 1-15,14 0 0,-1 0 0,-13-14 16,1 14-16,-1 0 0,13-14 0,-12 14 15,-1-13-15,13 13 0,-12-14 16,-1 1-16,0-1 0,0 1 0,0-1 16,1 14-16,-1-13 0,0 12 0,0-12 15,-13 13-15,14-14 0,-14 14 16,0 0-16,0-14 0,0 14 16,13 0-16,-13 0 0,-13-1 0,13-12 15,0 13-15,0-14 0,-14 14 0,14-14 16,-13 1-16,0 0 0,0-1 15,-1 1-15,1-14 0,0 13 0,-13 1 16,12 0-16,1-1 0,-13 1 0,12-1 16,-12 14-16,-1-13 0,1 12 15,0 1-15,-14-13 0,-26-1 16,39 27-16,-12-13 0,12 13 16,1-13-16,-1 13 0,1 0 0,13 0 15,-14-14-15,1 14 0,12 0 0,1 0 16,0 0-16</inkml:trace>
  <inkml:trace contextRef="#ctx0" brushRef="#br0" timeOffset="62283.06">15729 8824 0,'-13'-119'0,"13"92"16,0-12-16,0-14 0,0 13 15,0-13-15,-13 13 0,13 1 16,0-14-16,0 13 0,-13-39 0,13 52 15,-13 1-15,13 13 0,0-1 16,-14 1-16,14 0 0,0 0 0,0-1 16,-13 1-16,26 40 15,-13-14 1,14 13-16,-1 14 0,0 0 16,0-1-16,0-12 0,14 13 0,-14-1 15,0-12-15,14-1 0,-14 14 0,0-14 16,1-12-16,-1 12 0,0-13 15,0 0-15,0 1 0,1-1 16,-14 0-16,13 0 16,-26 1-1,-1-1 1,1-13-16,0 0 0,0 0 0,-14 0 16,1 13-16,13-13 0,-14 0 0,1 0 15,-1 0-15,1 13 0,-1-13 0,1 0 16,-1 0-16,1 0 0,13 0 15,-14 0-15,14 0 0,0 0 0,-14 0 16,14 0-16,0 0 0,0 0 16,13-13-1,0-13 1,13 12-16,-13 1 0,26-13 0,1-1 16,-1 1-16,1-1 0,-1 1 0,14-14 15,0 1-15,-1 12 0,1-13 16,-14 14-16,1-1 0,39-12 15,-40 12-15,1 1 0,-1 13 0,-12-1 16,-1 1-16,0 13 0,-13-13 16,13 13-16,1-13 0,-1-1 15,-26 41 1,13-14-16,-14 0 16,1 14-16,0-1 15,-14 14-15,14-14 0,-13 14 0,-1 0 16,1 13-16,-1-14 0,14-12 0,-13 26 15,-1-14-15,1-12 0,12-1 0,-12 14 16,13-13-16,0-1 16,-1-13-16,1 0 0,0 1 0,13-1 15,-13 0-15,13 0 0,-14 1 0,14-1 16,27-13 31,-14-13-47</inkml:trace>
  <inkml:trace contextRef="#ctx0" brushRef="#br0" timeOffset="62728.66">16510 8348 0,'0'0'0,"26"-14"32,-12 14-32,-1-13 15,0 13-15,14-13 0,-14 13 16,0 0-16,27-27 0,-14 27 15,-13 0-15,14-13 0,-14 13 16,0 0-16,-13-13 0,14 13 16,-1 13-16,-13 0 15</inkml:trace>
  <inkml:trace contextRef="#ctx0" brushRef="#br0" timeOffset="62923.85">16576 8520 0,'27'-14'15,"-14"14"1,0-13-16,0 13 0,1-13 0,12 13 16,-13-13-16,14 13 0,-14-14 15,13 14-15,1-13 0,-1 0 0,-12 13 16,12-13-16,-13 13 0,14 0 0,-14-13 15,0 13-15</inkml:trace>
  <inkml:trace contextRef="#ctx0" brushRef="#br0" timeOffset="63688.23">17224 8017 0,'0'-13'0,"-13"26"47,13 0-47,0 0 16,0 1-16,0-1 0,0 0 16,0 0-16,13 0 15,-13 1-15,14-14 16,-1 13-16,0-13 15,0 0-15,1 0 0,-1-13 16,0 13-16,0-14 16,0 14-16,1-13 0,-1 13 31,0 0-31,0 0 16,1 13-1,-1-13-15,0 0 16,0-13-1,0 13-15,-13-13 16,14 13-16,-14-13 0,13 0 16,-13-1-16,0 1 0,0 0 0,0 0 0,0-1 15,0-12-15,0 13 0,0 0 16,0-1-16,0 1 0,0 0 0,0 0 16,0-1-16,0 1 15,0 0-15,0 53 31,13-27-31,-13 0 16,0 0-16</inkml:trace>
  <inkml:trace contextRef="#ctx0" brushRef="#br0" timeOffset="64141.65">17727 8004 0,'13'-14'0,"-26"28"0,40-41 16,-27 14-16,0 0 16,0 0-16,0-1 15,0 1 1,-14 13 0,1 13-16,0-13 15,13 14-15,-13-1 0,-1 0 16,14 0-16,0 0 15,0 1-15,0-1 16,14-13 0,-1 0-16,0 0 0,14-13 15,-1-1-15,14 1 16,-14-13-16,-13-1 16,14 14-16,-14 0 15,0 0-15,1 13 16,-14-14-16,13 28 15,-13-1-15,0 0 16,13 0 0,-13 1-16,0-1 0,0 0 0,0 0 15,13-13-15,-13 13 0,0 1 0,13-1 16,-13 0 0,14-13-1</inkml:trace>
  <inkml:trace contextRef="#ctx0" brushRef="#br0" timeOffset="64265.2">18005 7792 0,'0'0'15</inkml:trace>
  <inkml:trace contextRef="#ctx0" brushRef="#br0" timeOffset="65523.67">18269 7818 0,'-13'0'16,"26"0"-16,-39 0 0,13 0 0,0 14 15,-1-14-15,1 13 16,0-13-16,13 13 0,-13-13 16,13 13-16,0 1 15,13-1 1,-13 0-16,13 0 15,0 1-15,-13-1 0,14-13 16,-14 13-16,0 0 0,0 0 16,0 1-16,-14-1 0,14 0 15,-13-13-15,13 13 0,-13 1 0,0-1 16,-1 0-16,1-13 16,0 13-16,0-13 15,13 13-15,-13-13 16,39-13 15,-26 0-31,13 13 16,0-13-16,1 13 0,-1-13 0,0-1 0,0 1 15,1 0-15,-1 0 0,0-1 16,0 1-16,0-26 0,1 25 16,-1-12-16,0-1 0,-13 1 15,13 13-15,-13-14 0,14 1 0,-14-1 16,0 1-16,13 13 0,-13-14 15,0 14-15,0 0 0,0-1 0,0 1 16,0 0-16,0 0 0,0 0 0,0-1 16,13 41 15,-13-14-31,0 0 16,0 0-16,0 1 0,0-1 15,0 0-15,0 0 0,0 14 0,0-14 16,0 0-16,13-13 0,-13 14 15,0-1-15,0 0 0,14-13 16,-14 13-16,13-13 16,0 0 15,0 13-31,0-13 16,-13 14-16,14-14 15,-14 13-15,13-13 0,0 13 16,0-13-16,-13 13 15,14-13-15,-1 0 0,0 0 16,14 0 0,-14-13-16,0 13 0,0-13 15,-13 0-15,13 13 16,-13-14-16,14 1 0,-14 0 16,13-13-16,0-1 0,-13 14 15,13 0-15,-13-1 0,0 1 0,0 0 16,14 0-16,-14-1 0,0 1 15,0 0-15,13 0 16,-13 0-16,-13-1 0,13 1 16,0-13-1,0 12 1,-14 1-16,1 26 31,13 1-31,0-1 0,-13 0 16,13 0-16,0 14 0,-13-14 15,13 13-15,0-12 0,0 12 0,0-13 16,0 1-16,0 12 0,0-13 0,0 14 16,0-14-16,13-13 15,-13 13-15,13-13 0,-13 13 0,13-13 16,14 0-16,-14 0 16,0-13-16,0 13 0,1-13 15,-1 13-15,0-13 0,0 13 0,-13-13 16,14 13-16,-1 0 0,-13-14 0,13 14 15,0 0-15,1 0 0,-1 14 16,0-14 0,-13 13-16,13-13 0,0 13 15,-13 0-15,14-13 16,-14 13-16,0 1 16,-14-1-1,1-13-15,0 13 0</inkml:trace>
  <inkml:trace contextRef="#ctx0" brushRef="#br0" timeOffset="65737.17">18534 7713 0,'0'-14'15,"13"1"-15,1 13 16,-1-13-16,0 13 0,0 0 15,14-13-15,-14 13 0,0-14 0,14 14 16,-14-13-16,26 0 0,-12 13 16,-14 0-16,14-13 0,-14 13 15,13 0-15,-12-13 0,12 13 16,0 0-16,-12-14 0</inkml:trace>
  <inkml:trace contextRef="#ctx0" brushRef="#br0" timeOffset="65957">19235 7527 0,'13'0'0,"14"-13"31,-14 13-31,0 0 15,1 0-15,-1 0 16</inkml:trace>
  <inkml:trace contextRef="#ctx0" brushRef="#br0" timeOffset="66142.25">19235 7633 0,'27'-13'32,"-14"13"-17,0 0-15,0 0 0,1-13 16,-1 13-16,13 0 16,-12 0-16,-1 0 0,13 0 15,-13 0-15</inkml:trace>
  <inkml:trace contextRef="#ctx0" brushRef="#br0" timeOffset="68222.66">19936 7607 0,'27'-13'32,"-14"-1"-32,0 1 15,0 13-15,-13-13 0,14 0 0,-14-1 16,13-12-16,-13 13 0,13-1 16,-13-12-16,0 13 0,13 0 0,-13-14 15,0 14-15,0 0 16,0-1-16,-13 14 0,13-13 15,-13 13-15,0 0 0,-1 13 16,1-13-16,0 14 0,13-1 16,-13 0-16,13 0 0,-13 1 15,13-1-15,0 0 0,0 0 0,0 0 16,0 1-16,0-1 0,0 0 16,13 0-16,0 1 0,0-1 15,0-13-15,1 13 0,-1-13 16,13 0-16,1 0 0,-14 0 15,0-13-15,14 13 0,-14 0 0,13-13 16,-12 13-16,-1-14 0,0 1 16,0 13-16,1-13 0,-14 0 0,13 13 15,0-14-15,-13 1 0,13 13 16,-13-13-16,14 0 16,-41 26 30,14 0-46,13 0 16,-13-13-16,13 14 0,-14-1 16,14 0-16,0 0 0,-13-13 0,13 14 15,0-1-15,0 0 0,-13 0 16,13 1-16,0-1 16,0 0-16,0 0 0,0 0 31,0 1-16,13-14-15,0-14 16,1 14 0,-1 0-16,-13-13 15,13 0-15,0 13 16,-13-13-16,14 0 0,-14-1 16,13 1-16,-13 0 15,13 0-15,-13-1 16,13 1-16,-13 0 31,0 39 0,0-12-15,-13-1-16,13 0 16,0 0-16,0 1 0,0-1 0,-13 0 15,13 13-15,0-12 0,0-1 16,0 0-16,0 0 0,0 1 15,13-1-15,-13 0 16,0 0-16,13-13 16,0 14-1,1-14-15,-1-14 16,0 14-16,0-13 0,1 0 16,-1 13-16,-13-13 15,13-1-15,-13 1 0,13 0 16,-13-14-16,14 14 0,-14 0 0,13 0 15,-13-14-15,13 14 0,-13-13 16,13 12-16,-13 1 0,0 0 16,0 0-16,13 13 0,-13-14 15,0 1-15,-13 53 47,13-27-47,0 0 0,0 1 16,13-1-16,-13 0 0,14 0 15,-14 1 1,13-1-16,0-13 0,-13 13 16,13-13-16,1 0 15,-1-13-15,0 13 0,0 0 16,-13-13-16,14 13 0,-1-14 0,-13 1 16,13 0-16,0 0 0,0-1 15,-13 1-15,14 0 0,-14 0 16,13-1-16,-13 1 15,0 0-15,0 53 47,0-27-47,0 0 0,0 0 16,13 1-16,-13-1 16,13 0-1,1-13-15,-1 0 0,-13 13 16,13-13-16,13-13 0,-12 13 15,-1 0-15,-13-13 0,13 13 16,0 0-16,-13-13 0,14 13 16,-1-14-16,-13 1 15,-13 0 1,-1 26 0,1-13-1,0 0-15,0 0 16,13 13-1,-14-13-15,14 14 16,14-1 15,-1-13 1,0 0-17,0 0 1,1 0-1,-14 13-15,13-13 16,0 0 15,0 0-31,1-13 16,-1 13-16,-13-13 16,13-1-16,0 1 0,0-13 15,-13 12-15,14 1 0,-14-13 16,0-1-16,13 14 0,0-40 15,-13 27-15,0 12 16,13-12-16,-13 13 0,0 0 0,0-1 16,0 1-16,-13 40 31,0-14-31,13 0 16,0 13-16,-13-12 0,13 12 0,0-13 15,0 14-15,0-14 0,0 0 0,13 14 16,-13-14-16,13 0 0,-13 0 15,27 27-15,-14-27 16,0 1-16,0-1 0,1-13 0,38 13 16,-25 0-16,-1-13 15,14 0-15,-14 0 0</inkml:trace>
  <inkml:trace contextRef="#ctx0" brushRef="#br0" timeOffset="68568.41">22040 7091 0,'0'0'0,"-13"26"32,13-12-32,-14-1 15,14 0-15,-13 13 0,13-12 0,-13-1 16,13 0-16,-13 0 0,13 14 15,0-14-15,-14 0 0,14 0 0,0 1 16,14-1-16</inkml:trace>
  <inkml:trace contextRef="#ctx0" brushRef="#br0" timeOffset="68803.2">22265 7236 0,'0'-13'0,"-14"40"31,1-14-31,0 0 16,0 0-16,0 14 0,-14-1 0,14-13 15,-14 14-15,1-1 0,-1 1 0,1-1 16,0 1-16,-1-14 0,1 13 16,-14 14-16,27-27 15,-14 1-15,14-1 0,13 0 0,-13 0 16,0 0-16,13 1 15</inkml:trace>
  <inkml:trace contextRef="#ctx0" brushRef="#br0" timeOffset="69281.42">22291 7541 0,'0'0'15,"-26"26"17,12-26-32,1 13 0,0-13 15,-13 27 1,12-14 0,14 0-1,0 0 1,14-13-16,-1 0 15,0 0-15,0 0 16,0 0-16,1 0 0,12-13 0,-13 13 16,1-13-16,-1 13 0,13-26 15,-12 26-15,-14-14 0,13 1 16,0 0-16,-13 0 16,13 13-16,-13-14 15,-26 28 1,13-1-1,13 0-15,-14 0 16,14 14-16,-13-14 0,13 13 16,-13-12-16,13-1 0,0 13 15,0 1-15,-13-14 0,13 0 16,0 1-16,0 12 0,-14-13 16,14 0-16,0 1 15,-13-1-15</inkml:trace>
  <inkml:trace contextRef="#ctx0" brushRef="#br0" timeOffset="69593.34">21815 6972 0,'-40'53'0,"-52"119"31,65-119-31,14 13 0,-40 66 0,40-79 16,-14 13-16,14 0 0,13-13 15,0 0-15,0-13 0,13-1 0,-13 1 16,27 0-16,-14-14 0,13 14 0,1-27 15,13 14-15,-14-14 0,14 0 16,-1 0-16,-12-13 0,-1-13 16,27 13-16,-13-13 0,0 0 0,-1-1 15,1 1-15</inkml:trace>
  <inkml:trace contextRef="#ctx0" brushRef="#br0" timeOffset="69901.42">22516 6932 0,'26'13'0,"-12"1"0,-1 12 16,0 0-16,14 1 0,-14 13 0,13-1 15,-12 1-15,12 13 0,0 0 0,-12-14 16,-1 14-16,0-13 0,0 0 16,1-1-16,-14 1 0,0-13 0,-14 12 15,14 1-15,-13 0 0,0-1 0,-27 14 16,14-13-16,-1-14 0,1-12 16,-1 12-16,1-13 15,-1 1-15,1-1 0,-14 13 0</inkml:trace>
  <inkml:trace contextRef="#ctx0" brushRef="#br0" timeOffset="70403.67">22093 8176 0,'-27'13'31,"27"0"-31,-13 0 0,-13 14 16,12-14-16,-12 13 0,-27 41 15,27-41-15,-1 1 0,1-1 0,-27 27 16,39-27-16,-12-12 16,13 12-16,0-26 0,-1 13 0,1 14 15,0-27-15</inkml:trace>
  <inkml:trace contextRef="#ctx0" brushRef="#br0" timeOffset="70641.7">21722 8361 0,'-26'13'0,"-27"40"31,53-40-31,0 0 15,-13 1-15,13-1 0,0 13 16,13-12-16,-13-1 16,13 0-16,0 0 0,14-13 15,-1 0-15,1 13 0,-1-13 0,67-13 16,-40 0-16,-14 13 16,14-13-16,0 0 0,0-1 0,27 1 15</inkml:trace>
</inkml:ink>
</file>

<file path=ppt/ink/ink13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2:11.344"/>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B0F0"/>
    </inkml:brush>
    <inkml:brush xml:id="br2">
      <inkml:brushProperty name="width" value="0.05292" units="cm"/>
      <inkml:brushProperty name="height" value="0.05292" units="cm"/>
      <inkml:brushProperty name="color" value="#FFFF00"/>
    </inkml:brush>
  </inkml:definitions>
  <inkml:trace contextRef="#ctx0" brushRef="#br0">22966 6906 0</inkml:trace>
  <inkml:trace contextRef="#ctx0" brushRef="#br0" timeOffset="10742.21">8229 3691 0,'-14'132'32,"14"-66"-32,0 1 0,-13-1 0,13 13 15,-13 0-15,0 1 0,13-1 0,-14 1 16,1-14-16,0 13 0,0-13 15,13 0-15,-14-13 0,1 0 0,13-13 16,-13 0-16,13-1 0,-13-12 0,13-1 16,0-13-16,-13 1 0,13-1 0,0 0 15</inkml:trace>
  <inkml:trace contextRef="#ctx0" brushRef="#br0" timeOffset="12285.07">8162 3678 0,'27'-14'0,"92"1"16,-93 0-1,27 13-15,0 0 0,0-13 16,0 13-16,13-13 0,14 13 0,-14 0 15,13-14-15,0 14 0,1 0 0,12 0 16,-12 0-16,12 0 0,1-13 16,-14 13-16,27 0 0,-13 0 0,-1 0 15,14 0-15,0-13 0,26 13 0,1-13 16,-1 13-16,-13 0 16,13-14-16,14 14 0,-14-13 0,0 13 15,14-13-15,-1 13 0,-12 0 0,12 0 16,1-13-16,-1 13 0,1 0 15,-14 0-15,27 13 0,-27-13 0,14 0 16,-1 0-16,1 13 0,-1-13 0,1 13 16,-14-13-16,14 0 0,-1 14 0,1-14 15,-1 0-15,-13 13 0,14-13 16,0 0-16,-14 0 0,0 0 0,0 13 16,-13-13-16,14 0 0,-27 0 0,-1 0 15,1 0-15,0 0 16,0-13-16,0 13 0,0 0 0,-14 0 15,1 0-15,-1 0 0,1 0 0,-14 0 16,1 0-16,-1 0 0,-13-13 16,0 13-16,-13 0 0,-13 0 0,13 0 15,-13-14-15,-14 14 0,1 0 16,-1 0-16,-13 0 0,14 0 0,-14 0 0,0-13 16,0 13-16,1 0 15,-1 0-15,0 0 0,0 0 16,1 13-1,-14 1 1,0-1-16,0 0 0,0 0 16,-14 14-16,14-1 0,0 1 0,0-1 15,0 14-15,0 13 0,0-14 0,14 14 16,-14-13-16,0 13 0,0 0 16,13-13-16,-13 13 0,0-1 0,13-12 15,-13 0-15,13 13 0,-13-14 0,13 1 16,-13 0-16,14-1 0,-14 1 15,13 0-15,-13-14 0,13 1 0,-13-1 16,0-13-16,13 14 0,-13-1 0,0-12 16,0 12-16,0-13 0,0 0 15,0 1-15,0-1 0,-13 0 16,13 0-16,-13 1 0,0-1 0,-1 0 16,1 0-16,-13 1 0,-1-1 0,-12 0 15,-14-13-15,13 13 0,-13-13 16,0 13-16,0-13 0,-13 0 0,0 14 15,-13-14-15,-1 0 0,1 0 0,-1 0 16,1-14-16,-14 14 0,14 0 0,-14 0 16,1-13-16,-1 13 0,-13 0 15,1-13-15,-14 13 0,13-13 0,-27 13 16,28 0-16,-28 0 0,27-13 0,1 13 16,-28 0-16,1 0 0,26 0 15,-26-14-15,0 14 0,-1 0 16,27 0-16,-26 0 0,-106-13 15,106 13-15,0 0 0,26-13 0,0 13 16,-26 0-16,26 0 0,-27 0 16,28 0-16,12 0 0,-13 0 0,0-13 15,0 13-15,1 0 0,-1 0 0,0 0 16,13 0-16,-12 0 0,12-14 16,0 14-16,1 0 0,-14 0 15,13 0-15,1 0 0,-1 0 0,0 0 16,14 0-16,0 0 0,-14-13 0,14 13 15,-1 0-15,1 0 0,0 0 0,-1 0 16,27 0-16,-13 0 0,0 0 16,13 0-16,-13 0 0,13 0 0,-13 0 15,0 0-15,13 0 0,0 0 0,0 0 16,0 0-16,0 0 0,0 0 16,-13 13-16,26-13 0,1 0 15,12 0-15,-12 0 0,12 0 0,1 0 16,-14 0-16,14 0 0,-1 0 0,1 0 15,-1 0-15,1 0 16,-1 0-16,1 0 0,-1 0 0,14 14 0,-13-14 16,-1 0-16,1 0 0,12 0 15,-12 0-15,13 0 0,-14 13 16,14-13-16,-13 0 0,12 0 0,1 0 16,-13 13-16,13-13 0,-1 0 0,1 0 15,0 0-15,0 13 0,-14-13 0,14 0 16,0 0-16,-1 0 0,1 14 15,0-14-15,0 0 0,0 0 0,-1 0 16,1 13-16,0-13 0,0 0 0,-14 0 16,27 13-16,-13-13 15,0 0-15,-1 0 0,1 0 16,0 0-16,0 0 16,0 0-16,-1-13 15</inkml:trace>
  <inkml:trace contextRef="#ctx0" brushRef="#br0" timeOffset="13140.98">10689 3572 0,'0'-13'0,"0"52"15,0 1-15,0 13 16,-13 0-16,13 13 0,-13 13 15,13 1-15,-14-1 0,1 1 0,-13 12 16,13-13-16,-14-12 0,14 12 0,0-13 16,-14-13-16,27 13 0,-13-26 15,0 0-15,13-1 0,-13-12 16,13-1-16,0 1 0,0-14 0,0 0 16,13 0-16</inkml:trace>
  <inkml:trace contextRef="#ctx0" brushRef="#br0" timeOffset="13796.04">13428 3545 0,'26'67'16,"-26"-28"-16,0 451 31,-13-384-31,0-1 0,-14 1 0,1-13 0,-1-1 16,1-12-16,13-14 16,-1 0-16,-12-13 0,13 13 0,-1-26 15,14 39-15,-13-66 0,13 14 16,0-14-16</inkml:trace>
  <inkml:trace contextRef="#ctx0" brushRef="#br0" timeOffset="14264.05">15200 3492 0,'-13'53'15,"26"-106"-15,-39 159 0,13-53 0,-1 13 16,1 14-16,-13 26 0,-1-14 0,1 14 16,-1 0-16,1-14 0,-14 14 15,14-13-15,12-27 0,-12 13 0,13-12 16,-14-1-16,14 0 0,-13-13 0,12 0 16,1-14-16</inkml:trace>
  <inkml:trace contextRef="#ctx0" brushRef="#br0" timeOffset="15755.15">8189 4313 0,'13'0'16,"0"-14"0,1 14-1,-1 0-15,0 0 0,13-13 16,1 13-16,-1 0 0,14-13 0,13 13 0,13-13 15,0 13-15,0-13 16,14 13-16,-14-14 0,27 14 0,-14-13 16,14 13-16,-1-13 0,1 13 0,-1 0 15,1-13-15,13 13 0,-14 0 16,14 0-16,0-14 0,0 14 0,0 0 16,26 0-16,-26 0 0,0 0 0,0 0 15,-1-13-15,1 13 0,13 0 16,-13 0-16,0 0 0,-14-13 0,14 13 15,0 0-15,-13 0 0,-1-13 0,1 13 16,0 0-16,-1 0 0,-12 0 16,-1 0-16,0-13 0,1 13 15,-27 0-15,26 0 0,-26 0 0,0-14 0,26 14 16,-26 0-16,13-13 16,-13 13-16,0 0 0,0-13 0,0 13 15,0 0-15,0 0 0,0-13 0,0 13 16,-14 0-16,14 0 0,0 0 15,-13-14-15,13 14 0,0 0 0,-14 0 16,1 0-16,0 0 0,-1 0 0,14-13 16,-13 13-16,0 0 0,13 0 15,-14 0-15,14 0 0,0 0 0,-13 0 16,13 0-16,-14 0 0,1 0 0,13-13 16,-13 13-16,13 0 0,-14 0 0,14 0 15,-13 0-15,13 0 0,-13 0 16,-1 0-16,14 0 0,-13 0 15,-1 0-15,-12 0 0,26 13 0,-13-13 16,-1 0-16,1 0 0,0 0 16,-1 0-16,-12 0 0,12 0 0,-12 13 15,13-13-15,-14 0 0,14 0 0,-14 0 16,14 0-16,0 0 0,-1 14 16,-12-14-16,12 0 0,-12 0 0,13 0 15,-14 13-15,0-13 0,1 0 16,-1 0-16,14 13 0,-13-13 0,-1 0 15,0 0-15,-12 0 0,12 13 16,14-13-16,-27 0 0,14 0 0,-1 14 16,0-14-16,1 0 0,-1 0 0,1 0 15,-1 13-15,1-13 0,26 0 16,-27 0-16,1 13 0,-14-13 16,13 0-16,1 0 0,-1 0 0,1 0 15,-14 0-15,13 0 0,1 13 16,-14-13-16,13 0 0,-12 0 0,-1 0 15,13 0-15,-12 0 0,-1 0 0,13 0 16,-13 0-16,14 0 0,-14 0 16,0 0-16,14 0 0,-14 0 15,14 0-15,-14 0 0,13 0 0,-13 0 0,14 0 16,-1 0-16,-12 0 16,-1 0-16,13 0 0,-12 0 0,-1 0 15,0 13-15,13-13 0,-12 0 0,-1 0 16,0 0-16,0 0 15,1 0-15,12 0 16,-13 0-16,1 0 16,-41-13 15</inkml:trace>
  <inkml:trace contextRef="#ctx0" brushRef="#br0" timeOffset="17177.16">9459 3823 0,'-13'27'15,"13"-14"-15,0 0 0,0 0 0,-14 14 16,1-14-16,0 27 0,0-14 0,-1 1 16,1-1-16,0 1 0,0-14 15,13 0-15,-27 14 0,27-14 16,-13 0-16,13 0 0,0 0 15</inkml:trace>
  <inkml:trace contextRef="#ctx0" brushRef="#br0" timeOffset="18015.34">12184 3757 0,'13'0'15,"1"0"-15,-1 0 16,0 0-16,0 13 0,0-13 16,-13 14-16,0-1 15,-13 0-15,0 0 0,13 0 16,-26 1-16,12-1 0,1 0 0,-13 0 16,12 1-16,1-1 0,0 0 0,0-13 15,-1 13-15,1-13 0,0 14 16,0-1-16,26 0 31,0-13-15,0 0-16,1 0 0,-1 0 15,0 0-15,0-13 0,14 13 0,-14 0 16,14 0-16,-14 0 0,0-13 0,13 13 16,-12 0-16</inkml:trace>
  <inkml:trace contextRef="#ctx0" brushRef="#br0" timeOffset="19031.18">14314 3744 0,'13'-13'31,"14"26"-15,-14 0 0,-13 0-16,0 1 15,-13-1-15,13 0 0,-14 0 16,14 0 0,-13 1-16,13-1 15,13 0 1,-13 0-1,14-13-15,-14 14 16,0-1-16,-14 0 16,1 0-1,0-13-15,13 14 16,-13-14-16,0 0 0,-1 13 16</inkml:trace>
  <inkml:trace contextRef="#ctx0" brushRef="#br0" timeOffset="19688.72">15901 3823 0,'14'0'16,"-28"0"-16,14 13 31,-13-13-15,0 14-16,0-14 16,0 13-16,-1-13 0,14 13 0,-13-13 0,0 13 15,0-13-15,13 14 0,-14-14 0,1 13 16,13 0-1,0 0 1,13-13-16,1 0 16,-14 14-16,13-14 0,0 0 15,0 0-15,1 0 0,-1 0 16,0 0-16,0 0 0,0 0 0,1 0 16,-1 0-16,0 0 0,0 0 0,1 0 15,-1-14-15,0 14 16,-13-13-16,13 13 0,-13-13 0,14 13 15,-14-13-15,0-1 0</inkml:trace>
  <inkml:trace contextRef="#ctx0" brushRef="#br0" timeOffset="19864.22">16021 3757 0,'-40'27'15,"13"25"1,14 15-1,0-54-15,13 13 0,-13-12 16,13-1-16,0 13 0,-14-13 0,14 1 16,0-1-16,-13 0 0,13 0 15,0 1-15,-13-1 0,13 0 16</inkml:trace>
  <inkml:trace contextRef="#ctx0" brushRef="#br0" timeOffset="20669.18">7011 3836 0,'0'0'15,"14"0"-15,-1 0 16,-13 14-16,13-1 15,-13 0-15,13 0 0,-13 1 0,0-1 16,14 13-16,-14-12 0,0-1 16,0 0-16,13 0 0,-13 0 15,0 1-15,13-1 0,-13 0 0,0 0 16,13-13-16,-13 14 0,0-1 0,14-13 16,-1 13-16,0-13 15,0-13-15,0 0 16,-13-1-16,14 1 15,-14 0-15,13 0 0,0-1 16,-13-12-16,13 13 0,-13-14 0,14 1 16,-1-1-16,-13 1 0,13 13 0,0-14 15,-13 14-15,13 0 0,-13 0 0,0-1 16,14 14-16,-14-13 0,13 0 16,-13 39-1,0-12 1,-13-14-16</inkml:trace>
  <inkml:trace contextRef="#ctx0" brushRef="#br0" timeOffset="21688.14">7157 4630 0,'0'-13'15,"-13"39"17,13-12-17,0-1-15,0 0 16,-13 0-16,13 1 0,0-1 16,0 0-16,13 0 0,-13 0 0,0 1 15,13-1 1,0 0-16,0-13 15,1 0-15,-1-13 16,0 13-16,0 0 0,-13-13 16,14 13-16,-1 0 0,-13-14 15,13 14-15,0 0 16,0 0-16,1 0 0,-1 0 16,-13 14-16,13-14 0,0 13 15,1-13-15,-1 0 16,13 0-16,-12 0 15,-1-13-15,0-1 16,0 14-16,-13-13 0,0 0 16,13 13-16,-13-13 0,0 0 0,0-1 15,14 1-15,-14 0 0,0 0 16,0-1-16,0 1 0,0 0 16,0 0-16,0 0 15</inkml:trace>
  <inkml:trace contextRef="#ctx0" brushRef="#br0" timeOffset="27880.01">13904 4498 0,'-13'-13'0,"-1"26"16,1 0 0,13 0-16,-13 1 0,13-1 15,-13-13-15,13 13 0,0 0 0,0 1 16,-14-1-16,14 0 0,0 13 16,14-12-16,-14-1 0,0 0 15,13 0-15,0 1 16,0-14-16,1 13 15,-1-13-15,0 0 0,0 0 16,1-13-16,-1 13 0,0 0 0,0-14 16,0 14-16,1-13 0,-1 0 15,-13 0-15,13 13 0,-13-14 16,0 1-16,0 0 0,0 0 0,0 0 16,0-1-1,-13 1-15,13 0 0,-13 0 0,13-1 16,-14 14-16,14-13 0,-13 13 15,0-13-15,0 13 16,13-13-16,-13 13 0,-1 0 0,1 0 16,0 0-16,0 0 15,13 13 1</inkml:trace>
  <inkml:trace contextRef="#ctx0" brushRef="#br0" timeOffset="28040.29">14155 4577 0</inkml:trace>
  <inkml:trace contextRef="#ctx0" brushRef="#br0" timeOffset="28548.01">14367 4432 0,'40'0'31,"-27"0"-31,0 0 0,0 0 16,0 0-16,1 0 15,-1 13-15,0 0 31,-13 0-31,0 1 0,0-1 16,0 0-16,-13 0 0,13 1 16,0-1-16,0 0 15,-13 0-15,13 1 0,0-1 0,-14 0 16,14 0-16,0 0 0,0 1 16,0-1-16,0 0 15,0 0 1</inkml:trace>
  <inkml:trace contextRef="#ctx0" brushRef="#br0" timeOffset="28783.18">14340 4604 0,'0'-13'0,"27"13"31,-14 0-31,0 0 0,1 0 0,-1 0 16,0 0-16,0 0 0,14 0 0,-14 0 15,0 0-15,0-14 0,1 14 0,-1 0 16,0 0-16,0 0 0,1 0 16,-1 0-16,0 0 0,0 0 15,0 0-15</inkml:trace>
  <inkml:trace contextRef="#ctx0" brushRef="#br0" timeOffset="32374.83">9115 4511 0,'0'-13'16,"-13"0"-1,-1 26 17,14 0-17,0 0-15,-13 1 0,13-1 16,0 0-16,0 0 0,0 1 16,-13-1-16,13 0 0,13 0 15,-13 0-15,0 1 0,0-1 16,13-13-16,-13 13 0,14-13 0,-1 13 15,0-13-15,0 14 0,1-14 16,-1 0-16,13 0 16,-26-14-16,14 14 0,-1 0 15,-13-13-15,13 13 0,-13-13 0,13 13 16,-13-13-16,0-1 0,0 1 16,0 0-16,0 0 0,-13 0 15,13-1-15,0 1 0,-13 13 16,0-13-16,13 0 0,-14-1 0,1 1 15,0 13-15,13-13 16,-13 13-16,-14-13 16,27 26-16,-13-13 0,0 0 15,13 13-15,-14-13 16</inkml:trace>
  <inkml:trace contextRef="#ctx0" brushRef="#br0" timeOffset="32543.1">9446 4551 0</inkml:trace>
  <inkml:trace contextRef="#ctx0" brushRef="#br0" timeOffset="32778.07">9591 4458 0,'0'40'16,"0"-27"-16,-13 0 0,13 1 16,0-1-16,0 0 0,0 0 15,0 1-15,-13-1 0,13 0 0,0 0 16,0 14 0,0-14-1</inkml:trace>
  <inkml:trace contextRef="#ctx0" brushRef="#br0" timeOffset="33690.58">12078 4432 0,'-13'0'15,"13"-13"-15,-26 26 16,26 0-16,-14-13 15,14 13-15,-13 0 0,13 1 16,-13-1-16,13 0 0,0 27 16,0-27-16,0 0 0,0 1 15,0-1-15,0 0 16,13-13-16,-13 13 0,13 0 0,1-13 16,-1 14-16,0-14 0,0 0 15,0 0-15,14-14 16,-14 14-16,0-13 15,1 0-15,-14 0 16,13 13-16,-13-13 0,0-1 16,0 1-16,-13 0 0,13 0 15,0-1-15,-14 1 0,14 0 16,-13 0-16,0-1 16,0 1-16,-1 13 15,14-13-15,-13 13 0,0 0 16,0 0-16,0 13 15</inkml:trace>
  <inkml:trace contextRef="#ctx0" brushRef="#br0" timeOffset="33878.71">12277 4538 0</inkml:trace>
  <inkml:trace contextRef="#ctx0" brushRef="#br0" timeOffset="34167.78">12462 4432 0,'0'66'16,"-13"-53"-16,13 0 15,0 14-15,0-14 0,0 0 16,-14 1-16,14-1 0,0 0 0,0 0 16,-13 0-16,13 1 0,0-1 15,0 0-15</inkml:trace>
  <inkml:trace contextRef="#ctx0" brushRef="#br0" timeOffset="35116.28">15822 4564 0,'-26'13'47,"26"1"-47,-14-1 0,14 0 0,-13-13 15,13 13-15,-13 0 0,13 1 16,0-1-16,0 0 0,0 0 15,0 1-15,13-14 16,0 13-16,1-13 16,-1 0-16,13 0 15,-12 0 1,-14-13-16,13 13 0,0-14 16,-13 1-16,0 0 15,13 13-15,-13-13 0,-13-1 16,13 1-16,0 0 0,0 0 15,-13 0-15,13-1 16,-13 14 0,-1 0-1</inkml:trace>
  <inkml:trace contextRef="#ctx0" brushRef="#br0" timeOffset="35262.91">16007 4630 0,'0'-13'31</inkml:trace>
  <inkml:trace contextRef="#ctx0" brushRef="#br0" timeOffset="35478.92">16259 4511 0,'-14'40'31,"1"-27"-31,13 0 15,0 1-15,-13-1 0,13 0 0,0 0 16,-13 0-16,13 1 0,0-1 16,0 0-16,0 0 0,0 1 0</inkml:trace>
  <inkml:trace contextRef="#ctx0" brushRef="#br0" timeOffset="36146.85">17171 4524 0,'40'-13'32,"-27"13"-32,1 0 15,-1 0-15,0 0 0,0 0 16,1 0-16,-1 13 16</inkml:trace>
  <inkml:trace contextRef="#ctx0" brushRef="#br0" timeOffset="36326.94">17158 4657 0,'27'0'31,"-14"0"-31,0 0 0,0 0 16,1 0-16,12 0 0,-13 0 15,1 0-15,-1 0 0,13 0 0,-13 0 16,1 0-16</inkml:trace>
  <inkml:trace contextRef="#ctx0" brushRef="#br0" timeOffset="36639.28">17899 4564 0,'13'13'0,"-26"1"16,13-1-16,0 0 0,-13 0 16,13 0-16,0 1 15,-13-1-15,13 0 0,0 0 16,0 1-16,0-1 16,0 0-16</inkml:trace>
  <inkml:trace contextRef="#ctx0" brushRef="#br0" timeOffset="36928.01">17754 4485 0,'-27'13'0,"54"-26"0,-67 39 0,27-13 15,13 1-15,-14-1 0,14 0 0,-13 0 16,13 1-16,-13-1 0,13 0 16,0 13-16,-13 1 0,13-14 15,13 0-15,-13 1 0,0-1 16,13-13-16,-13 13 0,13 0 0</inkml:trace>
  <inkml:trace contextRef="#ctx0" brushRef="#br0" timeOffset="37214.83">18203 4471 0,'14'14'0,"-1"-1"0,-13 0 0,13 0 16,-13 1-16,13 52 16,-13-53-1,0 13-15,-13-12 0,13-1 0,0 13 16,-13-12-16,13-1 0,-13 0 15,-1 0-15,14 0 0,-26 14 16,26-14-16,-13-13 0,13 13 0,-14-13 16,14 14-16</inkml:trace>
  <inkml:trace contextRef="#ctx0" brushRef="#br0" timeOffset="42642.07">5159 6654 0,'0'-13'16,"-13"40"0,13-14-1,0 13-15,0-13 0,0 1 16,0 12-16,0 1 0,0-1 15,0-13-15,0 14 0,-13 12 0,0-12 16,13-1-16,0-12 0,-14 12 0,14-13 16,0 14-16,-13-14 0,13 0 15,0 0-15,-13-13 0,13 14 0,0-1 16</inkml:trace>
  <inkml:trace contextRef="#ctx0" brushRef="#br0" timeOffset="42919.65">5689 6747 0,'-27'26'16,"14"-12"-16,13-1 0,-13 0 15,-1 13-15,1-12 0,0 12 0,-14 14 16,14-14-16,-13 1 0,13-14 16,-1 13-16,14-12 15,-13-1-15,0 0 0,0 0 0,13 1 0,-14-1 16</inkml:trace>
  <inkml:trace contextRef="#ctx0" brushRef="#br0" timeOffset="43147.09">5464 6853 0,'26'13'31,"-13"0"-31,1 0 0,-14 1 16,13-1-16,0 0 0,0 14 16,0-14-16,1 0 15,-1-13-15,-13 13 0,13 0 0,-13 1 16,13-1-16,-13 0 0,14 0 0,-14 1 16,13-14-16,-13 13 15</inkml:trace>
  <inkml:trace contextRef="#ctx0" brushRef="#br0" timeOffset="43699.68">5993 6892 0,'0'0'0,"-13"0"16,-1 0 0,1 14-1,13-1-15,0 0 0,0 0 16,-13 14-16,13-14 0,0 0 16,13 0-16,-13 1 0,13-1 0,-13 0 0,14 0 15,-1 1-15,0-1 0,0-13 16,0 13-16,14-13 0,-14 0 0,0 13 15,1-13-15,-1 0 0,0-13 16,0 13-16,1-13 16,-14 0-16,0-1 0,0 1 15,0 0-15,0 0 0,-14-1 0,14 1 16,-13 0-16,13 0 16,-13-14-16,0 27 0,13-13 0,-14 0 15,1 0-15,0 13 0,0 0 16,-1 0-16,1 13 15</inkml:trace>
  <inkml:trace contextRef="#ctx0" brushRef="#br0" timeOffset="43855.04">6390 6932 0,'0'0'0,"-14"13"62</inkml:trace>
  <inkml:trace contextRef="#ctx0" brushRef="#br0" timeOffset="44104.07">6601 6866 0,'-13'26'31,"13"-12"-31,0 12 16,0-13-16,0 1 0,0 12 0,0-13 15,0 0-15,0 1 0,0-1 16,0 0-16,0 0 0,0 1 16,-13-1-16</inkml:trace>
  <inkml:trace contextRef="#ctx0" brushRef="#br0" timeOffset="45087.1">5027 6562 0,'-13'0'16,"-14"0"-16,14 13 0,-119 159 31,119-132-31,-1-1 0,1 1 16,0 0-16,0-1 0,13 1 15,-14-14-15,14 1 0,14 13 0,-1-1 16,-13-12-16,13 12 0,14-12 15,-1-1-15,1 1 0,-1-1 0,0-13 16,14 1-16,0-1 0,13 0 0,0 0 16</inkml:trace>
  <inkml:trace contextRef="#ctx0" brushRef="#br0" timeOffset="45834.84">6945 6615 0,'40'0'0,"-80"0"0,106 13 16,-39-13-16,-1 26 0,1-12 15,13 12-15,-1 14 0,-12-14 0,-14 14 16,13-14-16,-26 1 0,14-14 16,-14 13-16,0-12 0,0 12 15,0 1-15,-14-14 0,1 13 0,13 1 16,-13-14-16,0 0 0,-14 14 15,14-14-15,0 0 0,0-13 0,-1 13 16,1-13-16,13 14 0,-13-14 16</inkml:trace>
  <inkml:trace contextRef="#ctx0" brushRef="#br0" timeOffset="46059.17">7607 6654 0,'13'40'15,"-13"-27"-15,0 14 16,0-14-16,0 13 0,0-12 16,0 12-16,0 0 0,0 1 0,0-1 15,-13-12-15,13 12 0,0 1 0,0-14 16,0 0-16,0 13 15,-13-12-15</inkml:trace>
  <inkml:trace contextRef="#ctx0" brushRef="#br0" timeOffset="46249.3">7382 6892 0,'53'0'31,"-27"0"-31,-13 14 16,14-14-16,-1 13 0,1-13 0,13 0 15,-1 13-15,1-13 0,0 13 16,-1-13-16</inkml:trace>
  <inkml:trace contextRef="#ctx0" brushRef="#br0" timeOffset="46692.09">8480 6747 0,'26'0'0,"-12"13"16,25 27 0,-39-27-16,0 13 15,0-12-15,-13-1 0,0 13 16,0-12-16,-1 12 0,1-13 15,0 1-15,0-1 0,-1 0 0,1 0 0,0 0 16,13 1-16,-13-14 16,0 13-16,13 0 15,13-13 1,0 13 0,0-13-16,0 0 0,1 0 15,-1 0-15,13 0 0,1 0 0,-1 0 16,-13 0-16,14 0 0,-1 0 0,1 0 15,-1-13-15,1 13 0</inkml:trace>
  <inkml:trace contextRef="#ctx0" brushRef="#br0" timeOffset="46880.02">9102 6826 0,'-27'13'15,"27"1"-15,-13-14 0,0 13 16,0 0-16,13 0 0,-14 1 16,1-1-16,0 13 0,0-12 0,-1-1 15,1 0-15,-13 13 0,12-12 0,14-1 16,-13 0-16,13 0 0</inkml:trace>
  <inkml:trace contextRef="#ctx0" brushRef="#br0" timeOffset="47087.21">8824 6945 0,'13'0'32,"0"0"-32,1 14 15,-1-1-15,0-13 0,-13 13 16,13-13-16,0 26 0,1-26 15,-1 14-15,0-14 0,-13 13 16,13-13-16,1 13 0,-1-13 16,0 0-16</inkml:trace>
  <inkml:trace contextRef="#ctx0" brushRef="#br0" timeOffset="47519.11">9472 6906 0,'-13'13'16,"26"-26"-16,-39 26 0,26 0 15,-14-13-15,14 13 0,-13 1 16,13-1-16,0 0 0,0 0 16,0 0-16,13 1 15,-13-1-15,14-13 16,-1 13-16,0-13 0,14 0 16,-14 0-1,0 0-15,-13-13 16,13 13-16,-13-13 0,13-1 15,-13 1-15,0 0 16,0 0-16,-13 0 16,13-1-16,-13 1 15,0 0 1</inkml:trace>
  <inkml:trace contextRef="#ctx0" brushRef="#br0" timeOffset="47678.25">9710 6945 0,'13'0'0</inkml:trace>
  <inkml:trace contextRef="#ctx0" brushRef="#br0" timeOffset="47882.21">9922 6892 0,'-13'14'15,"13"-1"1,0 0-16,0 0 0,0 1 0,0-1 16,0 0-16,0 0 0,0 0 15,0 1-15,0-1 0,-14 0 0,14 0 16,0 1-16,0-1 0</inkml:trace>
  <inkml:trace contextRef="#ctx0" brushRef="#br0" timeOffset="48391.82">8348 6588 0,'-27'27'15,"14"-14"-15,0 0 0,-14 40 16,-39 119-1,66-132-15,0-14 16,0 1-16,13 12 0,-13-12 16,14 12-16,12-12 0,-13-1 0,14 1 15,12-1-15,1 14 0,13-14 0,-13-12 16,26 12-16,-27-13 0,54 0 16,-40-13-16</inkml:trace>
  <inkml:trace contextRef="#ctx0" brushRef="#br0" timeOffset="48915.05">10001 6601 0,'133'93'15,"-120"-67"-15,0 1 16,13 13-16,-26-1 0,14-12 16,-1-1-16,-13 14 0,0-14 0,0 1 15,0-1-15,-13 1 0,-1 12 0,1-12 16,0-1-16,13 1 0,-26-1 16,12-13-16,14 1 0,-13-1 15,13 0-15,-13-13 0</inkml:trace>
  <inkml:trace contextRef="#ctx0" brushRef="#br0" timeOffset="49163.11">10716 6707 0,'13'13'0,"-13"1"16,0-1-16,0 0 0,0 0 0,0 1 16,0-1-16,0 26 0,0-12 15,0 13-15,0-1 16,0-25-16,0-1 0,-13 13 16,13-13-16,0 1 0,0-1 0,0 0 15,0 0 1</inkml:trace>
  <inkml:trace contextRef="#ctx0" brushRef="#br0" timeOffset="49345.25">10544 6945 0,'13'-13'15,"0"13"-15,93-13 31,-93 13-31,14 0 16,-14 0-16,13-13 0,-12 13 0,-1 0 16,13 0-16</inkml:trace>
  <inkml:trace contextRef="#ctx0" brushRef="#br0" timeOffset="50496.12">11655 6760 0,'26'-13'16,"-12"13"-16,-1 13 16,0-13-16,0 13 15,-13 1-15,-13-1 31,13 0-31,-13-13 0,13 13 16,-13-13-16,13 13 0,0 1 31,13-1-31,0 0 16,0 0-16,1-13 0,-14 14 16,13-1-16,0 0 15,-13 0-15,0 1 16,-13-1-16,0 0 15,-1-13-15,-12 13 0,13-13 16,-1 13-16,1-13 0,0 0 16,0 0-16,-1 14 0,1-14 0,0 0 15,0-14-15</inkml:trace>
  <inkml:trace contextRef="#ctx0" brushRef="#br0" timeOffset="50693.06">12091 6787 0,'14'26'15,"-28"-13"1,14 0-16,-13 1 0,13-1 0,-13 0 16,0 14-16,0-14 0,-1 0 15,1 14-15,0-14 0,0 0 0,-1 0 16,14 0-16,-13 1 0,0-1 0,13 0 15,-13-13-15</inkml:trace>
  <inkml:trace contextRef="#ctx0" brushRef="#br0" timeOffset="50909.01">11880 6892 0,'0'-13'0,"26"26"31,-13 1-15,1-14-16,-1 13 0,0 0 16,0 0-16,1 1 0,-1-1 0,0-13 15,0 13-15,1 0 0,-1 0 0,0-13 16,0 14-16,0-1 16,1-13-16,-1 0 0,0 0 0,0 0 15,1 0-15,-1 0 0</inkml:trace>
  <inkml:trace contextRef="#ctx0" brushRef="#br0" timeOffset="51259.1">12396 6800 0,'0'0'16,"-14"0"-16,14-13 0,-13 26 15,0-13-15,0 13 0,13 0 16,-13-13-16,13 13 0,-14 1 0,14 12 15,-13-13-15,13 1 0,0-1 0,0 0 16,0 0-16,0 1 16,13-1-16,1 0 0,-1-13 0,0 13 15,0 0-15,0-13 0,1 0 16,12 0-16,-13 0 0,1 0 16,-1 0-16,0-13 0,0 13 0,1-13 15,-1 0-15,0 0 0,-13-1 0,13 1 16,-13 0-16,0 0 0,0-1 0,0 1 15,0 0-15,-13 0 16,13-1-16,-13 14 0,13-13 16,-13 13-16,-1 0 0,-12 0 15,13 13 1,-1 1 0</inkml:trace>
  <inkml:trace contextRef="#ctx0" brushRef="#br0" timeOffset="51411.18">12779 6919 0,'14'-13'15</inkml:trace>
  <inkml:trace contextRef="#ctx0" brushRef="#br0" timeOffset="51780.08">12965 6747 0,'26'-13'16,"-13"13"-16,27 13 16,-27-13-1,-13 13-15,13 0 0,1 1 16,-14-1-16,0 0 0,0 0 15,0 0-15,0 1 0,0-1 16,0 0-16,0 0 0,0 1 16,0-1-16,-14 0 0,14 0 0,0 1 15,0-1-15,-13 0 0,13 0 16,-13 0 0,0 1-1</inkml:trace>
  <inkml:trace contextRef="#ctx0" brushRef="#br0" timeOffset="51944.81">12951 6959 0,'14'-27'15,"-1"27"-15,0-13 16,0 13-16,1 0 0,-1-13 16,0 13-16,0 0 0,14 0 0,-14-14 15,0 14-15,14 0 0,-14-13 0,0 13 16,0 0-16,0-13 0,1 13 0,-1 0 15</inkml:trace>
  <inkml:trace contextRef="#ctx0" brushRef="#br0" timeOffset="52335.57">11443 6628 0,'-39'53'0,"25"-27"16,-12 14-16,13-14 0,-1 14 0,-12 132 31,26-132-31,13-1 0,14-12 16,-14-1-16,13 1 0,14-1 15,0 1-15,13-1 0,-27-13 0,27 1 16,0-14-16,0 0 0,0 13 16</inkml:trace>
  <inkml:trace contextRef="#ctx0" brushRef="#br0" timeOffset="52750.23">13428 6588 0,'26'40'15,"40"92"1,-66-105-16,0-1 0,0 0 15,0 14-15,0 0 0,-13 0 16,0-14-16,0 14 0,-1-14 0,1 14 16,-13-14-16,12 1 0,1-14 0,0 13 15,0-12-15,-1-1 0,14 0 16,-13-13-16</inkml:trace>
  <inkml:trace contextRef="#ctx0" brushRef="#br0" timeOffset="53086.56">14301 6826 0,'13'66'31,"-13"-52"-31,0 12 0,0-13 15,-13 14-15,13-14 0,0 13 0,0-12 16,0-1-16,-13 13 0,13-12 0,0-1 16</inkml:trace>
  <inkml:trace contextRef="#ctx0" brushRef="#br0" timeOffset="53276.67">14195 6998 0,'0'0'0,"13"-13"15,0 13-15,1 0 0,-1 0 16,13 0-16,-12 0 16,-1 0-16,13 0 0,1 0 0,-1-13 0,1 13 15</inkml:trace>
  <inkml:trace contextRef="#ctx0" brushRef="#br0" timeOffset="53595.34">15068 6826 0,'-53'13'16,"27"1"-1,12-14-15,1 13 0,0 0 16,-14 0-16,14-13 0,0 14 0,-13-1 16,12 0-16,1 0 15,0 1-15,0-1 16,13 0-16,0 0 16,13 0-16,0-13 15,0 14-15,1-14 0,-1 13 0,0-13 16,0 0-16,0 0 0,14 0 15,-14 0-15,0 0 0,14 13 0,-14-13 16,0-13-16,14 13 0,-14 0 0,0 0 16,0 0-16</inkml:trace>
  <inkml:trace contextRef="#ctx0" brushRef="#br0" timeOffset="53811.94">15094 6787 0,'-26'13'16,"26"0"-16,-13 0 15,13 0-15,0 1 0,-13 12 16,13-13-16,-14 14 0,14-14 0,-13 14 16,13-1-16,0 0 0,-13-12 15,13 12-15,-13-13 0,13 1 0,0-1 16,0 0-16,0 0 0,0 1 15,0-1-15</inkml:trace>
  <inkml:trace contextRef="#ctx0" brushRef="#br0" timeOffset="54016.05">15584 6813 0,'-40'53'16,"27"-40"-16,-13 27 15,12-27-15,1 0 0,-13 14 16,12-1-16,1-13 0,0 1 16,0-1-16,0 0 0</inkml:trace>
  <inkml:trace contextRef="#ctx0" brushRef="#br0" timeOffset="54224.27">15319 6932 0,'27'13'31,"-14"-13"-31,-13 14 0,13-1 0,1-13 15,-14 13-15,13-13 0,-13 13 16,13-13-16,0 13 0,-13 1 0,13-14 16,1 13-16,-1-13 0</inkml:trace>
  <inkml:trace contextRef="#ctx0" brushRef="#br0" timeOffset="54583.91">15796 6853 0,'-53'26'31,"39"-13"-15,14 1-16,-13-14 0,13 13 15,-13 0-15,13 0 0,0 1 0,0-1 16,13 0-16,-13 0 0,13 0 15,1 1-15,-1-14 16,0 13-16,0-13 0,1 13 0,-1-13 16,0 0-16,0 0 0,1 0 0,-1 0 15,0 0-15,-13-13 0,13 13 16,0-13-16,1-1 0,-1 1 16,-13 0-16,0 0 15,13 13-15,-13-27 16,-13 14-16,13 0 15,-13 13 1</inkml:trace>
  <inkml:trace contextRef="#ctx0" brushRef="#br0" timeOffset="54741.11">16113 6932 0,'0'0'15,"13"0"1</inkml:trace>
  <inkml:trace contextRef="#ctx0" brushRef="#br0" timeOffset="54962.93">16457 6826 0,'0'0'0,"-26"27"0,12-14 0,1 0 15,13 0-15,-13 1 0,0-1 16,-1 13-16,14-12 0,-13-1 0,0 13 15,0-13-15,0 1 0,13 12 0,-14-13 16,14 1-16,-13-1 0,0-13 16,13 13-16</inkml:trace>
  <inkml:trace contextRef="#ctx0" brushRef="#br0" timeOffset="55507.51">14737 6773 0,'-26'40'0,"26"-14"0,-13 1 16,13-1-16,0 1 0,-14-1 16,28 1-16,-14-1 0,0 14 0,13-14 15,13 1-15,-12-1 0,12 1 16,14-1-16,-14-13 0,14 1 0,-1-1 16</inkml:trace>
  <inkml:trace contextRef="#ctx0" brushRef="#br0" timeOffset="55871.25">16814 6601 0,'-13'67'0,"13"-28"0,-93 173 16,67-159-1,0-14-15,-1 1 0,1 0 16,-27 26-16,26-26 0,1-14 16,-1 1-16,1-1 0,-1 0 0,-26 1 15,14-1-15,-14 1 0,0-14 0,-13 0 16</inkml:trace>
  <inkml:trace contextRef="#ctx0" brushRef="#br0" timeOffset="56518.32">3784 7091 0,'13'0'16,"-26"0"-16,39 0 0,-13 0 0,0 13 15,1-13-15,-1 0 0,13 0 0,-12-13 16,12 13-16,-13 0 0,14 0 16,-1 0-16,1-13 0,-1 13 0</inkml:trace>
  <inkml:trace contextRef="#ctx0" brushRef="#br0" timeOffset="56666.66">4035 7131 0,'53'0'15,"-40"-14"1,14 14-16</inkml:trace>
  <inkml:trace contextRef="#ctx0" brushRef="#br0" timeOffset="57138.92">4524 9022 0,'67'14'31,"-54"-14"-15,0 0-16,0 0 0,0 0 16,1 0-16,-1 0 0</inkml:trace>
  <inkml:trace contextRef="#ctx0" brushRef="#br0" timeOffset="57320.47">4485 9208 0,'106'-14'31,"-80"14"-31,0-13 15,1 13-15,-1 0 0,14 0 16</inkml:trace>
  <inkml:trace contextRef="#ctx0" brushRef="#br0" timeOffset="57838.52">6429 8916 0,'53'0'16,"0"27"0,-40-14-16,1-13 0,-1 13 15,-13 1-15,0-1 0,0 0 16,0 0-16,-13 1 0,13-1 0,-14 0 15,1 0-15,0 14 0,-13-14 0,12 0 16,1 0-16,-13-13 0,12 14 16,1-1-16,-13-13 0,26 13 0,-14-13 15,1 13-15,0-13 0,0 0 16,13 14-16,26-14 31,1 0-31,-14 0 0,0 0 16,0 0-16,14 0 15,-14 0-15,14 0 0,-14 0 0,13-14 16,-13 14-16,1 0 0,12 0 0,-13 0 16</inkml:trace>
  <inkml:trace contextRef="#ctx0" brushRef="#br0" timeOffset="58004.15">6773 9128 0,'0'-13'31</inkml:trace>
  <inkml:trace contextRef="#ctx0" brushRef="#br0" timeOffset="58610.13">7131 8903 0,'-14'0'16,"28"0"-16,-54 0 0,27 0 15,-1 0 1,14 13-16,0 1 16,14-1-16,-14 0 15,0 0-15,13-13 0,-13 27 0,0-14 16,13 0-16,-13 1 0,0-1 0,0 0 16,0 0-16,0 0 0,0 1 15,-13 12-15,13-13 0,-13 1 16,13-1-16,-14-13 0,14 13 0,-13-13 15,26-26 17,1 12-32,-1 14 15,0-26-15,14 13 0,-14-1 0,13-12 16,-13 13-16,1 0 0,12-1 16,-13-12-16,-13 13 0,14 13 0,-1-14 15,-13 1-15,0 0 0,-13-14 16,-1 14-1,1 13-15,0 0 0,0 0 0,-1-13 16,1 13-16,0 0 0,0 0 0,0 0 16,-1 13-16,1-13 15</inkml:trace>
  <inkml:trace contextRef="#ctx0" brushRef="#br0" timeOffset="58741.97">7474 9009 0</inkml:trace>
  <inkml:trace contextRef="#ctx0" brushRef="#br0" timeOffset="65903.82">4842 4736 0,'119'-13'0,"-79"13"16,198 13-1,-199-13-15,-12-13 16,13 13-16,-14 0 0,1 0 0,12 0 16,-26-13-16,14 13 0,-1 0 0,-12-14 15</inkml:trace>
  <inkml:trace contextRef="#ctx0" brushRef="#br0" timeOffset="66159.07">5384 4458 0,'106'27'16,"-79"-27"-1,-1 13-15,0 0 0,1 0 16,-1 14-16,14-14 0,-13 14 0,-1-14 0,0 13 16,-12-13-16,-1 14 0,0-14 15,-13 0-15,0 1 0,0 12 0,0-13 16,-13 14-16,-14-1 0,14 1 0,-13-1 16,-1-13-16,14 14 15,-13-14-15,12 0 0,1-13 0</inkml:trace>
  <inkml:trace contextRef="#ctx0" brushRef="#br0" timeOffset="67818.27">9036 5106 0,'-14'0'16,"1"40"0,13-27-1,-13 1-15,13-1 0,0 0 0,-13 14 0,13-14 16,0 13-16,0-13 0,0 1 16,0-1-16,13 0 0,-13 0 15,0 1-15,13-1 0,-13 0 0,13 0 16,1 1-16,-1-14 15,0 0-15,0 0 16,0 0-16,-13-14 0,14 14 0,-14-13 16,13 0-16,0 0 15,-13-1-15,0 1 0,0 0 0,0 0 16,0-1-16,0 1 0,0 0 0,0 0 16,-13 13-16,13-13 0,0-1 15,-13 14-15,13-13 0,-14 13 0,14-13 16,-13 13-16,0 13 15,0-13-15</inkml:trace>
  <inkml:trace contextRef="#ctx0" brushRef="#br0" timeOffset="67979.11">9472 5226 0</inkml:trace>
  <inkml:trace contextRef="#ctx0" brushRef="#br0" timeOffset="68332.31">9723 5133 0,'14'13'31,"-14"0"-31,-14 1 0,1-1 15,13 0-15,-13 0 0,0 1 0,0-1 16,-1 0-16,1 0 16,0 0-16,13 1 15,-13-1-15,13 0 16,13-13 15,0 0-31,0 0 16,1 0-16,-1 0 15,0 0-15,0 0 16,0 0-16</inkml:trace>
  <inkml:trace contextRef="#ctx0" brushRef="#br0" timeOffset="68711.39">10041 5146 0,'-13'0'16,"-14"0"-16,-26 27 31,40-14-31,0-13 0,13 13 16,0 0-16,0 1 15,0-1-15,0 0 16,0 0 0,0 0-16,0 1 15,-13-1-15,-1 0 16,1-13-16,0 13 0,0 1 15,-1-14-15,1 13 0,0-13 0,13 13 16,-13-13-16,0 0 0</inkml:trace>
  <inkml:trace contextRef="#ctx0" brushRef="#br0" timeOffset="69275.03">11708 5106 0,'0'0'15,"-40"40"1,27-27-16,0 1 16,13-1-16,-14 13 15,14-12-15,0-1 0,0 0 0,0 0 16,0 0-16,14 1 0,-1-1 16,0-13-16,0 13 15,1-13-15,-1 0 0,0-13 16,0 13-16,1-13 15,-1-1-15,-13 1 16,0 0-16,0 0 0,0 0 0,-13 13 16,13-14-16,0 1 0,-14 0 0,1 0 15,0-1-15,0 1 16,-1 13-16,1 0 0,0 0 16</inkml:trace>
  <inkml:trace contextRef="#ctx0" brushRef="#br0" timeOffset="69422.67">11880 5212 0,'13'0'0,"-13"-13"15</inkml:trace>
  <inkml:trace contextRef="#ctx0" brushRef="#br0" timeOffset="69786.07">12277 5093 0,'13'0'0,"0"27"31,-13-14-31,-13-13 0,13 13 16,-13 0-16,13 1 0,-14-1 16,1 0-16,0 0 0,0-13 15,13 14-15,-13-14 0,13 13 0,-14 0 16,1 0-1,26 0 17,1-13-17,-1 0 1,0 0-16,0 0 16,0-13-16,1 13 15</inkml:trace>
  <inkml:trace contextRef="#ctx0" brushRef="#br0" timeOffset="70131.12">12700 5106 0,'-26'0'0,"-27"27"31,39-27-31,1 13 0,13 0 16,-13-13-16,13 14 16,0-1-16,13 0 15,-13 0 1,0 1-16,0-1 15,-13 0-15,0 0 16,13 0-16,-14-13 16,1 14-16,0-14 0,0 13 0,0-13 15,-1 13-15,1-13 0,-27 27 32</inkml:trace>
  <inkml:trace contextRef="#ctx0" brushRef="#br0" timeOffset="71320.23">14076 5345 0,'13'0'0,"-26"0"0,26 13 0,0-13 16,1 0-16,-14 13 0,13 0 15,-13 1 1,0-1-16,0 0 15,-13-13-15,-1 13 0,14 0 0,-13-13 16,13 14-16,-13-14 0,0 13 16,-1-13-16,-12 13 15,13 0-15,-1-13 0,1 0 16,0 14-16,0-14 16,0 13-1,-1-13-15,41-13 78,-14 13-78,0-14 16,0 1-16,1 0 16,-1 13-16,-13-13 15,13-1-15,0 1 0,1 0 16,-14 0-16,13 13 15,-13-13-15,0-1 32,0 1-17,-13 0 17,13 0 46,-14-1-16,1 14-31,0 0 1,0 14-17,-1-1 1,1-13-16,0 13 16,0 0-1,0 1-15,13-1 0,-14-13 16,1 13-16,13 0 0,-13 0 15,13 1-15,-13-1 16,13 0-16,0 0 0,0 1 16,0-1-16,13 0 15,0-13 1,14 13-16,-14-13 16,13-13-1,-13 13-15,1 0 16,-1 0-1,0-13-15,14 13 16</inkml:trace>
  <inkml:trace contextRef="#ctx0" brushRef="#br0" timeOffset="71484.52">14288 5464 0,'-14'-14'32</inkml:trace>
  <inkml:trace contextRef="#ctx0" brushRef="#br0" timeOffset="71839.14">14565 5371 0,'14'0'0,"-28"0"0,41 13 0,-27 1 16,0-1-1,0 0-15,-13-13 0,13 13 16,-14 0-16,1-13 0,13 14 0,-13-14 16,13 13-16,-13-13 0,13 13 15,-14 0-15,1 1 16,40-14 46,-14-14-62,0 14 0,0 0 16,-13-13-16,14 13 16</inkml:trace>
  <inkml:trace contextRef="#ctx0" brushRef="#br0" timeOffset="72130.89">14803 5371 0,'-26'0'0,"26"13"16,-13-13 0,13 14-16,0-1 15,0 13 1,13-13-16,-13 1 15,0-1-15,-13 0 16,0 0-16,-1 1 16,-12-14-16,13 13 0,-1 0 15,1-13-15,0 13 0,0-13 0,-14 13 16,14-13 0</inkml:trace>
  <inkml:trace contextRef="#ctx0" brushRef="#br0" timeOffset="72747.98">15862 5318 0,'-40'27'16,"40"-14"-1,-13-13-15,13 13 0,0 0 0,-13 1 16,13-1-16,0 0 0,0 0 16,0 0-16,13 1 0,-13-1 15,13-13-15,0 13 0,1-13 0,-14 13 16,13-13-16,0 0 0,0 14 0,0-14 16,1 0-16,-1-14 0,0 14 15,-13-13-15,13 13 0,-13-13 16,14 13-16,-14-13 0,0-1 0,0 1 15,0 0 1,0 0-16,-14 13 0,14-13 0,-13-1 16,0 14-16,0 0 15</inkml:trace>
  <inkml:trace contextRef="#ctx0" brushRef="#br0" timeOffset="72908.16">16166 5437 0,'0'-13'0,"13"13"31</inkml:trace>
  <inkml:trace contextRef="#ctx0" brushRef="#br0" timeOffset="73406.64">16338 5345 0,'13'0'0,"14"13"32,-27 0-32,-14 0 15,14 1-15,-13-1 16,13 0-16,-13-13 0,13 13 0,-13 0 16,0-13-16,13 14 0,-14-14 0,1 13 15,0 0 1,13 0 15,13-13 0,0 0-31,1 0 16,-1 0-16,0 0 0,0 0 16,0-13-16,1 13 15,-1 0-15,0-13 0,0 13 0</inkml:trace>
  <inkml:trace contextRef="#ctx0" brushRef="#br0" timeOffset="73702.95">16616 5318 0,'-27'0'0,"54"0"0,-67 0 0,27 0 15,0 13-15,-1-13 16,14 14-1,0-1-15,0 0 0,0 0 16,14-13-16,-14 14 0,0-1 16,0 0-16,13 0 0,-13 0 15,0 1-15,0-1 16,-13-13 0,13 13-16,-14-13 0,14 13 0,-13-13 15,0 14-15,0-14 0,0 0 0,-1 0 16,1 13-16,-13-13 0,12 0 15,-12 0-15,13 13 0,-14-13 0,1 0 16,-14 0-16,14 0 0</inkml:trace>
  <inkml:trace contextRef="#ctx0" brushRef="#br0" timeOffset="74947.17">9472 5569 0,'0'-13'15,"0"40"17,0-14-32,-13 0 15,13 0-15,0 1 0,-13-1 0,-1 0 16,14 0-16,-13 1 15,13-1-15,-13-13 0,13 13 16,0 0-16</inkml:trace>
  <inkml:trace contextRef="#ctx0" brushRef="#br0" timeOffset="75170.95">9644 5675 0,'-40'40'16,"40"-27"-1,-13-13-15,-13 13 0,12 1 0,1-1 16,0 0-16,-13 0 0,12-13 16,-12 14-16,13-1 0,-1 0 0,1-13 15,0 13-15,0 1 0,-1-14 0,1 13 16</inkml:trace>
  <inkml:trace contextRef="#ctx0" brushRef="#br0" timeOffset="75625.5">9684 5781 0,'-27'27'31,"14"-14"-31,0-13 0,13 13 16,-13-13-16,-1 13 0,1 1 15,0-14-15,13 13 0,-13-13 16,13 13-16,-14-13 0,14 13 16,0 0-1,14-13 1,12 0-16,-26-13 15,13 13-15,1-13 0,12 13 0,-13-13 0,1 0 16,-1 13-16,0-14 16,0 14-16,-13-13 0,13 13 0,1-13 15,-1 13-15,-13-13 16,13 26 15,-26 0-31,13 0 0,0 1 16,0-1-16,0 0 15,0 0-15,0 0 16,0 1-16,0-1 0,0 0 16,13-13-16,-13 13 0,13-13 15</inkml:trace>
  <inkml:trace contextRef="#ctx0" brushRef="#br0" timeOffset="76106.19">12343 5649 0,'-27'40'31,"27"-27"-31,0 0 0,0 0 0,0 0 0,-13 1 16,13-1-16,0 0 15,0 0-15</inkml:trace>
  <inkml:trace contextRef="#ctx0" brushRef="#br0" timeOffset="76316.66">12515 5781 0,'-53'13'15,"40"1"1,-1-1-16,1-13 0,-13 13 0,12 0 16,-12 1-16,13-1 0,-14 0 15,14 0-15,0 0 0,0 1 0,-1-14 16,1 13-16,0 0 0,0 0 15</inkml:trace>
  <inkml:trace contextRef="#ctx0" brushRef="#br0" timeOffset="76698.32">12541 5927 0,'-39'13'16,"39"0"0,-14-13-16,1 13 0,0-13 0,0 14 15,-1-14 1,14 13-16,-13-13 0,13 13 16,13-13-1,1 0 1,-1 0-16,0 0 15,0-13-15,1 13 0,-1 0 16,0-13-16,0 13 16,0 0-16,1 0 31,-14 13-15,-14 0-1,14 0-15,0 0 0,0 1 16,0-1-1,0 0-15,0 0 16</inkml:trace>
  <inkml:trace contextRef="#ctx0" brushRef="#br0" timeOffset="77139.81">14552 5768 0,'-26'53'16,"26"-40"-16,-14 0 15,14 1-15,-13-1 0,13 0 16,0 0-16,0 0 0,0 1 16</inkml:trace>
  <inkml:trace contextRef="#ctx0" brushRef="#br0" timeOffset="77331">14711 5913 0,'-27'0'31,"1"0"-31,13 14 16,-1-1-16,1 0 0,-13-13 0,-1 13 15,14 1-15,0-1 0,-14 0 16,14 0-16,-13 0 0,12 1 0,1-1 15,13 0-15,-13-13 0,13 13 16,0 1-16</inkml:trace>
  <inkml:trace contextRef="#ctx0" brushRef="#br0" timeOffset="77710.97">14751 6059 0,'13'0'15,"-40"13"17,14-13-32,0 13 15,0-13-15,-1 14 0,1-14 16,0 13-16,0-13 16,13 13-16,-14-13 0,1 13 15,40-13 16,-14 0-31,0 0 16,0-13-16,1 13 0,-1 0 0,0-13 16,0 13-16,1 0 0,-1 0 15,0 0-15,0-13 16,-13 26-16,13-13 16,-13 13-16,0 0 15,0 1 1,-13-1-16,13 0 15,0 0-15,0 0 0,13-13 16,-13 14-16,14-14 16</inkml:trace>
  <inkml:trace contextRef="#ctx0" brushRef="#br0" timeOffset="78123.07">16232 5794 0,'-13'27'15,"13"-14"1,-13-13-16,13 13 0,0 1 16,-14-14-16,14 13 0,-13 0 0,13 27 31</inkml:trace>
  <inkml:trace contextRef="#ctx0" brushRef="#br0" timeOffset="78320.98">16312 5913 0,'13'-13'16,"-26"26"-16,-1-13 16,14 14-1,-13-14-15,0 13 0,0 0 0,-1 0 16,1-13-16,0 14 0,0-1 16,-1 0-16,-12 0 0,13 0 0,0-13 15,-1 14-15,1-1 0,13 0 16,-13-13-16,13 13 0,-13-13 0,13 14 15</inkml:trace>
  <inkml:trace contextRef="#ctx0" brushRef="#br0" timeOffset="78676.17">16312 6072 0,'13'0'0,"-26"13"46,-1 1-30,1-14 0,13 13-16,-13-13 0,0 13 15,13 0 1,13-13 15,0-13-31,0 13 16,1 0-16,-1 0 0,0 0 15,-13 13 1,13-13 0,-26 14-16,13-1 0,0 0 15,0 0-15,0 0 16,-13 1-16,13-1 16,-13 0-16,-1 0 15,1 1 1,0-14-16</inkml:trace>
  <inkml:trace contextRef="#ctx0" brushRef="#br0" timeOffset="80821.1">8401 5106 0,'0'-13'15,"0"0"-15,0 0 16,-14 13-16,14-13 15,-13 13-15,0 0 16,0 0-16,-1 13 16,14 0-16,0 0 0,0 0 15,-13 1-15,13 12 0,0-13 16,0 14-16,0-1 0,0-12 0,-13 12 16,13 0-16,0 1 0,-13-1 15,13 1-15,-14-14 0,14 14 16,-13-14-16,0 0 0,13 0 0,0 0 15,-13-13-15,13 14 16,13-1 15,-13 0-31,0 14 16,0-14-16,0 13 0,0 1 16,0-1-16,0 14 0,0 0 0,-13-1 15,13-12-15,0-1 0,-13 1 16,13-1-16,0 1 0,-14-14 0,14 13 15,0-13-15,-13 1 16</inkml:trace>
  <inkml:trace contextRef="#ctx0" brushRef="#br0" timeOffset="84666.06">4247 10980 0,'66'0'0,"13"13"31</inkml:trace>
  <inkml:trace contextRef="#ctx0" brushRef="#br0" timeOffset="84852.09">4220 11218 0,'27'0'15,"-14"0"-15,0 0 0,0 0 16,14-13-16,-1 13 0,-13 0 16,27-13-16,-13 13 0,12 0 0,14-13 15</inkml:trace>
  <inkml:trace contextRef="#ctx0" brushRef="#br0" timeOffset="85316.22">5675 11007 0,'14'-14'0,"-28"28"0,41-28 0,-14 14 16,0 0-16,0 0 0,1 0 0,-1 14 0,0-14 16,0 0-16,1 13 0,-1-13 15,-13 13-15,13 0 0,-13 1 16,-13-1-16,0 13 0,13-13 15,-14 1-15,1-1 0,0 0 0,0 0 16,13 1-16,-14-1 0,1-13 0,13 13 16,-13-13-16,0 13 0,13 1 15,-13-14-15,13 13 16,13 0 0,0-13-1,0 0-15,0 0 0,1 0 16,-1 0-16,0 0 0,0 0 0,14-13 15,-14 13-15,0 0 0</inkml:trace>
  <inkml:trace contextRef="#ctx0" brushRef="#br0" timeOffset="85458.33">6152 11099 0,'-14'-13'0</inkml:trace>
  <inkml:trace contextRef="#ctx0" brushRef="#br0" timeOffset="86255.21">6429 10927 0,'14'0'0,"-14"14"31,0-1-31,-14 0 16,14 0-16,0 0 16,0 1-1,0-1-15,14-13 16,-1 13-16,0-13 0,14 13 16,-14 1-16,0-14 15,0 13-15,0 0 0,1-13 0,-14 13 16,13 0-16,-13 1 0,0-1 15,0 0-15,-13 0 16,-1 1-16,1-1 0,0 0 0,0 0 16,0 1-16,-14-1 0,14 0 0,0-13 15,-14 13-15,14-13 0,0 0 16,-14 0-16,14 13 0,0-13 16</inkml:trace>
  <inkml:trace contextRef="#ctx0" brushRef="#br0" timeOffset="87584.06">1680 11549 0,'27'0'47,"-14"0"-47,0-13 0,0 0 0,14-1 15,-14 14-15,13-13 0,1-13 16,-14 12-16,14 1 0,-14 0 0,0 0 16,-13 0-16,13-1 0,0 1 0,-13 0 15,0 0-15,0-1 0,0 1 16,0 0-16,-13 13 15,-13 0 1,26 13-16,-13-13 16,-1 13-16,14 1 0,-13-1 15,13 0-15,-13 0 0,13 1 16,0-1-16,0 0 0,0 0 16,0 0-16,13 1 0,-13-1 15,13-13-15,1 13 0,-1-13 16,0 0-16,0 0 0,0 13 0,1-26 15,-1 13-15,13 0 0,1 0 16,-1-13-16,1 13 0,-14-13 16</inkml:trace>
  <inkml:trace contextRef="#ctx0" brushRef="#br0" timeOffset="88256.06">2302 11364 0,'-13'-13'0,"-40"26"31,39-13-31,-12 13 0,13-13 16,0 13-16,-1-13 0,1 14 16,0-1-16,0 0 0,-1 0 15,14 0-15,0 1 32,14-14-32,12-14 15,-13 14-15,1 0 16,-1 0-16,-13-13 15,13 13-15,0 0 0,0 0 16,1 13 0,-14 1-1,0-1-15,13-13 0,-13 13 16,0 0-16,0 1 0,0-1 16,0 0-16,13 0 15,-13 1 1,13-14-16,1-14 15,-1 14 1,-13-13-16,13 0 16,-13 0-16,0-1 0,0 1 0,13 13 15,-13-13-15,0 0 0,14 13 16,-14-14-16,0 1 16,13 0-16,0 26 31,-13 0-31,13 1 15,-13-1-15,0 0 0,13 0 0,-13 1 16,14-1-16,-1 0 16,0-13-16,-13 13 15,13-13-15,1 0 0,-1-13 16,0 13-16,-13-13 16,13 13-16,-13-13 15,14 13-15,-14-14 0,13 1 0,-13 0 16,13 0-16,-13-1 15,13 14 1,-13-13-16,13 13 16,1 13-1,-1-13 1</inkml:trace>
  <inkml:trace contextRef="#ctx0" brushRef="#br0" timeOffset="88731">2884 11364 0,'0'0'0,"-13"0"0,0 0 0,-1 0 16,14 13-16,-13-13 15,0 13-15,0-13 0,-1 14 16,14-1-16,-13-13 0,13 13 16,0 0 15,0 0-31,13-13 16,1 0-16,-1 0 15,0-13-15,0 13 0,1 0 16,-1 0-16,0-13 0,0 13 15,0-13-15,1 0 0,-1 13 16,0-14-16,0-12 0,1 13 16,-1-14-16,0 1 0,0-1 0,0 1 0,1-1 15,-1 1-15,-13 13 0,13-14 16,-13 14-16,0 0 0,13 13 16,-13-14-16,0 41 15,0-14 1,0 0-16,0 14 0,0-1 15,0 1-15,0-1 0,0-13 0,0 14 16,0-1-16,14 1 0,-14-1 0,13-12 16,-13 12-16,13 0 0,-13-12 15,13-1-15</inkml:trace>
  <inkml:trace contextRef="#ctx0" brushRef="#br0" timeOffset="89311.83">2368 12025 0,'-13'27'15,"26"-14"1,-13 0-16,0 0 15,13 1-15,0-14 16,1 0-16,-1 0 16,0 0-16,0-14 15,1 14-15,-14-13 0,13 13 0,0 0 16,0 0-16,-13-13 0,14 13 16,-1 0-16,0 0 15,0 13-15,0-13 16,1 0-16,-1 0 15,0 0-15,0 0 16,-13-13-16,14 13 0,-14-13 0,13 13 16,-13-13-16,13 13 0,-13-14 15,0 1-15,13 13 0,-13-13 0,0 0 16,14-1-16,-14 1 16,13 13-1,0 13 1,0-13-16,0 14 15</inkml:trace>
  <inkml:trace contextRef="#ctx0" brushRef="#br0" timeOffset="89860.92">2818 12012 0,'0'-26'32,"0"12"-17,-13 28 32,13-1-31,13 0-16,0-13 15,-13 13 1,13-13-16,1-13 16,-1 13-16,0 0 0,0-13 15,0 13-15,-13-13 0,14 13 16,-1-14-1,-13 1-15,13 0 32,0 26 61,1-26-61,-1 13-17,0 0 17,-13 13-32,0 0 0,0 1 15,0-1 1,13-13-16,-13 13 0,0 0 15,0 1 1</inkml:trace>
  <inkml:trace contextRef="#ctx0" brushRef="#br0" timeOffset="90356.17">3109 11933 0,'0'13'16,"0"0"-16,0 27 31,0-27-15,13-26 31,0 13-47,1 13 15,-14 0 1,13-13-16,-13 14 16,0-1-16,13 0 0,-13 0 0,13 0 15,-13 1-15,13 12 0,-13-13 0,14 1 16,-14-1-16,0 0 0,13-13 0,-13 13 15,0 1-15,13-14 0,-13 13 16</inkml:trace>
  <inkml:trace contextRef="#ctx0" brushRef="#br0" timeOffset="92365.06">1654 9406 0,'-14'26'16,"14"1"-1,0-14 1,14 0-16,-14 1 0,0-1 16,0 0-16,0 0 0,13-13 0,-13 13 15,13 1-15,0-14 0,-13 13 16,14-13 0,12 0-16,-13-13 15,-13-1-15,13 14 0,-13-13 0,14 0 16,-14 0-16,13 0 15,-13-1-15,0 1 0,13 0 16,-13 0-16,0-1 0,0 1 0,13 0 16,-13 0-1,14 26 17,-14 0-32,0 0 0,0 1 15,13-1-15,-13 0 16,13 0-16,-13 1 15,13-1-15,1 0 16,-1-26 15,0 0-31,-13-1 16,13 14-16,-13-13 0,13 0 16,-13 0-1,14 13-15,-1-14 16,0 28-1,0-14 1,-13 13-16,14-13 16,-14 13-16,13 0 15,0-26 17,0 13-17,1-13 1,-1 13-1,0 0 1,0 0-16,0 0 16,1 0-1,-1 0-15,0 0 16</inkml:trace>
  <inkml:trace contextRef="#ctx0" brushRef="#br0" timeOffset="92794.7">2236 9446 0,'13'-40'31,"-13"27"-31,0-1 0,0 1 16,0 0 0,0 0-1,0 0-15,-13 26 31,-1-13-31,14 13 16,0 0-16,0 0 0,0 1 16,0-1-16,0 0 0,0 0 15,0 1-15,14-14 16,-1 13-16,0-13 0,14 0 16,-14-13-16,0 13 15,14 0-15,-14-14 0,0 14 16</inkml:trace>
  <inkml:trace contextRef="#ctx0" brushRef="#br0" timeOffset="93835.15">2540 9300 0,'-13'0'0,"26"0"0,-39-13 16,12 26-1,1-13-15,0 0 16,13 13-16,-13-13 0,-1 14 15,14-1 1,-13-13-16,13 13 16,13 0-1,1-13 1,-14 13 0,13-13-16,-13 14 0,13-1 15,-13 0 1,13-13-16,-13 13 15,14 1-15,-1-1 16,0-13 0,0-13-1,0-1 1,-13 1 0,14 13-16,-14-13 0,13 0 0,-13-1 15,13 1-15,-13 0 0,13 0 16,-13 0-1,14 13-15,-1 13 32,-13 0-17,13-13 1,-13 13-16,13 0 0,1-13 16,-1 0-16,0 0 15,0 0 1,0-13-16,1 13 0,-1-13 15,0 0 1,0 13-16,-13-13 16,14 13-16,12 0 31,-26 13-15,13-13-1,1 0-15,-1 0 0,0 0 16,0 0-16,0-13 15,1 13-15,-1-14 0,-13 1 16,13 13-16,-13-13 16,13 0-1,-39 26 48,39 0-32,0-13-15,1 0-1,-1 0 1,0 0-16,0 0 16,0-13-16,1 0 15,-1 13-15,-13-14 0,13 14 16,0-13-16,-13 0 0,14 0 0,-1 0 15,-13-1-15,13 1 0,0-13 0,-13 12 16,14-12-16,-14 13 0,13-1 0,-13-12 16,13 26-16,-13-13 0,0 0 15,13-1-15,-13 41 32,0-14-32,0 0 15,-13 0-15,13 1 0,0 12 16,0-13-16,0 1 0,0-1 0,13 0 15,-13 14-15,0-14 0,0 0 16,13-13-16,-13 13 0,14 0 0,-1-13 16</inkml:trace>
  <inkml:trace contextRef="#ctx0" brushRef="#br0" timeOffset="94637.07">2315 9816 0,'-13'0'0,"26"26"47,-13-12-47,13-1 15,1 0 1,-1-13 0,0 0-16,0 0 15,0 0-15,1-13 16,-1 13-1,0 0 1,0 0-16,1 0 16,-1 13-1,0-13-15,0 0 16,1 0-16,-14-13 16,13 13-16,0-13 15,-13-1-15,0 1 16,13 0-16,-13 0 0,0 0 15,0-1 1,0 1-16,13 13 16,1 13-1,-1-13 1,-13 14-16,13-14 16</inkml:trace>
  <inkml:trace contextRef="#ctx0" brushRef="#br0" timeOffset="95000.11">2686 9856 0,'13'0'0,"-13"-14"16,13-25-1,-13 26 1,13-1-16,-13 1 16,-26 26 30,26 1-46,0-1 0,0 0 16,13-13-16,-13 13 16,13-13-16,14 13 15,-27-26-15,13 13 0,0 0 16,0 0-16,1-13 0,-1 13 16,0-13-16,0 13 0,-13-13 15,14 13-15,-1-14 0,0 14 0,0 0 31,0 0-31,-13 14 16,0-1 0,0 0-16,0 0 15,0 0-15,0 1 0</inkml:trace>
  <inkml:trace contextRef="#ctx0" brushRef="#br0" timeOffset="95100.24">2963 9684 0</inkml:trace>
  <inkml:trace contextRef="#ctx0" brushRef="#br0" timeOffset="95730.89">3149 9671 0,'-14'0'15,"1"0"1,0 13-16,0-13 15,13 13 1,0 0-16,0 0 16,0 1-1,0-1-15,0 0 0,0 0 16,0 1-16,0-1 0,0 0 16,0 0-16,0 0 15,0 1-15,-14-1 16,14 0-16,-13-13 15,13-13 17,0 0-17,13-1-15,-13 1 0,14 0 16,-14 0-16,13 0 0,-13-1 16,13 1-16,-13 0 0,13 0 0,1-1 15,-14 1-15,13 0 0,-13 0 0,13 0 16,-13-1-16,0 1 0,13 0 15,-13 0-15,13-1 0,-13 1 16,0 40 15,0-14-15,0 0-16,0 0 16,0 1-16,14-1 15,-14 0-15,0 0 16,13-13-16,0 13 15,0-13 1,1 0-16,-1 0 0,0-13 16,0 13-16,1 0 0,-1 0 0,13 0 15,-13-13-15</inkml:trace>
  <inkml:trace contextRef="#ctx0" brushRef="#br1" timeOffset="104492.38">7064 11060 0,'27'-14'62,"-14"14"-62,0 0 16,1 0-16,-1-13 15,0 13-15,0-13 0,0 13 0,1-13 16,-1-1-16,13 1 0,-12 0 16,-1 13-16,0-13 0,0-14 0,0 14 15,1 0-15,-1 0 0,0-1 16,0 1-16,1-13 0,-1 12 0,-13 1 15,13 0-15,-13 0 0,13-14 16,-13 14-16,14 0 0,-14 0 0,0-14 16,13 14-16,-13 0 0,13-14 0,-13 14 15,0 0-15,13 0 0,-13-14 16,0 14-16,13 0 0,-13-14 0,0 14 16,14-13-16,-14 12 0,0 1 15,13-13-15,-13 12 0,0 1 0,13-27 16,-13 27-16,0-13 15,0 13-15,13-14 0,-13 14 0,0 0 16,0-14-16,0 14 0,0-14 0,0 14 16,0-13-16,0-1 0,0 14 15,0-13-15,0-1 0,0 14 0,0-14 16,0 14-16,0-13 0,0 13 0,0-14 16,0 14-16,0 0 0,0-14 0,0 14 15,0 0-15,0-1 0,0 1 16,0 0-16,0 0 0,0 0 15,0-1-15,0 1 0,0 0 0,0 0 16,0-1-16,0 1 0,0 0 16,0 0-16,0 0 0,0-1 15,0 1-15,0 0 16,-13 0-16,13-1 0,0 1 16,0 0-16,0 0 15,-13-1-15,13 1 16,0 0-16,-13 0 15,13 0-15,0-1 16,-14 14-16,14-13 16,-13 0-16,13 0 15,0-1 1,-13 1 15,13 0-15,-13 0-1,13-1 48,-13 28 406,-1-1-454,1 0-15,13 0 16,-13 1-16,0-1 16,-1 0-16,14 0 0,-13 1 15,0-1-15,13 0 0,-13 0 0,-1 0 16,1 1-16,13-1 0,-13 0 0,0 0 15,0 1-15,-1-1 0,14 0 16,-13 0-16,0 1 16,13-1-16,-13-13 0,13 13 15,-14-13-15,14 13 16,14 0 31,-1-26-32,0 0-15,0 0 16,1 13-16,-1-13 16,0-1-16,0 1 0,0 0 15,1 0-15,-1-1 0,0 1 0,-13 0 16,13 0-16,1-1 0,-1-12 0,-13 13 16,13 0-16,0 13 0,-13-14 0,14 1 15,-14 0-15,13 13 0,-13-13 16,0-1-16,13 14 0,-13-13 0,13 0 15,0 0 1,-13-1 0,14 1-1,-1 0 32,0 26-16,0-13-15,-13 13-16,14-13 0,-14 14 16,13-1-16,-13 0 0,13 0 0,0-13 15,1 14-15,-14-1 0,13 0 16,0 0-16,0 1 0,-13-1 0,13 0 16,1-13-16,-14 13 0,13 0 15,0 1-15,0-1 16,1-13-16,-14 13 15,13-13-15,-13 13 16,13-13 15</inkml:trace>
  <inkml:trace contextRef="#ctx0" brushRef="#br1" timeOffset="105856.36">8255 9842 0,'0'-26'0,"0"52"31,0-12-31,0-1 16,0 13-16,0 1 0,0-14 0,0 14 15,0-1-15,-13 0 0,13 1 0,0-14 16,0 14-16,0-14 15,0 13-15,0-12 0,0-1 0,0 0 16,0 0-16,0 0 16,0 1-16</inkml:trace>
  <inkml:trace contextRef="#ctx0" brushRef="#br1" timeOffset="106074.15">8096 10041 0,'53'-13'31,"-40"13"-31,1 0 16,-1 0-16,0 0 0,0 0 0,1 0 15,-1 0-15,0 0 0,0 13 16,0-13-16,1-13 0,12 13 15,-13 0-15,1 0 0,-1 0 0,0 0 0,0 0 16</inkml:trace>
  <inkml:trace contextRef="#ctx0" brushRef="#br1" timeOffset="106494.15">8665 9909 0,'-13'0'31,"0"13"-31,13 0 16,-14 0-16,14 1 0,0-1 16,-13 13-16,13-13 0,0 1 15,0-1-15,13 0 0,-13 0 0,14 1 16,-14-1-16,13 0 0,0-13 15,0 13-15,-13 1 0,14-14 16,-1 0-16,0 0 0,0 0 0,0 0 16,1 0-16,-1 0 0,-13-14 0,13 14 15,0-13-15,1 13 0,-14-13 16,13 13-16,-13-13 0,0-1 0,0 1 16,13 0-16,-13 0 0,0-14 0,0 14 15,0 0-15,0 0 0,-13-1 16,13 1-16,0 0 0,-13 13 15,13-13-15,-14 13 0,1-14 16,0 14-16,0 0 16,-1 14-16,1-14 15,13 13-15</inkml:trace>
  <inkml:trace contextRef="#ctx0" brushRef="#br1" timeOffset="106751.33">9168 9935 0</inkml:trace>
  <inkml:trace contextRef="#ctx0" brushRef="#br1" timeOffset="107478.89">9379 9829 0,'14'0'0,"-1"0"15,0 0 1,0 0-16,-13-13 16,-26 26 15,13 0-15,-1-13-16,1 14 0,0-14 15,0 0-15,0 13 16,26 0 15,-13 0-31,13-13 16,0 0-16,0 14 0,1-14 15,-1 13-15,0-13 0,-13 13 0,13-13 16,-13 13-16,14-13 16,-14 14-16,-14-1 15,14 0-15,-13-13 0,0 13 0,0-13 16,-1 13-16,1 1 0,0-14 15,-13 13-15,12 0 0,1-13 16,0 13-16,0 1 16</inkml:trace>
  <inkml:trace contextRef="#ctx0" brushRef="#br1" timeOffset="107828.97">10173 9922 0,'13'26'31,"-13"-12"-31,14-14 16,-14 13-16,0 0 0,0 0 0,0 53 31,0-52-16,0-1-15,0 0 16</inkml:trace>
  <inkml:trace contextRef="#ctx0" brushRef="#br1" timeOffset="107989.29">10186 9750 0</inkml:trace>
  <inkml:trace contextRef="#ctx0" brushRef="#br1" timeOffset="108362.03">10425 9909 0,'-14'13'0,"28"-26"0,-28 39 0,14-13 15,0 1-15,0-1 0,-13 0 16,13 0-16,0 0 0,-13 1 15,13-1-15,0 0 0,0 0 16,13-13 15,0-13-31,1 13 16,-1-13-16,0 13 0,0 0 16,-13-13-16,14 13 0,-1 0 15,13 0-15,-13 0 16,-13 13-16,14-13 0,-1 13 15,-13 0 1,13 1-16,-13-1 16,13-13-16,1 13 0,-1-13 15,0 13-15</inkml:trace>
  <inkml:trace contextRef="#ctx0" brushRef="#br1" timeOffset="109278.35">10874 9869 0,'0'0'0,"-26"0"32,26 13-32,-13 0 0,-1 1 15,14-1-15,-13 0 16,13 14-16,-13-14 0,13 0 0,0 0 15,0 0-15,0 1 0,0-1 0,0 0 16,0 0-16,0 1 0,0-1 16,13-13-16,-13 13 0,13 0 15,1-13-15,-1 0 0,0 0 16,0 0-16,1-13 0,-1 13 16,0-13-16,0 0 0,1-1 0,-14 1 15,13 0-15,0 0 0,0-1 0,-13 1 16,13 0-16,-13 0 0,0 0 15,14-1-15,-14 1 0,0 0 16,13 0-16,-13-1 0,0 1 16,0 40 31,0-14-47,0 0 0,0 0 15,0 1-15,13-1 16,-13 0-16,13 0 0,1 0 15,-14 1-15,13-14 0,0 0 16,0 13-16,0-13 0,1 0 16,-1 0-16,0 0 0,0 0 0,1-13 15,-1 13-15,0 0 0,0-14 16,1 14-16,-1-13 16,0 13-1,-13-13-15,0 39 47,-13-12-47,13-1 0,0 0 16,0 0-16,13-13 15,-13 14-15,13-14 0,0 13 16,1-13-16,-1 0 16,0 0-16,0 0 0,1 0 0,-1 0 15</inkml:trace>
  <inkml:trace contextRef="#ctx0" brushRef="#br1" timeOffset="109891.08">11562 9975 0,'-13'-13'31,"0"-1"-31,0 14 16,-1 14 0,1-14-1,0 13 1,0 0-16,13 0 16,-14 0-1,14 1 1,0-1-1,14-13 1,-1 0 0,0 0-16,0-13 15,1 13-15,-14-14 0,13 14 16,0-13-16,0 13 16,-13-13-16,14 0 0,-1 0 15,-13 39 48,0-13-63,13-13 15,0 0 1,-13 13-16,13-13 0,1 0 16,-1 0-16,0 0 0,0 14 15,1-14-15,-1 0 16,0 13-16,0-13 0,-13 13 15,0 0-15,0 1 16,-13-14-16,13 13 16,-13-13-16,13 13 0,-13-13 0,-1 13 15,14 1-15,-13-14 0,0 13 0,0-13 16,-1 13-16,1 0 0,0-13 16,-13 13-16,12-13 0</inkml:trace>
  <inkml:trace contextRef="#ctx0" brushRef="#br1" timeOffset="110163.26">10385 10358 0,'53'-13'0,"66"13"31,-66 0-31,0-13 0,13 13 0,0 0 0,13 0 16,-12 0-16,12 0 0,-13 0 0,0-13 16,-13 13-16,13 0 15,-13 0-15,-13 0 0,0 0 0,-14 0 16,0 0-16,-12 0 0,-1 0 0,-40 13 31,14-13-31,-26 0 16</inkml:trace>
  <inkml:trace contextRef="#ctx0" brushRef="#br1" timeOffset="110395.05">10213 10504 0,'-27'13'16,"54"-26"-16,-67 26 0,80-13 16,-14 0-16,14 0 15,0 0-15,13 0 0,13 0 16,-13-13-16,13 13 0,0 0 15,-13 0-15,13-13 0,-13 13 0,13 0 16,-13 0-16,0-13 0,-13 13 16,-1 0-16,-12 0 0,-1 0 15,-13 0-15,40 0 16,-39-14-16,-1 14 0,0 0 16</inkml:trace>
  <inkml:trace contextRef="#ctx0" brushRef="#br1" timeOffset="111163.57">11668 10173 0,'27'0'46,"-14"0"-46,0-13 0,14 13 16,-14-13-16,13 13 0,14-27 16,-14 14-16,1 0 15,-1 0-15,-13-1 0,1 1 0,-1 0 16,0 0-16,0-1 0,-13 1 16,-13 0-1,0 13-15,0 13 16,-1 0-16,1 1 15,0-1-15,13 0 16,0 0-16,0 1 0,0-1 0,0 0 16,13 0-16,-13 1 0,13-14 15,-13 13-15,14-13 16,-1 0-16,0 0 0,0 13 0,1-13 16,12-13-16,-13 13 0,1 0 15,-1-13-15,0 13 0,0-14 16</inkml:trace>
  <inkml:trace contextRef="#ctx0" brushRef="#br1" timeOffset="116410.23">14420 4233 0,'-27'-13'0,"54"26"16,-54-39-16,14 26 0,0 0 0,0-13 0,-1 13 16,1 0-16,0-14 0,-13 14 15,12 0-15,-12 0 0,-1 0 0,1 0 16,-14 14-16,-13-14 0,14 13 0,-1 0 16,0 0-16,1 1 0,12-1 15,-13 13-15,14 1 0,-1-1 0,1 1 16,0-1-16,-1 14 0,14-14 0,0 14 15,-1-14-15,1 14 0,13-13 16,0-1-16,0 0 0,0 1 0,0-1 16,13 1-16,1 12 0,12-12 0,-13 13 15,27-14-15,0 1 0,-1 12 16,14-12-16,-13-14 0,0 13 0,13-12 16,-14-1-16,1 0 0,13 0 15,-13-13-15,13 14 0,-1-14 16,1 0-16,0 0 0,-13-14 0,13 14 15,0-13-15,-14 0 0,14 13 0,-13-13 16,0-1-16,-1-12 0,1 13 0,0-1 16,-14-12-16,14 13 0,-14-14 15,14 1-15,-13-1 0,-1 1 0,-13-1 16,14-12-16,-14 12 0,0 1 0,0-14 16,-13 27-16,0-13 0,0-1 15,0 1-15,-13-14 0,0 13 0,-14-12 16,1 12-16,0 1 0,-14-14 0,0 14 15,0-1-15,1 1 0,-1-1 16,-13 14-16,0-13 0,14 12 16,-14 1-16,13 0 0,-13 0 0,13 0 15,-13 13-15,14 0 0,-1-14 0,14 28 16,-14-14-16,0 0 0,1 13 16,12 0-16,1 0 0,-1 0 0,1 1 15,13-1-15,-14 0 0,14 0 0</inkml:trace>
  <inkml:trace contextRef="#ctx0" brushRef="#br1" timeOffset="121304.17">6297 10954 0,'-13'0'0,"0"0"31,39-27 79,-13 27-95,1 0-15,-1-13 16,0 13 0,0 0-1,0 0 1,1 0 0,-1 0-1,-13 13-15,13-13 31,-13 14-15,0-1 62,-13 0-62,0 0 15,-1 0-15,1 1-1,0-14 1,13 13 0</inkml:trace>
  <inkml:trace contextRef="#ctx0" brushRef="#br1" timeOffset="126347.32">8162 9842 0,'-39'120'16,"78"-240"-16,-105 292 0,40-105 0,-1-1 0,1 0 15,-1 0-15,1-13 0,0 13 16,12-13-16,1 0 0,-13 0 0,26-13 16,-14-1-16,1-12 0</inkml:trace>
  <inkml:trace contextRef="#ctx0" brushRef="#br1" timeOffset="127108.1">7951 9565 0,'53'-14'0,"-106"28"0,132-28 16,-39 1-16,13 0 0,13 0 15,0 13-15,27-13 0,-1-1 16,1 1-16,39 0 0,0 0 0,159-1 16,-132 1-16,0 0 0,13 0 15,-13 13-15,13-14 0,0 14 0,0-13 16,13 13-16,-13-13 0,0 13 0,13 0 16,-26 0-16,13-13 15,0 13-15,-14 0 0,1 0 0,-13-13 16,12 13-16,-25 0 0,12 0 0,-52 0 15,13 0-15,-14 0 0,-12 0 16,-1 0-16,0 13 0,-26-13 0,-13 0 16,0 0-16,-14 0 0,-13 0 0,14 13 15,-14-13-15,0 0 0,1 0 0,-14 13 16,13-13-16,-13 13 0,0 1 16,0-1-16,0 13 15,0 239 1,0-199-1,0 13-15,0-12 0,13-1 0,0 0 16,-13-13-16,13 13 0,1 0 0,-14-13 16,13-13-16,-13-1 0,13 14 15,-13-26-15,0 13 0,0-14 0,0 0 16,0 1-16,0-1 0,-13 1 0,13-1 16,-13-13-16,-1 14 0,1-14 15,-13 14-15,-1-14 0,1 13 0,-14-12 16,-13 12-16,-13-13 0,0 0 0,-13 1 15,-1-1-15,-26 0 0,-13-13 16,-26 13-16,-1 1 0,-12-14 16,-14 13-16,0-13 0,-14 13 0,1-13 15,0 13-15,-13-13 0,12 0 0,-12 14 16,13-14-16,-1 13 0,-12-13 16,0 13-16,12-13 0,1 13 0,0-13 15,0 13-15,13 1 0,0-14 0,0 13 16,13-13-16,0 13 0,27-13 15,26 0-15,14 0 0,-1 13 16,14-13-16,12 0 0,15 0 0,-1 0 0,26 0 16,1 0-16,-1 0 0,14 0 15</inkml:trace>
  <inkml:trace contextRef="#ctx0" brushRef="#br1" timeOffset="128600.1">18441 7302 0,'0'0'0,"-26"-13"16,13 13-16,0 0 15,-1 0-15,1 0 0,-13 0 0,-1-13 16,1 13-16,-1 0 0,-12 0 0,-14 0 16,13 0-16,-13 0 15,0 0-15,13 0 0,-12 0 0,12 0 16,0 0-16,14 0 0,-14 0 0,14 0 16,-14 0-16,13 0 0,14 0 0,-13 0 15,-1 0-15,14 0 0,0 0 16,0 0-16,-1 0 0,1 0 0,0 0 15,0 0-15,-1 0 0,1 0 16</inkml:trace>
  <inkml:trace contextRef="#ctx0" brushRef="#br1" timeOffset="128918.89">17754 6972 0,'-106'26'32,"92"-13"-32,-12 1 0,0-1 15,-14 0-15,13 14 0,14-14 0,-13 0 16,12 0-16,1 1 0,0-1 0,0 0 15,13 0-15,0 0 0,0 1 16,0 12-16,0-13 0,13 1 0,-13 12 16,13-13-16,14 14 0,-1-1 15,1-13-15,12 14 0,-12-14 0,-1 14 16,14-14-16,-14 0 0,14 13 0,-13-12 16,-14-14-16,13 13 0,1 0 15,-14 0-15,0-13 0,14 14 0,-14-14 16,0 13-16</inkml:trace>
  <inkml:trace contextRef="#ctx0" brushRef="#br1" timeOffset="134157.57">6575 13507 0,'-27'0'0,"-12"0"31,78 0-15,1 13-16,0-13 16,13 0-16,26 13 0,-13-13 15,27 0-15,-1 0 0,1 0 0,13 0 16,-14 0-16,28 0 0,12 0 0,0-13 15,0 13-15,-26 0 0,27 0 16,-1-13-16,-26 13 0,0 0 0,-14-13 16,1 13-16,-14 0 0,0 0 0,1 0 15,-27 0-15,0 0 0,-27 0 16,1 0-16,-1 0 0,-13 0 16,-39 13-1,-14-13-15</inkml:trace>
  <inkml:trace contextRef="#ctx0" brushRef="#br1" timeOffset="134410.26">6046 13824 0,'13'0'15,"-26"0"-15,52 14 0,-12-14 0,39 0 0,0 0 16,14-14-16,12 14 0,14 0 15,26 0-15,1 0 0,12-13 16,1 13-16,-1 0 0,1-13 0,-1 13 16,1 0-16,-14 0 0,0 0 15,14 0-15,-14 0 0,-26 0 0,0 0 16,-14 0-16,14 0 0,-13 0 0,-1 0 16,1 0-16,0 0 0,-14-13 15,0 13-15,-12-13 0,-1-1 0</inkml:trace>
  <inkml:trace contextRef="#ctx0" brushRef="#br1" timeOffset="134802.07">9723 12118 0,'0'0'16,"106"0"-16,225 0 15,-238 0-15,12 0 0,1 0 0,-13 0 16,13 0-16,-14 0 0,14 0 0,-13 0 16,-14 0-16,14 0 0,-27 13 15,0-13-15,-13 0 0,0 0 0,0 0 16,-27 0-16,1 0 0,-1 0 0</inkml:trace>
  <inkml:trace contextRef="#ctx0" brushRef="#br1" timeOffset="135066.84">10147 12197 0,'119'-13'0,"-238"26"0,317-26 16,-105 0-16,-1 13 0,14 0 0,-13-13 15,39 13-15,0-14 0,-39 14 16,39-13-16,-26 13 0,-13-13 0,13 13 16,-1 0-16,-12-13 0,0 13 0,-14-14 15,0 14-15,1 0 0,-27-13 16,-14 13-16,1 0 0,-13 0 0,-1 0 15,-13 0-15,0 0 0,1-13 0</inkml:trace>
  <inkml:trace contextRef="#ctx0" brushRef="#br0" timeOffset="-52949.02">12832 4934 0,'14'0'15</inkml:trace>
  <inkml:trace contextRef="#ctx0" brushRef="#br2" timeOffset="-46057.45">18825 4048 0,'13'0'0,"-13"-13"47,14 13-47,-14-27 16,0 14-16,0 0 0,0 0 15,0 0-15,0-1 0,0 1 0,-14-13 16,14-1-16,-13 14 0,0-14 16,-14 1-16,14 0 0,-13-1 0,12 14 15,-12 0-15,0-1 0,-14 1 16,13 13-16,-12 0 0,-1 0 0,0 0 16,-13 0-16,1 13 0,-1 1 15,0 12-15,0 1 0,0-1 0,0 14 16,13-1-16,-13 1 0,14 0 0,12 13 15,-12-14-15,12 14 0,14-13 16,-14 13-16,27-13 0,-13 12 0,26-12 16,-13 0-16,14 13 0,-1 0 0,13-14 15,1 14-15,12-13 0,-12 0 0,26-1 16,-13-12-16,12-1 0,1 1 16,13-1-16,-13 1 0,14-14 0,-1 0 15,-27 0-15,28-13 0,-15 0 16,1 0-16,13 0 0,1 0 0,-1-13 15,0 0-15,0 0 0,0-1 16,-13-12-16,0-1 0,13 1 0,-26 0 16,13-14-16,0 13 0,-14-12 0,14-1 15,-13 0-15,-14 1 0,14-1 16,-13-13-16,-14 27 0,13-67 16,-26 53-16,-13-13 0,0 1 0,0-15 15,-27 14-15,0 1 0,1-1 16,-28-14-16,1 15 0,-13-1 15,0 13-15,12 0 0,1 14 0,0-1 16,-13 1-16,-1-1 0,1 27 0,-14-13 16,14 13-16,-14 0 0,1 13 15,-1 1-15,-13 12 0,-13 1 0,27 12 16,-14-12-16,26 26 0,14-27 0,-13 27 16,26-13-16,0 13 0,13-14 15,1 14-15,-1 0 0,27-13 0,-14 13 16,27-14-16,-13-12 0,26 13 0,-13-14 15,14 14-15</inkml:trace>
</inkml:ink>
</file>

<file path=ppt/ink/ink13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7:45.331"/>
    </inkml:context>
    <inkml:brush xml:id="br0">
      <inkml:brushProperty name="width" value="0.05292" units="cm"/>
      <inkml:brushProperty name="height" value="0.05292" units="cm"/>
      <inkml:brushProperty name="color" value="#0070C0"/>
    </inkml:brush>
  </inkml:definitions>
  <inkml:trace contextRef="#ctx0" brushRef="#br0">14790 3056 0,'-13'13'31,"0"0"-31,13 1 0,-13 12 16,-1-13-16,1 1 0,0 12 0,-14 0 15,14-12-15,0 12 0,0-13 16,-1 14-16,1-14 0,0 14 16,0-14-16,13 0 0,-13 0 0,-1 0 15,1 1-15,13-1 0,-13 0 16,0-13-1</inkml:trace>
  <inkml:trace contextRef="#ctx0" brushRef="#br0" timeOffset="463.22">14539 3281 0,'-13'13'31,"-1"0"-31,14 1 16,-13-1-16,13 0 0,-13 0 16,13 0-16,-13 1 0,13-1 0,-14 0 15,14 0-15,-13-13 16,13 14-16,0-1 0,0 0 16,0 0-1,13-13-15,1 0 16,-1 13-16,0-13 0,0 0 15,1 0-15,-1 0 0,0-13 0,0 13 16,1 0-16,12 0 0,-13 0 16,0 0-16,1 0 0,-1 0 15,0 0-15,0 0 16,1 0-16,-1 0 31,-13 13-31,0 1 16</inkml:trace>
  <inkml:trace contextRef="#ctx0" brushRef="#br0" timeOffset="2429.1">9790 4670 0,'-27'0'32,"27"13"-17,-13-13 1</inkml:trace>
  <inkml:trace contextRef="#ctx0" brushRef="#br0" timeOffset="3843.92">12660 4657 0,'-26'13'15,"13"-13"-15,13 13 0,-14-13 16,14 13-16,-13 1 0</inkml:trace>
  <inkml:trace contextRef="#ctx0" brushRef="#br0" timeOffset="8843.87">14433 1389 0,'0'27'31,"0"-1"-31,13-13 16,-13 14-16,0 12 0,0 1 16,0 0-16,0-1 0,0 14 0,0-13 15,0 0-15,0-14 0,0 14 16,0-14-16,0 1 0,0-1 0,0-13 16,0 14-16,0-14 0,0 0 0,0 1 15,0-1-15,0 0 16,0 0-16</inkml:trace>
  <inkml:trace contextRef="#ctx0" brushRef="#br0" timeOffset="9228.41">14327 1945 0,'-13'-14'16,"26"41"0,-13-14-16,0 0 0,0 1 15,13-1-15,-13 0 0,14 14 0,-14-14 16,0 0-16,13 0 15,-13 0-15,13 1 0,-13-1 0,13 0 16,1 0-16,-1-13 16,0 0-1,0-13-15,0 13 0,1-13 0,-1 13 16,0-13-16,0 13 0,1-14 0,-1 1 16,0 0-16,0 0 0,1 0 15,-1 13-15,0-14 0,0 1 0,-13 0 16,13 13-16,1-13 0,-1 13 15,-13-14-15</inkml:trace>
  <inkml:trace contextRef="#ctx0" brushRef="#br0" timeOffset="10577.28">14142 754 0,'0'27'31,"-13"-14"-15,13 0-16,0 0 0,-13 14 0,13-14 15,0 13-15,-14 1 0,14-14 16,-13 13-16,13-12 0,-13 12 16,13-13-16,0 1 0,-13-14 0,13 13 15,0 0-15</inkml:trace>
  <inkml:trace contextRef="#ctx0" brushRef="#br0" timeOffset="10952.39">14380 847 0,'-13'26'31,"0"-13"-31,-1 14 0,-12-14 0,13 13 16,-14-12-16,1 12 0,13 14 16,-14-14-16,1 1 0,-1-1 15,14 1-15,-13-1 0,12-13 0,1 14 16,0-14-16,0 0 0,13 1 16,-14-1-16,1 0 0,13 0 15,-13-13-15,13 13 0,-13-13 0,13 14 16,13-1 15,0-26-15,0 13-16,1-14 15,-1 14-15,0 0 0,0-13 16,1 13-16,12-13 0,-13 13 16,0-13-16,1 13 0,-1-13 0,13 13 15,-12-14-15,-1 14 0</inkml:trace>
  <inkml:trace contextRef="#ctx0" brushRef="#br0" timeOffset="11572.54">14301 1085 0,'-13'13'15,"-1"0"-15,14 0 16,0 1-16,0-1 16,-13-13-16,13 13 0,0 0 0,0 1 15,-13-1-15,13 0 0,0 0 16,0 1-16,0-1 0,0 0 15,0 0-15,0 0 16,-13-13-16,13 14 0,0-1 16,0 0-1,0 0-15,0 1 16,-14-1 0,14 0 30,0 0 111</inkml:trace>
  <inkml:trace contextRef="#ctx0" brushRef="#br0" timeOffset="12153.46">14248 1111 0,'-13'0'31,"-1"13"-15,1 1-1,0-1-15,0 0 0,13 0 16,-14 1-16,14-1 0,-13 0 0,0 0 16,13 1-16,-13-14 15,13 13-15,-13 0 16,13 0-16,13-13 16,0 0-1,13-13 1,-12 13-16,-1 0 0,-13-13 15,26 13-15,-12-13 0,-1 13 16,0-14-16,0 14 0,1-13 0,-1 13 16,0-13-16,0 13 15,-13-13-15</inkml:trace>
  <inkml:trace contextRef="#ctx0" brushRef="#br0" timeOffset="12366.32">14248 1164 0,'0'0'0,"-13"40"0,13-27 0,0 0 16,0 1-16,0 12 0,-14-13 0,14 0 15,0 14-15,0-14 0,0 14 0,0-14 16,0 13-16,0-12 0,0-1 15,0 0-15,0 0 0,0 0 0,14-13 16</inkml:trace>
  <inkml:trace contextRef="#ctx0" brushRef="#br0" timeOffset="12660.42">14764 833 0,'53'-13'31,"-40"13"-31,0 0 0,0 0 16</inkml:trace>
  <inkml:trace contextRef="#ctx0" brushRef="#br0" timeOffset="12852.39">14751 952 0,'-14'0'15,"28"0"-15,-28 14 16,41-28 15,-14 14-31,0 0 16,0 0-16,1-13 0,12 13 15,-13-13-15,1 0 0</inkml:trace>
  <inkml:trace contextRef="#ctx0" brushRef="#br0" timeOffset="13629.34">15280 728 0,'0'-14'16,"0"1"0,0 0 46,-27 26 32,27 0-79,-13 1-15,13-1 16,-13-13-16,13 13 0,-13 0 0,13 1 16,-14-1-16,14 0 15,0 0-15,-13 0 0,13 1 0,0-1 16,13 0-16,-13 0 16,14 1-16,-1-14 0,-13 13 15,13-13-15,0 0 0,0 13 16,1-13-16,-1-13 0,0 13 15,0 0-15,1-13 0,-1 13 16,0 0-16,0-14 0,1 1 0,-1 0 16,-13 0-16,13-1 0,-13 1 15,0 0-15,0 0 16,-13 0-16,13-1 0,0 1 0,-13 0 16,-1 13-16,14-13 0,-13 13 0,0-14 15,0 14-15,-1-13 16,1 13-16,0 13 15,0-13-15,-1 0 0,14 14 0,-13-14 16,13 13-16</inkml:trace>
  <inkml:trace contextRef="#ctx0" brushRef="#br0" timeOffset="13786.01">15491 767 0,'0'-13'16</inkml:trace>
  <inkml:trace contextRef="#ctx0" brushRef="#br0" timeOffset="14151.33">15743 648 0,'0'0'0,"13"27"15,-13-14 1,0 0-16,-13 0 0,13 1 15,-14 12-15,14-13 0,-13 1 16,13-1-16,-13 0 0,13 0 0,0 0 16,0 1-16,-13-14 0,13 13 0,0 0 15,-13 0 1,26 1 0,0-14-1,0 0-15,0 0 16,1-14-1,-1 14-15,0 0 16,0-13-16,1 13 16,-1-13-16,0 13 15</inkml:trace>
  <inkml:trace contextRef="#ctx0" brushRef="#br0" timeOffset="14528.3">16140 609 0,'-53'26'31,"53"-13"-31,-14-13 0,1 13 0,0 1 16,13-1-16,-13-13 0,13 13 16,-13-13-16,13 13 0,0 1 15,13-1-15,0 0 16,0 0 0,0 1-16,1-1 15,-1 0 1,-26 0 15,13 0-31,-14-13 0,14 14 0,-13-14 16,13 13-16,-13-13 0,0 13 15,0-13-15</inkml:trace>
  <inkml:trace contextRef="#ctx0" brushRef="#br0" timeOffset="15892.57">16457 781 0,'27'-14'46,"-14"1"-46,0 13 0,0 0 16,0 0-16,1 0 0,12-13 16,-13 13-16,14 0 0,-14 0 15,14-13-15,-14 13 0,13 0 0,-13-14 16,14 14-16,-14 0 0,14-13 0,-1 13 16,-13 0-16,14-13 0,-1 13 15,1 0-15,-14-13 0,13 13 0,-12 0 16,12-14-16,-13 14 0,14 0 0,-14 0 15,13-13-15,-12 13 0,-1 0 16,0-13-16,0 13 0,1 0 0,-1 0 16,0 0-16,0-13 15,0 13-15,1 0 16,-1 0 0,-40-13 62</inkml:trace>
  <inkml:trace contextRef="#ctx0" brushRef="#br0" timeOffset="16309.16">17013 503 0,'-14'0'0,"54"0"47,-27 0-31,1 13-16,-1-13 0,0 0 0,0 0 15,14 0-15,-14 13 0,0-13 16,0 0-16,1 0 0,-1 0 0,0 0 16,0 13-16,1-13 0,-1 0 0,0 0 15,0 0-15,-13 14 16,14-14-16,-1 13 0,-13 0 15,13-13-15,-13 13 0,0 1 16,0-1-16,-13 0 16,13 0-16,-13 0 0,13 1 15,-14-1-15,1 13 0,0-12 0,0-1 16,-1 0-16,1 14 0,13-14 16,-13 0-16,0 0 0</inkml:trace>
  <inkml:trace contextRef="#ctx0" brushRef="#br0" timeOffset="16975.73">17939 489 0,'0'-13'0,"-27"26"16,27 1-1,-13-1-15,13 0 0,-13 0 0,13 1 16,-13-1-16,13 0 0,0 0 0,0 14 15,0-14-15,0 0 0,0 0 16,0 1-16,13-1 0,-13 0 0,0 0 16,13 1-16,0-14 0,-13 13 0,14-13 15,-1 0-15,0 0 0,0 0 16,0 0-16,1 0 0,-1-13 16,0 13-16,0 0 0,1-14 0,-1 1 15,0 13-15,-13-13 0,13 0 16,-13-1-16,14 1 15,-14 0-15,-14 0 0,14 0 16,0-1-16,0 1 0,-13 13 0,13-13 16,-13 0-16,13-1 0,-13 14 15,13-13-15,-14 13 0,1-13 0,0 0 16,0 13-16,-1 0 16,1-14-1,0 28-15,0-14 16,13 13-16</inkml:trace>
  <inkml:trace contextRef="#ctx0" brushRef="#br0" timeOffset="17141.3">18269 569 0</inkml:trace>
  <inkml:trace contextRef="#ctx0" brushRef="#br0" timeOffset="17613.4">18547 344 0,'-13'0'0,"53"13"32,-27-13-17,0 0-15,0 0 0,1-13 0,-1 13 16,0 0-16,0 13 16,1-13-16,-1 0 0,0 0 15,0 0-15,0 13 0,1-13 16,-14 14-16,13-1 15,-13 0-15,0 0 0,13 1 16,-13-1-16,0 13 0,0-13 0,0 1 16,0-1-16,0 0 0,0 0 15,0 1-15,0-1 0,0 0 0,0 0 16,0 1-16,0-1 0,0 0 16,-13 0-1,26-13-15,-13 13 16</inkml:trace>
  <inkml:trace contextRef="#ctx0" brushRef="#br0" timeOffset="17810.36">18600 569 0,'53'-13'0,"-40"13"0,1 0 0,-1-14 15,13 14-15,-13 0 0,14 0 0,-1-13 16,14 13-16,53-13 16</inkml:trace>
  <inkml:trace contextRef="#ctx0" brushRef="#br0" timeOffset="45368.79">14526 3307 0,'-27'14'110,"27"-1"-110,0 0 15,-13-13-15,13 13 0,0 0 16,-13 1-16,13-1 16,-14 0-16,14 0 15,0 1-15,0-1 16,-13-13-1,13 13-15,0 0 16,0 0 15,-13 1 94,39-14-93,-12 0-17,-1 0-15,0-14 16,0 14-16,1 0 0,-1 0 0,0 0 15,0 0 1,1 0-16</inkml:trace>
  <inkml:trace contextRef="#ctx0" brushRef="#br0" timeOffset="49304.19">6469 9432 0,'13'27'15,"1"-14"1,-1-13-16,0 0 0,0 0 15,0 13-15,14-13 0,-1 0 0,1 0 16,13 0-16,-14 0 0,14 0 0,-1 0 16,14 0-16,0-13 0,-13 13 15,13-13-15,13 0 0,-26-1 16,26 1-16,-27 0 0,14 0 0,-13-1 16,0 1-16,-1 0 0,1-13 15,0 12-15,-14 1 0,1-13 0,12 12 16,-12-12-16,-14 13 0,14 0 0,-14-14 15,0 14-15,0 0 0,0-14 16,1 14-16,-1 0 0,0-14 0,-13 14 16,13 0-16,-13-14 0,14 14 0,-14 0 15,0-14-15,0 14 0,0 0 16,0 0-16,0-14 0,0 14 16,0 0-16,0-14 0,-14 14 0,14 0 0,-13-14 15,0 14-15,0-13 16,-1 12-16,14 1 0,-26 0 0,13-13 15,-14 12-15,14 1 0,-13-13 0,-14 12 16,13 1-16,1 0 0,-14-14 16,14 14-16,-14 13 0,0-13 0,1 0 15,12 13-15,1-13 0,-14 13 0,1-14 16,12 14-16,-13 0 0,14 0 16,-1 0-16,1 0 0,-40 0 15,39 0-15,1 14 0,-14-14 0,1 13 16,-1 0-16,0 0 0,1 0 15,12 1-15,-13 12 0,1 1 16,-1-14-16,-13 27 0,13-14 0,1 0 16,12 1-16,1 13 0,-1-14 15,-12 27-15,12-13 0,1-1 0,12-12 16,-12 13-16,13-1 0,0 1 0,-1 0 16,-25 39-16,39-53 0,-14 14 15,1 0-15,0-1 0,13-12 16,-13-1-16,13 1 0,0-1 0,0-12 15,0-1-15,0 13 0,0-13 16,0 1-16,0-1 0,0 0 0,13 0 16,-13 1-16,13-14 15,0 13-15,14-13 0,-14 0 16,0 0-16,14 0 0,12 0 16,-12 0-16</inkml:trace>
  <inkml:trace contextRef="#ctx0" brushRef="#br0" timeOffset="50345.71">13004 8559 0,'-13'-13'31,"26"0"-31,1 13 15,12 0 1,-13 0-16,0 0 16,1 13-16,-1-13 0,-13 13 15,13 0-15,-13 1 16,0-1-16,-13 13 0,13-12 0,-13 12 16,-1-13-16,1 14 0,0-1 0,0-13 15,0 14-15,-1-14 16,1 0-16,0 1 0,0-1 0,-1-13 15,14 13-15,-13 0 0,0-13 16,13 14-16,-13-14 0,39 0 47,1 0-47,-14-14 0,0 14 16,0 0-16,1-13 15,-1 13-15,0 0 0,0-13 0,0 13 16,1 0-16,-1-13 0,0 13 0</inkml:trace>
  <inkml:trace contextRef="#ctx0" brushRef="#br0" timeOffset="50507.83">13361 8744 0,'-13'-13'16,"0"13"-16,13-13 15</inkml:trace>
  <inkml:trace contextRef="#ctx0" brushRef="#br0" timeOffset="50820.22">13639 8625 0,'-26'14'32,"26"-1"-32,-13 0 15,-1 0-15,-12 1 0,13-1 0,-14 0 16,1 0-16,13 0 0,-1 1 0,1-1 16,-13 13-16,12-26 15,1 14-15,13-1 0,-13-13 16,13 13-16,13 0 15,0-13 1,1 0-16,-1 0 16,0 0-16,0 0 0,14 0 0,-14 0 15,13 0-15,-12 0 0,-1-13 0,13 13 16,-12 0-16,25-13 16,-26 0-16,1 13 0,-1-14 15,0 14-15</inkml:trace>
  <inkml:trace contextRef="#ctx0" brushRef="#br0" timeOffset="51016.56">13679 8652 0,'-13'13'0,"26"-26"0,-40 39 16,27-12-16,0-1 15,-13 0-15,13 0 0,0 14 0,-13-14 16,13 13-16,0 1 0,0-14 0,-13 14 15,13-1-15,0-13 0,13 14 16,-13-14-16,0 0 0,13 0 0,-13 1 16,13-1-16,14 0 0</inkml:trace>
  <inkml:trace contextRef="#ctx0" brushRef="#br0" timeOffset="51713.18">14102 8784 0,'-13'0'16,"53"0"15,-27-13-15,13 13-16,-12 0 15,-1 0-15,13-13 0,1 13 0,-14 0 16,14-14-16,-14 14 0,13 0 0,-13-13 16,14 13-16,-14-13 0,14 13 15,-1-13-15,-13 13 0,0-13 16</inkml:trace>
  <inkml:trace contextRef="#ctx0" brushRef="#br0" timeOffset="51966.18">14221 8599 0,'40'0'16,"-27"0"-16,1 0 15,12 13-15,0-13 0,1 0 0,13 13 16,-14-13-16,0 14 0,14-1 0,-13-13 16,-14 13-16,13 0 0,1 1 15,-14-1-15,0 0 0,0-13 16,-13 26-16,14-12 0,-14-1 0,0 0 16,0 0-16,0 1 0,0-1 15,-14 0-15,14 0 0,0 1 16,0-1-16,0 0 0,14-13 0</inkml:trace>
  <inkml:trace contextRef="#ctx0" brushRef="#br0" timeOffset="52422.26">15227 8559 0,'13'-13'0,"-26"26"16,39-39-16,1 26 0,-14 0 0,13 0 15,-12 0-15,-1 0 0,0 0 16,27 13-16,-27 0 15,0 0-15,0 1 0,-13-1 16,0 0-16,0 14 0,0-14 0,-13 13 16,13-12-16,-13 12 15,0-13-15,0 0 0,-1 1 0,14-1 16,-13 0-16,0 0 0,0 1 16,13-1-16,-14-13 0,14 13 15,14-13 1,-1 0-1,0 0-15,0 0 0,1 0 16,12-13-16,0 13 0,-12 0 16,12-13-16,-13 13 0,14-14 15,-14 14-15,0-13 0,14 13 0,-14-13 16,0 13-16,0 0 0</inkml:trace>
  <inkml:trace contextRef="#ctx0" brushRef="#br0" timeOffset="52576.62">15782 8639 0,'0'-14'16,"-13"14"-16</inkml:trace>
  <inkml:trace contextRef="#ctx0" brushRef="#br0" timeOffset="53060.87">15994 8453 0,'-26'0'16,"12"14"0,28-1-1,-14 0-15,0 0 0,13-13 0,-13 14 16,13-1-16,0 0 0,-13 0 16,14 14-16,-14-14 0,13 13 15,-13-12-15,0-1 0,-13 27 16,13-27-16,-14 0 0,14 0 15,-13 0-15,13 1 0,-13-14 0,13 13 16,-13-13-16,13 13 16,-14-39-1,28 12 1,-1 1-16,-13 0 0,13 0 0,0 0 16,-13-14-16,14 14 0,-14-14 15,13 14-15,-13-13 0,13 12 16,-13-12-16,0 13 0,0-14 0,-13 14 15,13-13-15,-13 12 0,13 1 0,-14 0 16,1 0-16,13 0 0,-13 13 0,0-14 16,-1 14-16,1 0 15,0 0-15,0 0 0,-1 14 0,-25 12 16,12-13-16,-39 27 0,40-14 16</inkml:trace>
  <inkml:trace contextRef="#ctx0" brushRef="#br0" timeOffset="53584.73">15306 9155 0,'53'0'0,"-106"0"0,133 0 16,-54-14-16,0 14 0,14 0 0,13-13 16,13 0-16,0 0 0,0-1 15,1 1-15,12 0 0,-13 0 0,14 0 16,78-27-16,-78 13 0,-14 14 15,13-13-15,-13-1 0,0 1 0,-13 13 16,0-14-16,0 1 16,-13-1-16,0 1 0,-1-1 0,-12 1 15,26-27-15,-40 13 0,13-26 16,-12 40-16,-14-14 0,0 0 16,0 1-16,-40-41 15,13 27-15,-12 14 0,-1-1 0,0 0 16,-13 14-16,1-14 0,-15 14 0,1 12 15,0-12-15,0 13 0,-13 13 16,12-14-16,-91 14 0,92 14 16,-14-1-16,14 0 0,0 0 0,0 1 15,13 12-15,-79 40 0,79-39 16,-14-1-16,1 14 16,13-1-16,0-12 0,-52 52 15,52-52-15,-40 39 0,67-53 16</inkml:trace>
  <inkml:trace contextRef="#ctx0" brushRef="#br0" timeOffset="54225.73">14063 9221 0,'-27'13'0,"27"0"0,-13 14 15,13-14 1,0 0-16,13 0 0,-13 14 0,13-14 16,1 0-16,25 40 0,-12-26 15,-1-14-15,14 13 0,-14-12 16,14-1-16,53 13 0,-54-26 16,14 0-16,0 0 0,-13 0 15,13 0-15,0-13 0,0 13 16,13-13-16,-13 0 0,66-27 15,-66 27-15,-14-1 0,14-12 0,-13-1 16,0 14-16,-14-13 0,14-1 0,-14 14 16,1-13-16,26-14 15,-40 27-15,0 0 0,0-1 0,1 1 16,-1 0-16,-13 0 16,13 13-16,-13-14 15,0 1 1</inkml:trace>
  <inkml:trace contextRef="#ctx0" brushRef="#br0" timeOffset="54501.46">15187 9115 0,'79'-13'31,"-65"13"-15,-1 0-16,0 0 0,14 13 0,-14-13 15,13 0-15,-12 13 0,12-13 0,-13 13 16,0-13-16,1 14 0,-1-1 16,0-13-16,-13 13 0,13 0 0,-13 1 15,0 12-15,-13-13 0,13 14 0,-13-1 16,-27 40-16,27-39 0,-13-1 15,-1 1-15,1 12 16,-1-25-16,1 12 0,-1 0 0,1 1 0</inkml:trace>
</inkml:ink>
</file>

<file path=ppt/ink/ink13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4:40.94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4379 5556 0,'13'13'0,"0"-13"16,1 0-16,-1 0 15,0 0 1,13 14-16,107-14 172,-120 0-172,0 0 15</inkml:trace>
  <inkml:trace contextRef="#ctx0" brushRef="#br0" timeOffset="438">4591 5437 0,'26'13'47,"-13"-13"-31,0 14-16,1-14 15,-1 0-15,0 13 16,0-13-16,1 0 0,-1 0 0,0 13 16,0-13-16,0 0 15,-13 13-15,14-13 0,-1 14 16,-13-1-1,0 0-15,0 0 16,0 0-16,-13-13 0,13 14 16,-14-1-16,1 0 0,13 0 15,-13 1-15,-13-1 0,12 0 0,1 0 16,0 1-16,0-1 0,-1-13 0,1 13 16,0-13-16,13 13 0,-13-13 15,13 13-15</inkml:trace>
  <inkml:trace contextRef="#ctx0" brushRef="#br0" timeOffset="1380.5">5477 5398 0,'13'0'16,"0"0"-16,1-14 16,-1 14-1,-13-13-15,-27 13 31,1 0-15,13 13-16,-1-13 0,1 0 0,-13 14 16,13-14-16,-1 13 0,1-13 15,0 0-15,0 13 0,-1-13 0,1 13 16,0-13-16,13 13 0,-13-13 16,26 14-1,0-1-15,0-13 16,-13 13-16,14-13 0,-1 0 0,0 0 15,0 13-15,1-13 0,-1 14 16,0-14-16,0 0 16,0 13-16,-13 0 15,0 0 1,-13 0-16,0-13 16,0 14-16,0-14 0,-1 13 0,1-13 15,-13 13-15,12-13 0,-12 13 0,13-13 16,-1 0-16,1 14 0,0-14 15,0 0-15,0 0 0,-1 13 0,1-13 16</inkml:trace>
  <inkml:trace contextRef="#ctx0" brushRef="#br0" timeOffset="1780.77">5609 5450 0,'-26'14'16,"26"-1"-1,-14-13-15,14 13 0,-13 0 16,13 1-16,0-1 0,0 0 15,0 0-15,0 0 0,13-13 16,-13 14-16,14-1 16,-1-13-16,0 0 0,0 0 15,1 0-15,-1 0 0,0 0 16,0 0-16,1-13 0,-1 13 16,0-14-16,0 14 0,-13-13 15,0 0-15,0 0 0,0 0 16,0-1-16,0 1 0,-13 13 15,13-13-15,-13 0 16,13-1-16,-13 14 0,-1 0 16,1 0-16,0 0 15,13 14-15,-13-14 16,13 13-16</inkml:trace>
  <inkml:trace contextRef="#ctx0" brushRef="#br0" timeOffset="1996.65">6112 5398 0,'-13'26'32,"13"-13"-17,-14 0-15,14 1 0,-13-1 0,0 0 16,0 0-16,13 1 0,-14 12 0,1-13 15,0 0-15,0 1 0,0-1 16,13 0-16,-14 0 0,14 1 0,-13-14 16,13 13-16,0 0 0</inkml:trace>
  <inkml:trace contextRef="#ctx0" brushRef="#br0" timeOffset="2153.09">5834 5517 0,'-13'-14'16</inkml:trace>
  <inkml:trace contextRef="#ctx0" brushRef="#br0" timeOffset="2300.88">6165 5596 0,'13'0'31</inkml:trace>
  <inkml:trace contextRef="#ctx0" brushRef="#br0" timeOffset="2904.57">4339 6165 0,'27'13'16,"-14"-13"-16,0 0 15,14 0-15,-14 0 0,0 13 0,0-13 16,14 0-16,-14 0 0,0-13 16,14 13-16,-14 0 0,0 0 0,14 0 15,-14 0-15,0 0 0,0-13 0,0 13 16,1 0-16</inkml:trace>
  <inkml:trace contextRef="#ctx0" brushRef="#br0" timeOffset="3199.79">4604 6006 0,'0'0'16,"26"0"-1,-13 0 1,1 0-16,-1 13 0,0-13 0,0 13 15,1-13-15,12 14 0,-13-1 16,0 0-16,-13 0 0,14 1 0,-1-1 16,-13 0-16,13 0 0,-13 1 15,-13-1-15,13 0 0,0 0 16,-13 0-16,13 1 0,-14-1 0,1 0 16,0 0-16,13 1 0,-13-14 0,13 13 15,-13-13-15</inkml:trace>
  <inkml:trace contextRef="#ctx0" brushRef="#br0" timeOffset="3753.68">5622 6032 0,'14'-13'16,"-41"13"15,14 0-15,0 0-16,-1 13 0,1-13 15,0 0-15,0 14 16,13-1-1,0 0 1,13-13-16,0 13 0,0-13 16,-13 14-16,14-14 15,-1 13-15,0-13 16,-13 13-16,13-13 0,-13 13 16,0 1-16,-13-1 15,0-13-15,13 13 0,-13-13 16,-1 13-16,1-13 0,0 0 0,0 13 15,0-13-15,-1 0 0,1 14 16</inkml:trace>
  <inkml:trace contextRef="#ctx0" brushRef="#br0" timeOffset="4084.44">5808 6006 0,'-27'40'31,"14"-27"-31,13 0 0,0 0 16,-13 1-16,13-1 0,13 0 16,0 0-16,0 1 15,1-14-15,-1 0 16,0 0-16,0 0 0,1 0 15,-1 0-15,-13-14 0,13 14 16,-13-13-16,13 13 16,-13-13-16,-13 0 0,13-1 15,-13 1-15,0 0 0,-1 0 16,1-1 0,0 14-1,0 0-15,-1 0 16,14 14-16</inkml:trace>
  <inkml:trace contextRef="#ctx0" brushRef="#br0" timeOffset="4281.96">6191 5966 0,'13'0'0,"1"14"31,-28-1-31,14 0 16,0 0-16,-13 0 16,13 1-16,-13-1 0,0 0 15,13 0-15,-13 1 0,13-1 0,-14-13 16,14 13-16,-13 0 0</inkml:trace>
  <inkml:trace contextRef="#ctx0" brushRef="#br0" timeOffset="4437.64">6059 6059 0,'-13'0'31</inkml:trace>
  <inkml:trace contextRef="#ctx0" brushRef="#br0" timeOffset="4550">6231 6125 0,'0'0'0</inkml:trace>
  <inkml:trace contextRef="#ctx0" brushRef="#br0" timeOffset="5164.16">4524 6813 0,'27'0'0,"-14"0"15,0 0-15,14 13 0,-14-13 0,0 0 16,0 0-16,14 0 0,79 0 31,-80 0-31,-13 0 0,1 0 16,-1 0-16,0 0 0,-13-13 0,13 13 16</inkml:trace>
  <inkml:trace contextRef="#ctx0" brushRef="#br0" timeOffset="5451.91">4749 6668 0,'13'0'15,"1"0"-15,-1 0 16,0 13-16,0-13 0,14 13 15,-14-13-15,0 13 0,1-13 0,-1 13 16,0 1-16,0-14 0,0 13 0,1 0 16,-1-13-16,0 13 0,-13 1 15,0-1-15,13-13 0,-13 13 0,0 0 16,-13 0-16,13 1 16,-13-1-16,13 0 0,-13-13 0,-1 13 15,14 1-15,-13-1 0,13 0 16</inkml:trace>
  <inkml:trace contextRef="#ctx0" brushRef="#br0" timeOffset="6232.92">5874 6694 0,'0'0'15,"13"-13"16,-39 26-15,12-13-16,1 0 16,0 13-16,0-13 0,-1 13 15,1-13-15,0 14 0,0-14 0,-1 13 16,1 0 0,26 0-1,1-13 1,-14 14-16,13-14 0,0 13 15,0-13-15,1 0 0,-1 13 0,0-13 16,0 0-16,1 13 0,-1-13 16,-13 13-1,13-13-15,-26 27 16,0-27-16,-1 13 16,1-13-16,0 0 0,0 13 15,-1-13-15,1 14 0,0-14 16,0 0-16,-1 0 31</inkml:trace>
  <inkml:trace contextRef="#ctx0" brushRef="#br0" timeOffset="6579.83">6085 6734 0,'-26'13'16,"26"0"0,-13 0-16,13 1 15,0-1-15,0 0 16,0 0-16,0 0 16,13 1-16,0-14 15,-13 13-15,13-13 0,1 0 0,-1 0 16,13 0-1,-12 0-15,-14-13 0,13 13 0,0-14 16,-13 1 0,0 0-16,0 0 15,0 0-15,-13 13 0,13-14 16,-13 14-16,13-13 0,-14 13 16,1-13-16,0 13 15</inkml:trace>
  <inkml:trace contextRef="#ctx0" brushRef="#br0" timeOffset="6791.09">6456 6641 0,'0'0'0,"13"0"16,-13 13-16,0 1 15,0-1 1,0 0-16,0 0 0,0 0 0,-13 1 16,13-1-16,-13 0 0,13 14 15,-14-14-15,1 0 0,13 0 0,-13 0 16,0 1-16,-1-1 0,14 0 16,-13-13-16</inkml:trace>
  <inkml:trace contextRef="#ctx0" brushRef="#br0" timeOffset="6948.89">6284 6760 0,'0'-13'15,"13"13"1,0 0-16</inkml:trace>
  <inkml:trace contextRef="#ctx0" brushRef="#br0" timeOffset="7109.63">6654 6826 0</inkml:trace>
  <inkml:trace contextRef="#ctx0" brushRef="#br0" timeOffset="11294.07">5477 5398 0,'0'0'16,"-27"26"-16,14-13 0,-13 14 0,13 12 16,-14 14-16,1 0 0,12 0 15,1 0-15,0 13 0,13 0 0,-13-13 16,13 13-16,0 0 0,0 1 16,13-14-16,0-14 0,0 14 15,1-13-15,-1 0 0,13-1 0,-12-12 0,-1-1 16,13-13-16,-13 1 0,1-14 15,-1 0-15,0 0 0,0 0 0,1-14 16,-1-12-16,0-1 0,0-12 0,0-14 16,1-13-16,-14 0 0,13-1 15,-13-12-15,0-14 0,-13 14 0,13 0 16,-14-1-16,14 1 0,-13 26 0,13 0 16,-13 13-16,13 1 0,-13 12 15,13 14-15,-13 13 0,13-13 16,-14 39-16,1 14 0,0 13 15,0 13-15,-1 0 0,14 14 0,-13 39 16,13-14-16,0 1 0,13 13 16,-13-13-16,14 0 0,12 0 15,-13-14-15,1-12 0,-1-1 0,13-13 16,-13 0-16,1-13 0,12 0 0,-13 0 16,1-26-16,12 12 0,-26-25 0,13-1 15,1 0-15,-1-13 0,0-26 16,0-1-16,-13-13 15,13 1-15,-13-27 0,0-14 0,0-12 16,0-14-16,-13-13 0,0-14 16,13 14-16,-13 0 0,0 0 15,-1 13-15,1 27 0,13 0 0,-13 13 16,0 13-16,13 13 0,-14 13 0,14 1 16,-13 13-16,0 26 15,13 13-15,0 14 16,0 26-16,0 14 0,0-1 15,13 40-15,-13-13 0,13 0 0,14 0 0,-14-1 16,14 1-16,-1-13 0,0-27 16,1 0-16,-1-13 0,1 0 15,-1-13-15,-12-1 0,12-12 0,-13-14 16,0 0-16,1 1 0,-1-14 16,0-14-16,0-12 15,-13-14-15,14 0 0,-14-26 0,0 0 16,0-13-16,-14-14 0,14-26 15,-13 0-15,0 13 0,13-13 0,-13 13 16,-1 27-16,1 13 0,0 0 0,0 13 16,0 26-16,-1 1 0,14 13 15,-13-1-15,-13 67 16,12-13-16,1 26 0,13 14 0,-13-1 16,13 13-16,0 28 0,0-15 15,13 1-15,-13-13 0,13-14 16,1 1-16,-1-14 0,0 0 0,0 0 15,1-13-15,-1-13 0,13-14 0,-13 1 16,-13-1-16,14-13 0,-1-13 16,0 0-16,0-13 0,1 0 15,-1-27-15,0-13 0,27-79 16,-27 26-16,0-13 0,0 13 16,1-26-16,-1 13 0,0 0 0,0 13 15,-13 27-15,14 12 0,-14 28 16,13 12-16,-13 1 0,0 13 0,0 52 15,-13 1 1,-1 26-16,14 0 0,-13 14 0,0 12 16,0 14-16,13 0 0,-14-27 0,1 1 15,13-1-15,0-13 0,-13 0 16,13-13-16,0-13 0,0 0 0,13-1 16,-13-12-16,0-14 0</inkml:trace>
  <inkml:trace contextRef="#ctx0" brushRef="#br0" timeOffset="13544.7">7488 5424 0,'13'-26'16,"0"26"-16,0 0 15,1 0-15,-1 13 16,0-13-1,-13 13-15,0 0 0,-13-13 16,13 13-16,-13-13 0,13 14 0,-14-1 16,1 0-1,0 0-15,26 1 16,-13-1-16,13 0 16,1 0-1,-14 0-15,13-13 0,-13 14 0,13-14 16,-13 13-16,13-13 0,-13 13 15,-13 0-15,0 1 16,0-14-16,-1 0 16,14 13-16,-13-13 0,0 0 0,0 0 15,-1 0-15,1 0 0,13 13 0,-13-13 16,0-13 0</inkml:trace>
  <inkml:trace contextRef="#ctx0" brushRef="#br0" timeOffset="13871.84">7766 5437 0,'13'0'15,"-13"13"1,0 1-1,0-1 1,0 0 0,13 0-16,-13 1 0,0-1 15,13-13-15,-13 13 0,0 0 16,13-13-16,-13 13 0,0 1 16,-13-1-16,13 0 15,-13 0-15,0 1 0,0-14 16,13 13-16,-14-13 0,1 13 15,0-13-15,13 13 0,-13-13 16</inkml:trace>
  <inkml:trace contextRef="#ctx0" brushRef="#br0" timeOffset="14019.61">7964 5596 0</inkml:trace>
  <inkml:trace contextRef="#ctx0" brushRef="#br0" timeOffset="14493.97">8162 5411 0,'27'0'31,"-27"13"-31,0 0 16,13-13-1,-13 13-15,0 1 16,0-1-16,13 0 16,-13 0-1,0 1-15,0-1 16,0 0-16,0 0 0,-13-13 16,13 13-16,-13 1 0,0-1 15,-1-13-15,14 13 0,-13-13 16,0 13-16,0-13 0,13 14 0,-14-14 15,1 13-15,0-13 16</inkml:trace>
  <inkml:trace contextRef="#ctx0" brushRef="#br0" timeOffset="15069.53">8321 5384 0,'27'0'31,"-27"14"-31,0-1 0,0 0 32,0 0-32,0 0 15,13 1 1,-13-1-16,0 0 15,0 0 1,0 1-16,-13-1 16,13 0-16,-14 0 0,14 0 15,-13-13-15,13 14 0,-13-14 16,13 13-16,-13-13 0,-1 0 16,14 13-1,-13-13-15</inkml:trace>
  <inkml:trace contextRef="#ctx0" brushRef="#br0" timeOffset="15252.62">8797 5411 0,'14'13'16,"-14"0"-16,-14 14 15,1-14-15,13 0 0,-13 14 0,-14-14 16,14 0-16,-13 13 0,13-12 16,-1-1-16,1 0 0,0 0 0,0 1 15</inkml:trace>
  <inkml:trace contextRef="#ctx0" brushRef="#br0" timeOffset="15405.07">8533 5450 0,'0'0'0,"13"0"31,13 14-31,1-14 0</inkml:trace>
  <inkml:trace contextRef="#ctx0" brushRef="#br0" timeOffset="15518.59">8824 5596 0</inkml:trace>
  <inkml:trace contextRef="#ctx0" brushRef="#br0" timeOffset="16333.16">7580 5993 0,'0'-13'0,"14"13"16,-1 0-16,0 0 16,0 0-16,0 13 15,1-13-15,-14 13 16,0 0 0,0 0-16,0 1 15,0-1 1,13 0-1,0 0 1,-13 1-16,13-14 16,-13 13-16,0 0 15,0 0-15,0 1 0,0-1 16,-13-13-16,13 13 0,-13-13 16,13 13-16,-13-13 0,-1 13 15,1-13-15,0 14 16</inkml:trace>
  <inkml:trace contextRef="#ctx0" brushRef="#br0" timeOffset="16641.1">7845 6006 0,'13'0'31,"-13"13"-15,0 0-1,13-13-15,-13 14 0,0-1 16,14 0 0,-14 0-16,0 1 15,13-14-15,-13 13 16,-13 0-16,13 0 0,-14 1 15,1-1 1,0 0-16,0 0 0,-1-13 16,1 13-16</inkml:trace>
  <inkml:trace contextRef="#ctx0" brushRef="#br0" timeOffset="16774.07">7924 6165 0,'0'0'0,"14"0"16,-1-13-1</inkml:trace>
  <inkml:trace contextRef="#ctx0" brushRef="#br0" timeOffset="17200.87">8268 6019 0,'13'-13'0,"14"26"31,-27 0-31,0 1 16,0-1-1,0 0-15,0 0 16,13-13-16,-13 14 15,13-1-15,1 0 16,-14 0-16,13 1 16,-13-1-1,-13 0 1,13 0-16,-14-13 16,1 13-1</inkml:trace>
  <inkml:trace contextRef="#ctx0" brushRef="#br0" timeOffset="17489.82">8480 5993 0,'40'0'15,"-27"0"1,-13 13-16,13 0 15,-13 0 1,13 1-16,-13-1 16,13-13-16,-13 13 15,0 0-15,0 1 16,0-1-16,0 0 16,0 0-16,-13 1 15,0-1-15,0-13 16,13 13-16,-13-13 0,-1 0 0,14 13 15,-13-13-15</inkml:trace>
  <inkml:trace contextRef="#ctx0" brushRef="#br0" timeOffset="17671.96">8877 6059 0,'13'0'16,"-13"13"0,-13 0-16,0 1 15,13-1-15,-14 0 0,1-13 16,0 13-16,-14 1 0,14-1 16,0 0-16,0 0 0,-1-13 0</inkml:trace>
  <inkml:trace contextRef="#ctx0" brushRef="#br0" timeOffset="17807.75">8758 6085 0,'26'-26'16,"-13"26"-16,1 13 16,-1 0-1</inkml:trace>
  <inkml:trace contextRef="#ctx0" brushRef="#br0" timeOffset="17876.03">8916 6178 0,'0'0'0</inkml:trace>
  <inkml:trace contextRef="#ctx0" brushRef="#br0" timeOffset="18518.64">7501 6628 0,'40'-13'31,"-27"13"-31,13 0 16,-26 13-16,14-13 15,-14 13-15,-14 0 16,14 1-16,0-1 16,-13-13-16,13 13 15,0 0-15,13-13 16,-13 13-16,14 1 16,-1-14-16,-13 13 0,13 0 15,-13 0-15,13-13 0,-13 14 16,0-1-16,0 0 15,-13-13-15,13 13 0,-13 0 16,0 1-16,-1-14 0,14 13 0,-13-13 16,0 0-1,0 0-15</inkml:trace>
  <inkml:trace contextRef="#ctx0" brushRef="#br0" timeOffset="18957.6">7766 6601 0,'26'14'31,"-13"-14"-31,-13 13 16,0 0 0,0 0-16,13-13 15,-13 14-15,0-1 0,14-13 16,-14 13-16,0 0 0,13-13 15,-13 13-15,0 1 0,13-1 16,-13 0-16,0 0 16,-13 1-16,13-1 15,-13 0-15,-1 0 16,1 0-16,0-13 16,0 0-16,0 0 31,-1 0-16</inkml:trace>
  <inkml:trace contextRef="#ctx0" brushRef="#br0" timeOffset="19445.03">8109 6694 0,'-13'0'47,"40"-13"-16</inkml:trace>
  <inkml:trace contextRef="#ctx0" brushRef="#br0" timeOffset="19797.84">8374 6509 0,'0'0'15,"13"0"-15,1 13 0,-14 0 16,0 0 0,-14 1-16,14-1 0,-13-13 0,0 13 15,13 0-15,-13 1 0,-1-1 16,14 0-16,0 0 16,0 1-1,14-1 1,-1 0-1,-13 0 1,0 0 0,-13-13-16,13 14 0,-14-14 15,14 13-15,-13 0 16</inkml:trace>
  <inkml:trace contextRef="#ctx0" brushRef="#br0" timeOffset="20244.7">8533 6548 0,'13'-13'15,"27"26"1,-27-13-1,-13 14 1,0-1-16,0 0 16,0 0-1,0 1-15,0-1 16,0 0 0,0 0-16,-13 1 15,13-1-15,-14-13 0,14 13 16,-13-13-16,13 13 0,-13-13 0,0 13 15,0-13-15,13 14 16</inkml:trace>
  <inkml:trace contextRef="#ctx0" brushRef="#br0" timeOffset="20448.18">9062 6535 0,'13'13'16,"-26"14"-1,0-14-15,13 0 16,-13 1-16,-1-1 0,1 0 0,0 14 16,-14-14-16,14 0 0,0 0 0,-14 14 15,14-14-15,0 0 0,0 0 0,0 1 16,-1-14-16</inkml:trace>
  <inkml:trace contextRef="#ctx0" brushRef="#br0" timeOffset="20582.14">8943 6615 0,'13'0'0,"0"0"15</inkml:trace>
  <inkml:trace contextRef="#ctx0" brushRef="#br0" timeOffset="21341">9591 5226 0,'13'0'16,"93"39"15,-93-26-31,1 14 0,12-14 0,-13 14 0,1 12 16,-1-12-16,0 12 0,0 1 16,-13 0-16,13 13 0,-13 0 0,14 13 15,-14-13-15,13 13 0,0 0 0,-13-13 16,13 13-16,1-13 0,-1 13 15,0-13-15,-13 0 0,0 0 16,0-13-16,13 12 0,-13-12 0,-13 0 16,13 0-16,0-1 0,-13 1 15,13 0-15,-13-14 0,-1 1 0,1 12 16,-13-12-16,12-14 0,-38 40 16,38-53-16,-12 13 15,-1 0-15,14-13 0,-13 0 0,13 0 16,-14 0-16,14 0 0,-14 0 0,14-13 15,0 0-15,0 0 0</inkml:trace>
  <inkml:trace contextRef="#ctx0" brushRef="#br0" timeOffset="22622">10332 6072 0,'13'-13'0,"27"-14"16,-27 14-1,0 0-15,-13 0 0,14 0 0,-1-1 16,-13 1-16,13-13 0,-13 12 0,0 1 15,0 0 1,0 0-16,-13 13 16,0 0-16,-1 13 15,14 0-15,-13 0 0,0 14 16,13-14-16,0 0 0,0 1 16,0-1-16,0 0 0,0 13 0,13-12 15,0-1-15,1 0 0,-1 0 16,0-13-16,14 14 0,-14-14 15,0 0-15,13 0 0,-12 0 0,12 0 16,-13 0-16,14-14 0,-1 14 0,-13-13 16,14 13-16,-14-13 15,0 13-15,1-13 0,-1 13 0,0-14 16,0 1-16,1 0 0,-14 0 16,0 0 15,-14 13-31,-12 0 15,26 13-15,-13-13 0,13 13 16,-14-13-16,14 13 0,-13-13 16,13 13-16,-13 1 0,13-1 15,13-13 1,-13 13-16,13-13 16,1 0-16,12 0 15,-13-13-15,1 13 16,-1 0-16,0 0 15,0 0 1,-13 13-16,13 0 16,-13 1-1,0-1-15,0 0 16,14-13-16,-14 13 0,0 1 16,13-14-16,0 13 15,14-13 1,-14 0-1,-13-13-15,13 13 0,-13-14 16,13 14-16,1-13 0,-14 0 16,13 0-16,0-1 0,-13 1 0,13 0 15,0 0-15,1-1 16,-1 14 0,-13 14-1,0-1-15,0 0 16,0 0-16,0 1 0,0-1 15,13-13-15,-13 13 0,0 0 16,13 1-16,-13-1 0,14-13 16,-14 13-16,13-13 15,13 0 1,-13 0-16,-13-13 16,14 13-16,-14-13 0,13 13 0,-13-14 15,13 1-15,0 0 0,-13 0 16,14 13-16,-14-14 0,0 1 0,0 0 15,13 0 1,-13-1-16,0 41 63,13-27-63,-13 13 15,13 0 1,1-13-1,12 14-15,-13-14 16,14 0 0</inkml:trace>
  <inkml:trace contextRef="#ctx0" brushRef="#br0" timeOffset="23194.6">11483 6006 0,'-13'0'31,"-1"0"-15,1 0-16,13 13 0,-13-13 0,0 13 16,0-13-1,13 14-15,-14-14 0,14 13 16,0 0 15,14-13-31,-1 0 16,0 0-16,0 0 15,0 0-15,1 0 0,-1 0 16,-13-13-16,13 13 0,0 0 16,-13-13-16,14 13 0,-1-14 0,0 1 15,0 13-15,1-13 0,-1-13 0,0 12 16,0 1-16,0 0 16,1-14-16,-1 14 0,-13-13 0,13 13 15,0-1-15,-13 1 0,0 0 0,14 13 16,-14-13-16,-14 39 31,14-13-31,-13 1 0,13-1 0,0 13 16,0-13-16,0 1 0,0-1 0,0 0 15,0 14-15,0-14 0,13 0 16,-13 0-16,14 0 0,-1 1 0,0-1 16,0 0-16,1-13 0,12 13 0,-13-13 15,14 0-15,12 0 0,-12 14 16</inkml:trace>
  <inkml:trace contextRef="#ctx0" brushRef="#br0" timeOffset="24013.82">12091 5966 0,'0'-13'0,"-13"40"32,0-14-32,13 0 15,0 0-15,0 0 16,13-13-16,-13 14 0,13-1 16,1-13-16,-14 13 15,13-13-15,0 0 0,0 0 16,1 0-16,-14-13 0,13 13 15,0 0-15,-13-13 0,13 13 16,1 0-16,-1-14 16,0 28-1,-13-1 1,13 0 0,0-13-16,1 13 15,-1-13-15,0 0 16,0 0-16,1-13 15,-1 13-15,0-13 16,-13 0 0,13-1-16,-13 1 0,0 0 15,0 0-15,0 0 0,13 13 16,-13-14-16,0 1 0,0 0 16,0 0-16,0-1 15,0 1 1,14 40 46</inkml:trace>
  <inkml:trace contextRef="#ctx0" brushRef="#br0" timeOffset="24563.83">12475 6019 0,'27'0'31,"-1"0"-15,-13-13-16,0 0 15,1 13-15,-14-13 0,13 13 0,-13-14 16,13 1-16,-13 0 16,-13 13 15,0 13-31,-1 0 15,14 1-15,-13-1 16,13 0-16,0 0 16,13 0-16,1-13 15,-1 14 1,0-14-16,0 0 0,1-14 0,-1 14 16,13 0-16,-12 0 0,-1-13 0,0 13 15,0-13-15,0 13 0,1-13 16,-1 13-16,0-13 0,0 13 15,1 0 1,-14 13 0,0 0-16,0 0 15,13-13-15,-26 13 0,13 1 16,0-1-16,0 0 31</inkml:trace>
  <inkml:trace contextRef="#ctx0" brushRef="#br0" timeOffset="24688.81">12859 5834 0,'0'0'0</inkml:trace>
  <inkml:trace contextRef="#ctx0" brushRef="#br0" timeOffset="25676.87">13084 5913 0,'0'-13'0,"-27"13"16,14 0-1,0 0 1,13 13-16,0 14 16,13-14-1,-13 0 1,0 1-16,0-1 0,0 0 15,-13 0-15,13 0 16,-13 1-16,-1-1 16,1 0-16,13 0 15,-13-13-15,13 14 16,-13-14-16,39 0 47,-13-14-47,1 14 0,-1-13 15,0 0-15,0 13 16,0-13-16,1-1 0,-1 1 16,0 0-16,0 0 0,1 0 0,-14-1 15,13-12-15,-13 13 0,13-1 16,0 1-16,-13-13 0,13 13 0,-13-1 16,14-12-16,-14 13 0,0-1 0,13 1 15,-13 0-15,0 0 16,13 13-16,-13-14 0,-13 41 47,13-14-47,0 0 0,-13-13 15,13 14-15,0-1 0,-14 0 0,14 0 16,0 1-16,0-1 0,0 0 16,0 0-16,0 0 15,14-13-15,-14 14 16,53-14-1,-40 0-15,0-14 16,0 14-16,1 0 0,-1-13 16,0 0-16,0 0 0,0 0 0,1-1 15,-1 1-15,0 0 0,-13-14 0,13 14 16,1-13-16,-1 12 0,-13 1 16,13 0-16,0 0 0,-13 0 15,-13 39 16,13-13-31,0 0 16,-13 1-16,13-1 0,0 0 16,0 0-16,-13 1 15,13 12 1,0-13-16,13-13 16,-13 14-16,0-1 15,13-13-15,0 13 16,1-13-16,-1 0 0,0 0 15,0 0-15,0 0 16,1-13 0,-1 13-16,0-13 15,-13-1 17,-13 1-17</inkml:trace>
  <inkml:trace contextRef="#ctx0" brushRef="#br0" timeOffset="25837.03">13348 5781 0,'-13'0'0,"39"-13"32,-12 13-32,-1 0 15,13 0-15,-12-13 0,-1 13 16,0 0-16,0 0 0,1-14 0,-1 14 15,0 0-15,0 0 0</inkml:trace>
  <inkml:trace contextRef="#ctx0" brushRef="#br0" timeOffset="26065.6">13652 5741 0,'0'27'0,"0"-54"0,14 67 16,-14-27-16,0 1 15,0-1-15,0 0 0,0 0 16,0 1-16,0 12 16,0-13-16,-14-13 15,14 13-15,-13-13 0,0 14 16,-13-1-16,12-13 0,-12 13 16,-1-13-16,1 0 0,-27 13 0,0-13 15,-26 14-15,-1-14 0,-12 0 16</inkml:trace>
  <inkml:trace contextRef="#ctx0" brushRef="#br0" timeOffset="30497.84">5808 5940 0,'13'-27'0,"27"-92"16,-40 80-1,13-1-15,-13 0 0,0 14 0,0-1 16,-13-12-16,-1 12 16,14 14-16,-13-13 0,0 12 0,0 14 15,-14 0-15,14 0 0,-27 14 0,1 12 16,-14 14-16,13-1 0,0 1 0,14 0 16,-1 13-16,1 0 0,-14 52 15,40-65-15,0 0 0,0-1 16,13 1-16,-13 0 0,27-14 0,-14 1 15,14-14-15,-14 0 0,0 0 16,13-13-16,1 0 0,-1 0 0,14-13 16,0 0-16,13-13 0,-14-1 0,1 1 15,0-14-15,-1 0 0,-12 1 16,-1-14-16,-12 0 0,-1 13 0,-13 0 16,0 1-16,0-1 0,-13 14 0,-1-1 15,1 14-15,0 0 0,-14 13 16,1 0-16,-14 13 0,-13 13 15,0 14-15,1 0 0,-1 26 0,-14 0 16,15 0-16,25 0 0,-13 0 16,14 1-16,0-1 0,12 0 0,1-13 15,13 0-15,0-14 0,0 1 0,13 0 16,14-14-16,-14 1 0,13-1 0,-12-26 16,12 13-16,-13-13 15,14-13-15,12 0 0,14-14 0,-13 1 16,13-14-16,-13 1 0,-1-14 0,1 0 0,0 0 15,-1-13-15,-12 0 0,-1-14 16,-12 14-16,12 13 0,-13-13 16,-13 26-16,13 14 0,-26-1 0,0 14 15,0 26-15,-14 1 0,-12 25 16,-1 1-16,-13 26 0,13 13 16,-13 1-16,14 12 0,-1-12 0,0 12 15,1 1-15,25-14 0,1-12 0,0-1 16,13-13-16,-13 0 0,26-14 15,-13-12-15,13-1 0,0-13 0,1 1 16,-1-14-16,0 0 0,0 0 16,14-14-16,-1-12 0,14-1 0,0-25 15,-1 12-15,-12-13 0,13 0 16,-14 0-16,0 0 0,-12 27 0,12-1 16,-26 1-16,13 13 0,-39 52 15,-1 14 1,1 0-16,-14 0 0,14 13 0,-14 14 15,14-14-15,-14-13 0,14 13 0,-1 0 16,14-13-16,0 0 0,-1-14 16,1 1-16,13 0 0</inkml:trace>
  <inkml:trace contextRef="#ctx0" brushRef="#br0" timeOffset="32052.03">7990 4617 0,'0'0'0,"0"26"31,0-12-31,0 12 0,0-13 16,0 14-16,0-1 0,0 1 0,0-1 15,0 14-15,0-14 0,0 1 0,0-1 16,0 1-16,0-1 0,0 1 16,0-1-16,0 1 0,0-14 0,0 0 15,0 0-15,0 0 0,0 1 0,0-1 16,0 0-16,-13 0 16</inkml:trace>
  <inkml:trace contextRef="#ctx0" brushRef="#br0" timeOffset="32653.86">7779 4921 0,'0'-13'16,"0"39"-1,0-12 1,0-1-16,0 0 0,0 14 0,0-14 16,13 13-16,-13 1 0,0-14 15,13 13-15,0 1 0,1-14 0,-14 14 16,13-14-16,0 0 0,0 0 0,1 1 16,-1-1-16,0 0 0,14 0 15,-14-13-15,0 0 0,0 0 0,0 0 16,1 0-16,-1 0 0,0 0 0,0-13 15,1 0-15,-1 13 16,0-13-16,0-1 0,0 1 0,1 13 16,-1-13-16,0 0 0,0-1 15,-13 1-15,14 0 0,-1 13 0,-13-13 16,13 13-16,-13-14 0,13 1 16,1 0-1,-1 13 1,-13-13-1,13 0 17</inkml:trace>
  <inkml:trace contextRef="#ctx0" brushRef="#br0" timeOffset="39953.47">3003 6720 0,'13'186'15,"0"-160"-15,-13 1 16,0-1-16,0 0 0,0-12 0</inkml:trace>
  <inkml:trace contextRef="#ctx0" brushRef="#br0" timeOffset="41264.64">2990 6681 0,'0'-53'31,"0"40"-31,0-1 0,0 1 0,0 0 16,0 0-16,0-1 0,0 1 0,0 0 15,0 0 1,0 0-16,0-1 0,0 1 15,13 0-15,-13 0 0,13-1 16,0 1 0,1 13-16,-14-13 0,13 13 15,0 0-15,0 0 0,14-13 0,-14 13 16,14 0-16,-14 0 0,26-14 16,-12 14-16,-1 0 0,1 0 0,13 0 15,-14-13-15,14 13 0,-14 0 0,1 0 16,-1 0-16,0 0 0,1 0 15,-1 0-15,1 13 0,-1-13 16,1 0-16,-1 0 0,-13 0 0,14 0 16,-14 0-16,14 0 0,-14 0 15,0 0-15,14 0 0,-14 0 0,0 0 16,0 0-16,0 0 0,1 0 0,-1 0 16,0 0-16,0 0 15,1 0-15,-1 0 0,0 0 16,0-13-16,1 13 15,-1 0-15,0 0 16,0 0-16,0 0 16,1 0 15,-1-13-31,0 13 16,-13 13-1,0 0 1,0 1-16,13-14 0,-13 13 15,0 13-15,0-12 0,0 12 0,0 1 16,0-14-16,0 13 0,14 1 16,-14-14-16,0 13 0,0 1 15,0-14-15,0 14 0,0-14 0,0 13 0,0-13 16,0 1-16,13-1 0,-13 0 16,0 0-16,0 1 0,0-1 15,0 0-15,0 0 0,0 0 16,0 1-16,13-1 15,-13 0 1,0 0-16,0 1 31,0-1-15,-13-13-16,13 13 0,-13-13 16,-1 0-16,1 0 0,0 13 15,-14-13-15,1 0 0,0 14 16,-1-14-16,-13 13 0,1 0 0,-14-13 0,13 13 15,-13-13-15,0 13 0,0-13 16,14 14-16,-14-1 0,0-13 16,0 13-16,13-13 0,1 0 0,12 13 15,1-13-15,-1 0 0,1 0 0</inkml:trace>
  <inkml:trace contextRef="#ctx0" brushRef="#br0" timeOffset="42289.74">3082 5226 0,'27'79'31,"-14"-53"-31,-13 1 0,0 13 0,13-1 16,-13 1-16,0-14 0,0 14 0,14-14 16,-14 1-16,0-1 15,0-12-15,0 12 0,0 1 0,13-14 16,-13 0-16,0 0 0,0 0 0,0 1 16</inkml:trace>
  <inkml:trace contextRef="#ctx0" brushRef="#br0" timeOffset="43468.75">3016 5186 0,'13'-13'0,"1"13"0,-1-14 15,0 14-15,14 0 16,-14-13-16,13 13 0,14 0 0,-14-13 16,27 13-16,-13-13 0,0 13 0,13 0 15,-14-14-15,14 14 0,0-13 16,-13 0-16,13 13 0,0 0 0,0-13 15,0 13-15,-14-13 0,14 13 0,-13-14 16,0 14-16,-1 0 0,-12 0 16,12-13-16,-12 13 0,-1 0 0,-12 0 15,12-13-15,0 13 0,-12 0 0,-1 0 16,0 0-16,0 0 0,1 0 16,-1 0-16,0 0 0,0-13 15,0 13-15,1 0 16,-1 0-1,0 13 1,-13 0 0,13 0-16,-13 14 15,0-14-15,14 0 0,-14 14 0,0-14 16,0 13-16,0-12 0,0 12 0,0 1 16,0-14-16,0 40 15,13-40-15,-13 13 0,0-12 0,0 12 16,0-13-16,0 1 0,0 12 0,-13-13 15,13 0-15,0 1 16,0-1-16,0 0 0,0 14 16,0-14-1,0 0 1,-14 0-16,14 0 16,-13 1-1,13-1 1,-13-13-1,13 13-15,-13-13 0,-1 13 16,1-13-16,0 14 16,0-14-16,0 0 15,-1 13-15,1-13 0,0 0 0,-14 13 16,1-13-16,0 13 0,-1-13 0,1 0 16,-1 14-16,-13-14 0,1 0 15,-1 13-15,14-13 0,-1 0 0,-13 0 16,14 0-16,0 13 0,-14-13 0,13 0 15,1 0-15,-1 0 0,-12 0 16,12 13-16,1-13 0,-1 0 0,1 0 16,-1 0-16,1 0 0,13 0 0,-14 0 15,1 13-15,-1-13 0,14 0 16,-13 0-16,13 0 0,-14 0 0,14 0 16,0 0-16,-1 0 0,1 0 0,0 0 15,0 0-15,-1 0 16,1 0-16,0 0 0,0 0 0,0 0 15,-1 0 1,1 0-16,0 0 16,0 0-1,-1 0 17,1 0-17,0 0 63,26-13 0</inkml:trace>
  <inkml:trace contextRef="#ctx0" brushRef="#br0" timeOffset="44471.63">3029 6072 0,'0'66'16,"0"-39"-16,-13 158 31,13-159-31,0 1 0,0-1 0,0-12 16,0 12-16,0 1 0,0-14 15,0 0-15,0 0 0,0 0 0,13-13 16</inkml:trace>
  <inkml:trace contextRef="#ctx0" brushRef="#br0" timeOffset="45684.92">2990 6112 0,'13'-80'31,"-13"67"-31,0 0 0,0 0 16,0 0-16,0-1 16,0 1-16,0 0 15,0 0-15,0-1 0,13 14 16,-13-13 0,0 0-16,0 0 15,13 13 1,1 0-16,-14-13 15,13 13-15,0 0 0,0 0 0,1-14 16,12 14-16,1-13 0,-1 13 0,14-13 16,-1 13-16,1-13 0,13 13 15,-13-14-15,13 14 0,-14-13 0,1 13 16,0-13-16,13 13 0,-27 0 16,14-13-16,-14 13 0,1 0 0,-1 0 15,1-14-15,-1 14 0,0 0 0,-12 0 16,12 0-16,-13 0 0,1 0 15,-1 0-15,0 0 0,0-13 16,1 13-16,-1 0 16,0 0-16,0 0 15,0 0-15,1 0 16,-1 0 0,0 0 30,0 0-30,-13 13-16,14-13 16,-14 14-16,13-1 15,-13 0-15,13 0 0,-13 1 0,13-1 16,1 13-16,-14-12 0,13 12 16,-13 0-16,13-12 0,0 12 0,-13 1 15,13-1-15,-13-13 0,0 14 16,14-14-16,-14 13 0,0-12 0,13-1 15,-13 0-15,0 0 0,0 1 0,0-1 16,0 0-16,0 0 0,13 0 16,-13 1-16,0-1 15,-13 0 1,0 0 15,-1-13-15,1 0-1,0 0 1,0 0-16,0 0 0,-1 0 0,1 0 16,-13 0-16,-1 0 0,1 0 15,-1 14-15,-12-14 0,-14 0 0,13 13 16,-13-13-16,0 13 0,-13-13 0,13 13 16,0-13-16,0 14 0,0-1 15,0-13-15,14 13 0</inkml:trace>
  <inkml:trace contextRef="#ctx0" brushRef="#br0" timeOffset="54341.59">1111 8215 0,'0'27'16,"-13"-14"0,13 0-16,0 0 0,0 1 15,-13-1-15,13 13 0,-13 1 0,13-14 16,0 14-16,-14-14 0,14 13 0,-13-13 16,13 1-16,0 12 0,-13-13 15,13 1-15,0-1 0,-13-13 0,13 13 16,0 0-16,-14-13 0</inkml:trace>
  <inkml:trace contextRef="#ctx0" brushRef="#br0" timeOffset="54702.58">1085 8255 0,'0'0'0,"0"-13"0,0 39 32,13-13-17,-13 1-15,0 12 0,13-13 0,-13 1 16,13-1-16,-13 0 0,14 0 16,-14 1-16,13-1 0,0 0 15,-13 0-15,13-13 0,-13 13 0,14-13 16,-1 0-1,0-13-15,0 13 0,-13-13 16,14 0-16,-14 0 0,0-1 0,0-12 16,13 13-16,-13-14 0,0 14 15,0 0-15,0-14 0,0 14 0,0 0 16,0 0-16,13 13 0,-13-14 0,0 1 16,0 40 15</inkml:trace>
  <inkml:trace contextRef="#ctx0" brushRef="#br0" timeOffset="54877.55">1561 8321 0,'-13'13'0,"13"1"0,-13-1 16,13 0-16,0 0 15,-14 1-15,14-1 0,-13 0 0,13 0 16,-13 14-16,0-14 0,13 0 0,0 0 16,-14 1-16</inkml:trace>
  <inkml:trace contextRef="#ctx0" brushRef="#br0" timeOffset="55022.49">1468 8229 0,'0'0'0,"-13"-14"0</inkml:trace>
  <inkml:trace contextRef="#ctx0" brushRef="#br0" timeOffset="55218.66">1720 8202 0,'-13'27'0,"26"-54"0,-26 67 0,13-27 16,-14 0-16,14 14 0,-13-14 0,13 13 15,-13 1-15,13-14 0,-13 14 0,-1-1 16,14-13-16,-13 0 0,13 14 15,0-14-15,0 0 0</inkml:trace>
  <inkml:trace contextRef="#ctx0" brushRef="#br0" timeOffset="55501.91">1865 8334 0,'-13'-13'0,"-53"40"31,53-14-31,-1-13 16,1 13-16,0 0 0,0 1 15,0-14-15,13 13 0,-14-13 0,14 13 16,-13 0-16,13 0 0,0 1 16,13-1-1,-13 0-15,14-13 0,-1 13 16,0-13-16,0 0 15,0 0-15,1 0 16,-1 0-16,0 0 0,0 0 16,1-13-16,-1 13 0,0 0 0</inkml:trace>
  <inkml:trace contextRef="#ctx0" brushRef="#br0" timeOffset="55784.84">1984 8414 0,'-39'39'31,"39"-25"-31,13-1 16,-13 0-1,13-13-15,0 0 16,1 13-16,12-26 16,-13 13-1,-13-13-15,14 13 0,-14-13 16,0-1-16,0 1 15,0 0-15,0 0 0,0 0 16,-14-1-16,14 1 16,-13 13-16,0 0 0,0 0 15,-1 0-15,1 13 16,0-13-16</inkml:trace>
  <inkml:trace contextRef="#ctx0" brushRef="#br0" timeOffset="56205.64">2289 8387 0,'-14'27'16,"1"-14"0,13 0-16,-13-13 15,13 13-15,0 1 0,-13-14 16,13 13-16,13-13 62,0 0-46,0 0 0,1 0-16,-1 0 15,0 0 1,0-13-16,1 13 31,-14-14-31</inkml:trace>
  <inkml:trace contextRef="#ctx0" brushRef="#br0" timeOffset="57267.63">979 10967 0,'-13'0'0,"-1"0"0,1 13 16,0-13-16,0 13 0,-14 1 16,14 12-16,0-13 0,0 1 15,-1 12-15,1-13 0,0 0 0,0 14 16,13-14-16,-13 0 0,13 1 16,0-1-16,0 0 0,0 0 0,0 1 15,0-1-15,13-13 0,-13 13 0,13 0 16,0-13-16,0 0 15,1 0-15,12 13 0,-13-26 0,14 13 16,-14 0-16,13-13 0,1 13 0,13-13 0,-14 0 16,14-1-16,-14-12 15,1 13-15,-14-1 0,0 1 0,14 13 16,-27-13-16,13 0 0,0 13 0,-13-14 16,13 1-16,-13 0 15,-13 13 1,-13 0-16,26 13 15,-14-13-15,1 0 0,0 13 16,0 1-16,-1-14 0,1 13 16,13 0-1,13-13 17,1 0-32,12 0 15,-13 0-15,1 0 16,-1 0-1,0 0-15,0 0 16,1 0 0,-1 13-16,0-13 15</inkml:trace>
  <inkml:trace contextRef="#ctx0" brushRef="#br0" timeOffset="58326.02">1521 11020 0,'0'26'15,"0"-12"1,-13-14-16,13 13 16,0 0-16,0 0 0,0 0 15,0 1 1,-13-1-16,26-13 31,0 0-15,1 0-1,-1 0-15,0 0 16,0 0 0,-13 13-16,14-13 0,-1 13 15,0 1-15,0-14 16,0 13-16,14-13 16,-14-13-1,0 13-15,1 0 0,-1-14 0,0 14 16,0-13-16,0 13 15,-13-13-15,14 13 0,-1-13 16,-13-1 0,13 41 15,-13-14-15,13 0-1,1-13-15,-14 14 16,13-14-16,0 0 15,0 0-15,1 0 16,-1 0-16,-13-14 16,0 1-16,0 0 15,-13 0-15,13-1 16,-14 14-16,14-13 16,-13 13-16,0-13 0,0 13 15</inkml:trace>
  <inkml:trace contextRef="#ctx0" brushRef="#br0" timeOffset="58620.2">2011 11046 0,'13'14'0,"-13"12"16,0-13-16,0 0 15,0 1 1,0-1-16,13 0 16,1-13-1,-1-13 1,0 13-16,0 0 0,0 0 16,1 0-16,-1 0 15,0 0-15,0 0 16,14 0-16,-27 13 15,13-13-15,0 0 16,-13 13 0,13-13-16</inkml:trace>
  <inkml:trace contextRef="#ctx0" brushRef="#br0" timeOffset="62924.77">3201 8321 0,'-13'0'0,"26"0"15,1 13 1,-1-13-16,0 0 0,0 0 16,1 0-16,-1 0 15,0 14-15,0-14 0,14 0 0,-14 0 16,0 0-16,0 0 16,1 0-16</inkml:trace>
  <inkml:trace contextRef="#ctx0" brushRef="#br0" timeOffset="63104.94">3175 8480 0,'13'13'32,"0"-13"-17,1 0-15,12 0 16,-13-13-16,1 13 0,-1 0 15,0 0-15,0 0 0,14 0 16,-14 0-16,0 0 0</inkml:trace>
  <inkml:trace contextRef="#ctx0" brushRef="#br0" timeOffset="65434.62">4564 8176 0,'13'0'32,"1"0"-17,-1-14 16,-26 1 16,-1 13-31,1 0-16,0 0 16,0 0-1,-1 0-15,1 0 16,0 0-1,13 13-15,0 1 16,0-1 0,13 0-16,-13 0 0,13-13 15,-13 14-15,14-1 0,-14 0 0,13 0 16,-13 0-16,13 1 16,-13-1-16,0 0 0,0 0 15,-13 1-15,13-1 0,-13-13 0,13 13 16,-14-13-16,14 13 15,-13-13-15,0 14 0,0-14 16,-1 0-16,1 0 31,13-14-31,13 1 16,-13 0-16,14 0 0,-14-1 16,13 1-16,0 13 0,-13-13 15,13 0-15,1-1 0,-14 1 0,13 0 16,-13 0-16,0 0 0,0-1 15,13 14-15,-13-13 0,-13 0 16,13 0-16,0-1 0,-13 1 16,-1 13-16,1 0 15,0 0 1,13 13 0,0 1-1,13-1-15</inkml:trace>
  <inkml:trace contextRef="#ctx0" brushRef="#br0" timeOffset="65797.67">4868 8096 0,'-13'27'31,"0"-27"-31,13 13 0,-13 13 16,-1-12-16,1 25 0,0-12 0,-14-1 15,14 14-15,-13-14 0,13 1 16,-14-1-16,14 1 0,0-1 16,-14-13-16,14 14 0,0-14 0,0 14 15,-14-14 1,27 0-16,0 0 16</inkml:trace>
  <inkml:trace contextRef="#ctx0" brushRef="#br0" timeOffset="66028.48">4974 8281 0,'0'27'31,"-13"-14"-31,13 0 16,0 1-16,-13-1 0,13 0 0,-14 0 16,14 1-16,-13-1 0,13 0 15,-13 0-15,13 0 0,0 1 16</inkml:trace>
  <inkml:trace contextRef="#ctx0" brushRef="#br0" timeOffset="66337.17">5080 8374 0,'-13'27'32,"13"-14"-32,0 0 15,13 0-15,0-13 16,-13 13-16,13-13 15,1 0-15,-1 0 0,0 0 0,0-13 16,14 13-16,-27-13 0,13 13 16,0-13-16,1 13 0,-14-13 15,13-1-15,-13 1 0,0 0 0,0 0 16,0-1-16,0 1 0,0 0 16,-13 13-16,13-13 15,-14 13-15,1 0 0,0 0 16,0-14-16,-14 28 0,14-14 0,-27 13 15,14-13-15</inkml:trace>
  <inkml:trace contextRef="#ctx0" brushRef="#br0" timeOffset="67072.75">5821 8189 0,'26'0'16,"-12"0"-1,-1 0-15,0 0 0,0 0 16,0 0-16,1 0 0,-1 0 0,13 0 16,-12 0-16,-1 0 0,13 0 15,-13-13-15,1 13 0,-1 0 0,0 0 16</inkml:trace>
  <inkml:trace contextRef="#ctx0" brushRef="#br0" timeOffset="67412.67">6112 8149 0,'-27'0'15,"54"13"-15,-27-26 0,-40 13 0,27 13 16,0-13-16,13 14 0,-14-14 16,14 13-16,-13 0 0,13 0 15,0 1-15,-13-1 0,0 0 16,13 0-16,-13 0 0,13 14 0,-14-14 15,1 0-15,13 1 0,-13-1 0,0 0 16,-1 0-16,1-13 0,13 14 16,-13-14-16,0 13 0,0-13 0,13 13 15,-14-13-15,1 0 16,0 0-16,13 13 16,26-26 30,-12 13-46,-1 0 0,0 0 0,0 0 16,0 0-16,1 0 16,-1 0-16,0 0 0,0-13 0,1 13 15,12 0-15,-13 0 0,0 0 0,1-13 16,-1 13-16,0 0 0,14-14 16,-14 14-16</inkml:trace>
  <inkml:trace contextRef="#ctx0" brushRef="#br0" timeOffset="67869.78">6337 8255 0,'0'0'0,"0"-13"16,-27 26 15,14 0-31,0 0 16,0 1-16,13-1 0,-14-13 15,14 13-15,-13 14 16,13-14-16,0 0 0,0 0 15,0 1-15,13-14 0,-13 13 0,14-13 16,-14 13-16,13-13 0,0 0 16,0 0-16,1 0 15,-1 0-15,13-13 0,-13 0 0,1 13 16,-1-14-16,-13 1 0,13-13 16,0 12-16,-13-12 0,0 13 0,14-14 15,-14 14-15,0 0 0,0-14 16,0 14-16,0 0 0,0 0 15,-14-1 1,-12 28 0,26-1-16,-13-13 15,13 13-15,0 0 0,0 1 16,0-1-16,0 0 0,0 13 0,13-12 0,-13-1 16,13 0-16,0 14 0,-13-14 0,14 0 15,-14 0-15,13 1 16,0-1-16,0 0 0,1 0 15,-14 0-15,13 1 0,0-1 0,0-13 16,0 13-16,1-13 16,-1 13-16,0-13 0</inkml:trace>
  <inkml:trace contextRef="#ctx0" brushRef="#br0" timeOffset="68446.17">7117 8427 0,'14'13'0,"-28"-26"16,41 26-16,-27 0 0,0 1 0,13-1 0,-13 0 15,0 0-15,0 1 16,0-1-16,0 0 0,-13 0 0,0 14 16,-1-14-16,1 0 0,0 0 15,13 1-15,-13-14 0,13 13 16,-14-13-16</inkml:trace>
  <inkml:trace contextRef="#ctx0" brushRef="#br0" timeOffset="69657.77">8096 8268 0,'0'-13'0,"-26"39"31,13-12-31,-1-1 15,1-13-15,0 13 0,0 0 0,-1 1 16,-12-1-16,13-13 0,0 13 0,-1 0 16,1 1-16,0-14 0,13 13 15,-13-13-15,13 13 0,-14-13 0,14 13 16,-13 0-16,26 1 16,1-14-1,-1 0-15,0 0 0,0 13 16,14-13-16,-14 0 0,13 0 0,-12 0 15,12 0-15,-13 0 0,14 0 16,-14 0-16,13-13 0,-12 13 0,-1 0 16,0 0-16,0 0 0,1 0 0,-1-14 15,0 14 1,-13-13-16</inkml:trace>
  <inkml:trace contextRef="#ctx0" brushRef="#br0" timeOffset="69907.89">8070 8255 0,'0'26'16,"-13"-12"-1,13-1-15,0 0 0,0 0 16,0 1-16,-14 12 0,14-13 0,0 1 15,-13 12-15,13-13 0,0 0 16,0 1-16,0-1 0,0 0 16,0 0-16,0 1 0,0-1 0,0 0 15,13-13-15,-13 13 16,14-13-16,-1 0 16</inkml:trace>
  <inkml:trace contextRef="#ctx0" brushRef="#br0" timeOffset="70596.98">8744 8176 0,'0'0'0,"-13"26"31,13-13-15,-13 1-16,13-1 0,0 13 0,0-13 15,-13 1-15,13-1 0,0 13 16,0-12-16,-13-1 0,13 0 16,0 0-16,0 1 0,0-1 0,0 0 15,0 0-15,-14 0 16,14 1-16</inkml:trace>
  <inkml:trace contextRef="#ctx0" brushRef="#br0" timeOffset="71145.72">8718 8215 0,'13'-13'0,"0"0"15,1 13-15,-1 0 0,0 0 16,0 0-16,-13 13 15,14-13-15,-1 13 0,-13 1 16,0-1 0,-13 0-16,13 0 15,13-13-15,-13 13 0,0 1 16,0-1 0,13 0-16,-13 0 15,0 1-15,0-1 0,0 13 16,-13-12-1,13-1-15,-13-13 0,13 13 16,-14-13-16,14 13 0,-13-13 0,0 0 16,0 0-16</inkml:trace>
  <inkml:trace contextRef="#ctx0" brushRef="#br0" timeOffset="71419.88">9049 8189 0,'0'0'0,"0"13"15,-13 14 1,13-14-16,-14 0 0,14 0 0,-13 0 16,13 1-16,-13-1 0,13 0 0,-13 0 15,13 1-15,0-1 0,0 0 16,0 0-16,0 1 0,0-1 15,0 0-15,13-13 0,0 13 16,0-13-16,1 0 16,-1 0-16,0 0 15,0 0-15,0 0 0,1 0 0,12 0 16,1 0-16,-14-13 0,13 13 0,-12 0 16,12 0-16</inkml:trace>
  <inkml:trace contextRef="#ctx0" brushRef="#br0" timeOffset="71781.86">9988 8401 0,'13'13'0,"-13"40"31,0-40-31,-13 0 0,13 0 16,0 1-16,0-1 0,-13 0 16,0 0-16,13 0 0,-14 1 15,1-1-15,0-13 0,13 13 0,-13-13 16,13 13-16,-14-13 0</inkml:trace>
  <inkml:trace contextRef="#ctx0" brushRef="#br0" timeOffset="74810.08">10927 8215 0,'14'-13'16,"-1"13"-16,0 0 16,0 0-16,0 0 15,1 0-15,-1 0 0,0 0 16,0 0-16,1 0 0,-1 13 16,0-13-16,-13 14 15,0-1-15,0 0 16,0 0-16,0 0 0,0 14 0,0-14 15,0 0-15,-13 14 0,13-14 16,0 0-16,0 14 0,-13-14 16,13 0-16,0 0 0,0 1 0,0-1 15,0 0-15,0 0 0,0 1 0,0-1 16,13-13-16,-13 13 16,13-13-1</inkml:trace>
  <inkml:trace contextRef="#ctx0" brushRef="#br0" timeOffset="74988.95">10927 8440 0,'0'0'0,"-13"0"0,40 0 31,-14 0-31,13 0 16,-13 0-16,1 0 0,12 0 0,1 0 15,-14-13-15,13 13 0,1 0 16,12 0-16,-12 0 0,-1-13 0,14 13 16</inkml:trace>
  <inkml:trace contextRef="#ctx0" brushRef="#br0" timeOffset="75552.66">11787 8189 0,'13'0'31,"1"13"-15,-1-13-16,-13 13 15,-13 14 1,-1-14-16,14 0 16,-26 0-16,13 1 0,0-1 0,-1 0 15,-12 0-15,13 1 0,-1-1 16,1 0-16,0-13 0,0 13 0,-1-13 16,14 14-16,-13-14 0,13 13 0,-13 0 15,26 0 1,0-13-16,1 13 15,-1-13-15,0 0 0,0 0 0,1 0 16,12 0-16,1 0 0,-14 0 16,13 0-16,1 0 0,-14 0 0,13 0 15,1 0-15,-14 0 0,0 0 0,14-13 16,-14 13-16,0 0 0,0 0 16,-13-13-16,14 0 15</inkml:trace>
  <inkml:trace contextRef="#ctx0" brushRef="#br0" timeOffset="75734.58">11628 8321 0,'0'0'16,"40"0"15,-13 0-31,-14 0 0,13 0 16,1 0-16,-1 0 0,1 0 0,-1 0 15,14 0-15,-14 0 0,14 0 16,-14-13-16,1 13 0,-1 0 0</inkml:trace>
  <inkml:trace contextRef="#ctx0" brushRef="#br0" timeOffset="76251.64">12303 8189 0,'0'26'47,"0"-12"-47,0-1 16,-13 0-16,13 0 0,0 0 15,0 1-15,0-1 0,-13 13 0,13-12 16,0-1-16,0 0 0,0 0 16,-14 1-16,14-1 15,0 0-15,-13-26 31,13 0-15,0-1-16,0 1 0,0 0 0,0-14 16,13 14-16,-13-13 0,14-1 0,-1 14 15,-13-13-15,13 12 0,0 1 16,1 0-16,-1 0 0,0 13 0,-13-14 16,13 14-16,0-13 0,1 13 15,-1 0 1,-26 27-1,-1-27-15,1 13 0,0-13 16,0 13-16,0 0 0,-1-13 0,1 14 16,0-1-16,0-13 0,13 13 15,-14 0-15,1-13 0,13 13 0,-13 1 16,13-1-16,0 0 16,13-13-16,-13 13 0,13-13 15,1 14-15,12-1 16,-13-13-16,1 0 0,-1 0 0,13 13 15,1-13-15,-14 0 0,13 0 16,1 0-16,-14 0 0,14 0 0,-1 0 16,0 0-16,-12-13 0,12 13 0</inkml:trace>
  <inkml:trace contextRef="#ctx0" brushRef="#br0" timeOffset="76405.62">12965 8414 0,'13'0'16</inkml:trace>
  <inkml:trace contextRef="#ctx0" brushRef="#br0" timeOffset="77239.85">2897 11060 0,'27'0'15,"-14"0"1,0-14-16,0 14 15,1 0-15,-1 0 0,0 0 0,13 0 16,-12 0-16,-1 14 0</inkml:trace>
  <inkml:trace contextRef="#ctx0" brushRef="#br0" timeOffset="77416.81">2858 11232 0,'39'13'16,"-26"-13"-1,14 0-15,-14-13 0,0 13 0,1 0 16,12 0-16,-13 0 0,14 0 16,-14 0-16</inkml:trace>
  <inkml:trace contextRef="#ctx0" brushRef="#br0" timeOffset="79549.89">4511 11007 0,'13'-27'15,"-26"1"1,13 13-16,-13 13 0,0-14 16,-14 14-1,14 0-15,0 14 0,0-14 16,-1 13-16,-12 0 0,13-13 0,-1 13 15,-12 0-15,13 14 0,-1-27 16,1 13-16,13 0 0,-13 1 0,13-1 16,13 0-1,14-13 1,-14-13-16,13 13 0,-12-13 16,12 13-16,-13-14 0,1 14 0,12-13 15,-13 13-15,-13-13 0,13 13 16,1 0-16,-1 0 0,-13 13 15,13 0-15,-26 1 16,13-1-16,0 0 0,0 13 0,-13-12 16,-1 25-16,1 14 15,13-39-15,-13 12 16,13-13-16,0 0 16,13-13-16</inkml:trace>
  <inkml:trace contextRef="#ctx0" brushRef="#br0" timeOffset="79772.34">4829 10901 0,'-14'13'32,"14"0"-32,-13 14 15,0-14-15,0 13 0,-1 14 0,-12-13 16,13-1-16,-14 14 0,14-14 15,-13 14-15,12-14 0,-12 14 16,13-14-16,-14 1 0,14-1 0,0 1 16,0-14-16,13 0 0,-14 1 0,14-1 15,-13 0-15,13 0 0</inkml:trace>
  <inkml:trace contextRef="#ctx0" brushRef="#br0" timeOffset="79981.78">4882 11179 0,'-14'26'31,"14"-13"-31,-13 1 0,13-1 16,0 0-16,-13 0 0,13 0 15,-13 1-15,13-1 0,-14 0 16,14 0-16</inkml:trace>
  <inkml:trace contextRef="#ctx0" brushRef="#br0" timeOffset="80257.89">4948 11284 0,'13'14'31,"-13"-1"-31,0 0 16,0 0-16,13-13 16,-13 14-16,13-14 15,1 0-15,-1-14 0,0 14 16,0-13-16,1 13 0,-14-13 16,13 13-16,-13-13 0,0-1 15,0 1-15,13 13 0,-13-13 0,0 0 16,-13 0-16,13-1 0,0 1 15,-13 0-15,13 0 32</inkml:trace>
  <inkml:trace contextRef="#ctx0" brushRef="#br0" timeOffset="81324.14">5966 11007 0,'27'0'15,"-14"0"-15,80-14 31,-67 1-31,-13 13 0,14 0 0,-14 0 16,0-13-16,14 13 0,-14 0 0,0-13 16,0 13-16,1-13 15,-1 13-15,-13-14 16,-13 14 15,-1 14-15,1-14-16,13 13 0,-13 0 0,13 0 15,-13 0-15,13 1 0,-14-1 16,14 0-16,0 0 0,-13 14 0,13-14 16,0 0-16,0 0 0,0 1 0,0-1 15,-13 0-15,13 0 0,0 1 16,-13-1-16,13 0 0,-13-13 16,-1 13-16,-12-13 15,13 0 1,-1 0-1,1 0-15,53-13 63,-27 13-63,0 0 0,14-13 0,-14 13 16,13-13-16,1 13 0,13-14 0,-14 1 15,14 0-15,-14 0 0,1-1 16,-14 1-16,13 13 0,-12-13 0,12-13 15,-13 12-15,1 14 0,-1-13 0,0 0 16,0 0-16,0-1 16,-13 1-16,-26 40 47,13-27-47,13 13 0,-13 0 0,13 0 15,-14 1-15,14-1 16,14 0-16,-14 0 15,13 0-15,0-13 16,0 0-16,0 0 16,1 0-16,-1-13 15,0 13-15,-13-13 0,13 0 16,-13 0-16,14-1 0,-14 1 0,0 0 16,0-14-16,0 14 0,0 0 0,0 0 15,0 0-15,0-1 0,-14 1 16,14 0-16,-13 39 31,0-26-31,13 14 16,0-1-16,0 0 0,0 13 0,0-12 15,0-1-15,0 13 0,13-12 0,-13 12 16,13-13-16,1 14 0,-1-14 0,0 0 16,0 14-16,1-14 0,12 0 15,-13 0-15,0 1 0,1-14 0,-1 13 16,0-13-16,0 0 0</inkml:trace>
  <inkml:trace contextRef="#ctx0" brushRef="#br0" timeOffset="81541.53">7183 11073 0,'14'39'15,"-14"-25"1,-14-1-16,14 13 0,-13-12 16,0 12-16,0 1 0,-14-1 15,14 0-15,-13 1 0,-1-1 0,14-12 0,-14 12 16,14 1-16,-13-14 0,13 0 16,-1 0-16</inkml:trace>
  <inkml:trace contextRef="#ctx0" brushRef="#br0" timeOffset="83078.97">8255 11086 0,'0'0'0,"13"0"0,-39 13 47,13 0-47,-1-13 15,14 14-15,-13-14 0,13 13 0,-13-13 16,0 13-16,13 0 0,-14-13 0,14 14 15,0-1-15,-13 0 16,26 0-16,-13 1 16,14-14-16,-1 13 0,0-13 15,0 13-15,1-13 0,-1 0 16,0 13-16,13-13 0,-12 0 0,12 0 16,-13 0-16,1 0 0,12 0 0,-13 0 15,1 0-15,-1 0 0,0-13 16,0 13-16,0 0 0,1 0 0</inkml:trace>
  <inkml:trace contextRef="#ctx0" brushRef="#br0" timeOffset="83280.7">8334 11060 0,'-13'26'16,"0"27"-1,13-27-15,-13-12 0,13 12 16,0-13-16,0 14 0,-14-1 16,14 1-16,0-1 0,0-13 0,0 14 15,0-1-15,0-12 0,14-1 16,-14 0-16,13 0 0,0 0 0</inkml:trace>
  <inkml:trace contextRef="#ctx0" brushRef="#br0" timeOffset="83617.87">9009 10993 0,'0'27'0,"0"13"31,-13-27-31,13 13 0,0-13 0,-13 1 16,13 12-16,0-13 0,0 1 0,-14 12 15,14-13-15,0 1 0,-13-1 16,13 0-16,0 0 0,0 0 0,0 1 15,0-1-15</inkml:trace>
  <inkml:trace contextRef="#ctx0" brushRef="#br0" timeOffset="84594.64">8890 11126 0,'13'-27'79,"0"27"-79,1-13 0,-1 13 15,0 0-15,0-13 0,1 13 16,12 0-16,-13-13 0,1 13 0,-1 0 15,0 0-15,0 13 0,0-13 0,1 0 16,-14 13-16,0 0 16,-14 0-1,14 1-15,-13-14 16,13 13-16,-13-13 0,13 13 16,-13-13-16,13 13 31,13 1-31,0-14 15,-13 13-15,13-13 0,1 13 16,-14 0-16,0 14 16,0-14-1,-14 0-15,1 0 0,-13 1 16,13-1-16,-1 0 16,-12-13-16,13 13 0,-1-13 15,-12 14-15,13-14 0,-1 0 0,14 13 16,-13-26-16,0 13 0,0 0 15</inkml:trace>
  <inkml:trace contextRef="#ctx0" brushRef="#br0" timeOffset="84896.97">9340 11073 0,'-27'13'16,"27"0"-16,-13 0 0,0 1 16,0 12-16,-1-13 0,14 1 0,-13-1 15,13 13-15,-13-12 0,13-1 0,0 0 16,0 0-16,13 0 0,0-13 15,1 14-15,-1-1 0,0-13 0,14 0 16,-14 0-16,13 0 0,1 0 0,-1 0 16,1-13-16,-1 13 0,-13-14 15,27 1-15,-27 0 0,14 0 16,-14-14-16</inkml:trace>
  <inkml:trace contextRef="#ctx0" brushRef="#br0" timeOffset="86632.84">8189 7924 0,'-13'-13'31,"-1"13"-15,1 13-16,0-13 0,0 14 0,-1-1 15,1 0-15,0 0 16,0 0-16,0 1 0,-1-1 0,1 13 16,-13-12-16,12 12 0,1 0 0,0 1 15,0-1-15,0 1 0,-1-1 16,1 1-16,13-1 0,-13 1 0,13-14 16,-13 13-16,13 1 0,0-1 0,0-12 15,0 12-15,0-13 0,0 0 16,0 14-16,0-14 0,0 0 0,13 1 15,-13-1-15,0 0 0,13 0 0,0-13 16,-13 13-16,14 1 0,-1-14 16,0 13-16,0-13 0,0 13 15,1-13-15,-1 0 0,0 0 0,0 13 16,1-26-16,-1 13 16,0 0-16,0 0 0,0 0 0,1-13 15,-1 13-15,0-13 0,0 13 16,1-14-16,-1 1 0,0 0 15,0 0 1,-13 0-16,14-1 0,-14 1 16,0 0-16,13 0 0,-13-1 15,0 1-15,0 0 0,0 0 16,0 0-16,-13-1 0,13 1 16,0 0-16,-14 13 15,14-13-15,-13 13 0,13-14 16,-13 14-16,0 0 0,-1 0 0,14-13 15,-13 13-15,0 0 0,0 0 0,-1 0 16,1 0-16,0 0 0,0 0 16,0 0-16,-1 13 0,1-13 15,0 0-15,-14 0 16,14 0 0,0 14-16,39-28 46,-12 14-30,-1 0-16,0 0 0,0 0 16,1 0-16,-1 0 0,0 0 15,0 0-15,0 0 0,1 14 16,-1-14-16,0 0 0,14 13 16,-14 0-16,0-13 0,0 13 15,1 1 1,-14-1-16,13-13 0,-13 13 15,0 0-15,0 0 0,0 1 16,-13-1 0,13 0-16,-14 0 0,14 1 15,-13-14-15,13 13 0,-13-13 0,0 13 16,-1-13-16,1 13 16,0-13-16,0 0 0,-1 0 15,1 13-15,0-13 0,0 0 0,0 0 16,-14 0-16,14-13 0,0 13 15,-1 0-15,-12-13 0,13 13 0,0-13 16,-1 13-16,1-13 0,0-1 0,0-12 16,-1 13-16,1-1 0,13-12 15,-13 13-15,0-40 0,13 26 16,0 14-16,13-13 0,-13-1 16,13 1-16,-13-1 0,27 1 15,-14-1-15,0 1 0,27-14 16,-27 27-16,0-13 0,27-1 15,-27 14-15,0 0 0,1 13 16,-1-14-16,0 1 0,0 13 0,-13-13 16,13 13-16,1-13 0,-1 0 15</inkml:trace>
  <inkml:trace contextRef="#ctx0" brushRef="#br0" timeOffset="89043.67">10570 11417 0,'27'26'0,"-27"-13"16,0 1-16,0-1 0,-14 0 0,14 0 16,-13 14-16,0-1 0,0 1 0,-1-1 15,-12-13-15,13 14 0,0-14 16,-1 0-16,1 1 0,0-1 0,0 0 16,-1-13-16,14 13 0</inkml:trace>
  <inkml:trace contextRef="#ctx0" brushRef="#br0" timeOffset="89973.85">11509 10993 0,'-13'-13'32,"0"26"-32,0 1 0,-1-1 0,1 0 15,0 14-15,0-1 0,0 0 16,-1 14-16,1-13 0,0-1 0,0 14 16,13-27-16,0 13 0,-14-12 0,28 12 15,-14-13-15,0 1 0,0-1 16,13 0-16,0 0 0,0 1 15,-13-1-15,14-13 0,-1 0 0,-13 13 16,13-13-16,0 0 0,0-13 16,1 0-1,-14-1-15,-14 1 16,14 0-16,-13 0 0,0 13 16,13-14-16,-13 14 0,0-13 15,-1 13-15,1 0 0,0-13 0,-14 13 16,27 13-1</inkml:trace>
  <inkml:trace contextRef="#ctx0" brushRef="#br0" timeOffset="90505.73">12052 11086 0,'39'26'15,"-25"-26"-15,-1 0 16,0 0-16,0 14 0,1-14 0,-1 0 16,0 0-16,0 13 15,1-13-15,-14 13 16,0 0-16,-14 1 15,1-1-15,0 0 16,-14 0-16,14 1 0,0-1 16,0 0-16,-1 0 0,1 0 0,0-13 15,13 14-15,-13-1 0,0 0 16,13 0-16,0 1 0,0-1 16,13-13-16,-13 13 0,13-13 15,0 13-15,0-13 0,1 0 16,-1 14-16,0-14 0,14 0 0,-14 0 15,0 0-15,14 0 0,-14 0 0,0 0 16,0 0-16,0 0 0,1 0 16,-1-14-16,0 14 0,0-13 15</inkml:trace>
  <inkml:trace contextRef="#ctx0" brushRef="#br0" timeOffset="90707.06">11959 11258 0,'-13'0'0,"39"13"31,-12-13-31,-1 0 0,13 0 0,1 0 16,-14 13-16,27-13 0,-14 0 16,1 0-16,-1 0 0,1 0 0,-1 0 15,0-13-15,1 13 0,-1 0 16,1 0-16,-1-13 0,1 13 0</inkml:trace>
  <inkml:trace contextRef="#ctx0" brushRef="#br0" timeOffset="90927.88">12647 11139 0,'-26'26'31,"12"-12"-15,14-1-16,-13 0 0,13 0 15,0 1-15,-13-1 16,13 0-16,0 0 0,0 0 0,-13 1 16,13-1-16,0 0 0,0 0 0,0 1 15,0-1-15,0 0 16,0 0 0</inkml:trace>
  <inkml:trace contextRef="#ctx0" brushRef="#br0" timeOffset="91273.81">12634 11126 0,'40'-27'0,"-80"54"0,93-54 0,-40 27 15,0 0-15,0 0 0,-13 13 0,14-13 16,-14 14 0,0-1-16,-14 0 0,1 0 0,0 1 15,0-1-15,0 0 0,-14 0 0,14 1 16,0-1-16,-1 0 0,1-13 16,0 13-16,0 0 0,26 1 15,-13-1-15,13-13 16,0 13-16,1-13 15,-1 0-15,13 0 0,-12 13 16,12-13-16,-13 0 0,14 0 0,-14 14 16,13-14-16,-12 0 0,-1 0 15,0 13-15,0-13 0,1 0 0,-14 13 16,13-13-16</inkml:trace>
  <inkml:trace contextRef="#ctx0" brushRef="#br0" timeOffset="96888.97">3664 9763 0,'14'13'31,"-1"1"-31,0-14 16,0 0-16,1 0 0,-1 0 15,-13 13-15,13-13 16,0 0-16,1 0 0,-1 0 0,0 0 0,0 0 16,-13 13-1</inkml:trace>
  <inkml:trace contextRef="#ctx0" brushRef="#br0" timeOffset="97027.74">3532 9975 0,'27'0'32,"-14"0"-32,0 0 0,14 0 15,-14 0-15,0 0 0,13-13 16,1 13-16,-14 0 0</inkml:trace>
  <inkml:trace contextRef="#ctx0" brushRef="#br0" timeOffset="98377.73">4934 9472 0,'-26'13'16,"13"1"-1,13-1-15,-27 79 32,14-78-32,13-1 0,0 0 15,0 14-15,13-14 0,-13 0 0,0 0 16,14-13-16,-14 13 0,13 1 0,0-1 15,0-13-15,0 0 16,1 0-16,-1 0 0,0 0 16,0-13-16,1 13 0,-14-14 0,13 14 15,-13-13-15,13 0 0,-13 0 16,0 0-16,0-1 0,0-12 0,0 13 16,0-1-16,0 1 0,0 0 0,0 0 15,-13-1-15,13 1 16,-13 0-16,-1 13 0,1 0 15,0 0-15,0 13 16,-1 0-16,14 1 16,-13-14-16</inkml:trace>
  <inkml:trace contextRef="#ctx0" brushRef="#br0" timeOffset="98525.43">5159 9604 0</inkml:trace>
  <inkml:trace contextRef="#ctx0" brushRef="#br0" timeOffset="98985.73">5450 9525 0,'-13'0'0,"0"0"16,-13 0-16,12 0 0,1 13 16,0-13-16,0 0 0,-1 0 15,1 0-15,0 13 16,26 1-1,0-14-15,-13 13 16,14 0-16,-1-13 0,-13 13 0,13-13 16,0 14-16,1-1 15,-1 0-15,-13 0 16,0 1-16,-13-1 16,13 0-16,-14-13 0,-12 13 15,13 0-15,-1 1 0,-12-14 16,13 13-16,-14 0 0,14-13 15,0 0-15,0 13 0,-1-13 0,1 0 16</inkml:trace>
  <inkml:trace contextRef="#ctx0" brushRef="#br0" timeOffset="99225.24">5861 9565 0,'-14'13'31,"14"0"-31,-13 0 0,13 1 16,-13-1-16,0 0 0,13 0 15,-14 14-15,14-14 0,-13 0 0,0 14 16,13-14-16,-13 0 0,13 0 0,-14 14 15,14-14-15,-13 0 16</inkml:trace>
  <inkml:trace contextRef="#ctx0" brushRef="#br0" timeOffset="99424.9">5649 9671 0,'26'0'16,"-12"13"0,-1-13-16,-13 13 0,13-13 0,0 13 15,0-13-15,1 0 0,-1 13 16,0-13-16,-13 14 0,13-14 0,1 0 16,-1 13-16,0-13 0,14 0 15</inkml:trace>
  <inkml:trace contextRef="#ctx0" brushRef="#br0" timeOffset="100138.77">6297 9591 0,'-13'-13'0,"26"26"0,-39-26 15,12 13-15,1 0 0,0-13 16,0 13-16,-1 0 16,1 0-16,0 0 15,0 0-15,0 0 16,-1 0-16,1 13 15,13 0 1,13 0 0,-13 1-16,14-14 0,-14 13 15,0 0-15,0 0 16,13 1-16,-26-14 16,13 13-16,-14 0 0,1 0 15,0-13-15,0 13 0,-1-13 16,1 0-16,0 14 15,0-14-15,13-14 16,13 1 0,13 0-1,-12 0-15,-1 13 0,13-13 0,-12-1 16,-1 1-16,0 0 0,13 0 0,-26-1 16,14 1-16,-1 0 15,-13 0-15,13-1 0,-13 1 0,0 0 16,-13 0-16,13 0 0,-13-1 15,-1 14-15,1-13 16,0 13-16,0 0 0,0 0 0,-1 0 16,-39 0-16,40 0 0,-13 0 15,-1 0-15</inkml:trace>
  <inkml:trace contextRef="#ctx0" brushRef="#br0" timeOffset="100614.49">4670 9499 0,'-27'26'0,"-25"80"31,52-80-31,-14 1 0,14-1 0,14 14 16,-14 0-16,13-14 0,13 14 15,1-1-15,-1-12 0,14-1 16,13 1-16,0-1 0,0-13 0,-1 1 15,28-1-15,-1-13 0,-13 0 0,14 0 16,-1-13-16</inkml:trace>
  <inkml:trace contextRef="#ctx0" brushRef="#br0" timeOffset="100953.82">6469 9247 0,'27'40'0,"-54"-80"0,67 106 0,-40-52 16,13 25-16,0-12 15,0 12-15,1 1 0,-14-13 0,0 12 16,13-12-16,-26 39 0,-14 0 16,14-26-16,0-14 15,-14 14-15,1-14 0,-1 1 0,1-1 16,-14 1-16,14-14 0,-14 13 0</inkml:trace>
  <inkml:trace contextRef="#ctx0" brushRef="#br0" timeOffset="125776.73">7422 9512 0,'-14'39'0,"14"54"32,0-80-32,0 1 0,0 12 0,0-13 15,0 0-15,0 14 0,0-14 16,14 0-16</inkml:trace>
  <inkml:trace contextRef="#ctx0" brushRef="#br0" timeOffset="126003.81">7276 9671 0,'13'-14'0,"80"14"31,-80 0-31,14 0 0,-1 0 15,-13 0-15,14-13 0,-1 13 0,-13 0 16,14 0-16,-14 0 0,14 0 0,-14 0 16,0 0-16,0 0 0,14-13 15</inkml:trace>
  <inkml:trace contextRef="#ctx0" brushRef="#br0" timeOffset="126933.85">8242 9446 0,'-27'53'31,"14"-40"-31,13 0 15,0 0-15,-13 14 0,13-14 0,0 0 0,0 0 16,0 1-16,13-1 16,-13 13-16,0-12 0,13-1 0,-13 0 15,14-13-15,-1 13 0,0-13 0,-13 13 16,13-13-16,0 0 0,1 0 16,-1 0-16,0 0 0,-13-13 15,13 13-15,-13-13 0,0 0 0,14 0 16,-14-1-16,0 1 0,0 0 15,-14 0-15,14-1 0,0 1 0,-13 0 16,13 0-16,0-1 0,-13 1 0,13 0 16,-13 0-16,-1 0 0,1-1 15,0 1-15,0 13 16,0 13 15</inkml:trace>
  <inkml:trace contextRef="#ctx0" brushRef="#br0" timeOffset="127108.73">8572 9512 0</inkml:trace>
  <inkml:trace contextRef="#ctx0" brushRef="#br0" timeOffset="127553.69">8744 9446 0,'0'0'0,"14"-14"0,-1 28 16,0-14 0,-13 13-16,-13 0 15,13 0-15,-13 1 0,13-1 16,0 0-16,-14-13 16,14 13-16,0 0 0,0 1 15,0-1-15,14-13 0,-14 13 16,0 0-16,0 1 0,0-1 15,13-13-15,-13 13 0,-13 0 16,13 1-16,-14-1 0,1-13 16,13 13-16,-13 0 0,-13 0 0,12-13 15,1 14-15,0-14 0,0 13 16,-1-13-16,14 13 0,-13-13 0</inkml:trace>
  <inkml:trace contextRef="#ctx0" brushRef="#br0" timeOffset="127745.52">9049 9472 0,'13'13'16,"-13"1"-16,-13-1 15,13 0-15,0 0 0,0 0 16,-13 14-16,13-14 0,-14 0 15,14 14-15,-13-14 0,0 14 0,0-14 16,13 13-16,-14-13 0,1 1 16,0-1-16</inkml:trace>
  <inkml:trace contextRef="#ctx0" brushRef="#br0" timeOffset="127961.13">8877 9604 0,'0'-13'16,"26"26"15,-13-13-31,1 14 0,-1-1 16,0-13-16,-13 13 16,13-13-16,1 13 0,-1-13 0,-13 14 15,13-14-15,0 13 0,1 0 16,-1-13-16,0 13 15</inkml:trace>
  <inkml:trace contextRef="#ctx0" brushRef="#br0" timeOffset="128332.82">9525 9419 0,'0'0'0,"-13"0"16,0-13-16,13 26 15,-14 0-15,1 1 0,0-1 16,0 0-16,13 0 0,-27 27 16,14-14-16,0 1 0,-1-1 0,14-12 15,0 12-15,-13-13 0,13 14 0,13-14 16,-13 0-16,0 0 0,14 1 15,-14-1-15,13-13 0,0 13 16,0-13-16,1 0 0,-1 0 16,0 0-16,0-13 15,-13 0-15,0-1 16,0 1-16,-13 0 16,0 13-16,0-13 0,-1 13 15,1 0-15,0 0 0,-14 0 16,1 0-16,0 0 0,-14 0 15,0 13-15</inkml:trace>
  <inkml:trace contextRef="#ctx0" brushRef="#br0" timeOffset="128876.93">8083 9300 0,'-40'27'0,"80"-54"0,-93 67 0,27-14 16,12 1-16,-12-1 0,13 14 16,-14-14-16,14 14 0,0 0 0,0-1 15,-1 1-15,14 13 0,-13-13 0,13-1 16,13 1-16,-13 0 0,14-14 15,12 14-15,1-14 0,-1 1 16,0-14-16,1 0 0,13 0 0,-1 1 16,1-14-16,13 0 0,0 0 0</inkml:trace>
  <inkml:trace contextRef="#ctx0" brushRef="#br0" timeOffset="129244.58">9710 9036 0,'0'0'0,"40"13"0,-27 0 0,0 0 16,1 0-16,12 14 0,-13-1 0,14 1 15,-14 13-15,-13-14 0,13 14 0,0-14 16,-13 14-16,0-14 0,-13 14 16,13 0-16,-13-1 0,0-12 0,-1 12 15,1 1-15,0-13 0,-13-1 16,-1 1-16,14-1 0,-14 0 0,1 1 15,0-1-15,-14 1 0,0 12 16,0-25-16,1 12 0,-1 1 0,-13-14 16,13 0-16,-12 0 0</inkml:trace>
  <inkml:trace contextRef="#ctx0" brushRef="#br0" timeOffset="131852.87">10385 9327 0,'0'0'0,"-13"13"15,13 0-15,0 0 16,-14 14-16,14-14 0,0 13 16,0 1-16,0-14 0,-13 14 0,13-1 15,0 0-15,0-12 0,0 12 0,0-13 16,0 14-16,0-14 0,0 0 0,0 1 15,0-1-15,0 0 0,0 0 16</inkml:trace>
  <inkml:trace contextRef="#ctx0" brushRef="#br0" timeOffset="132065.69">10160 9565 0,'26'0'32,"-12"0"-17,12 0-15,-13 0 0,1 0 16,12 0-16,1 0 0,-1 0 0,-13 0 16,14 0-16,-1-14 0,1 14 0,12 0 15,-12 0-15,12 0 0,1 0 0</inkml:trace>
  <inkml:trace contextRef="#ctx0" brushRef="#br0" timeOffset="133167.87">11576 9327 0,'0'-14'16,"-27"41"0,27-14-1,-13 0-15,13 0 0,-13 14 0,13-14 16,0 14-16,0-1 0,-14-13 15,14 14-15,0-14 0,14 0 0,-14 14 16,0-14-16,13 0 0,0 0 0,0 1 16,1-1-16,-1-13 15,0 0-15,0 0 0,0 0 16,1 0-16,-1-13 0,0 13 0,0-14 16,-13 1-16,14 0 15,-14 0-15,0-1 0,0-12 0,0 13 16,0 0-16,-14-1 0,14 1 15,0 0-15,-13 0 0,13-1 0,-13 1 16,13 0-16,-13 0 0,-1-1 16,1 1-16,0 13 15,0 0 1,13 13 0</inkml:trace>
  <inkml:trace contextRef="#ctx0" brushRef="#br0" timeOffset="133330.2">11946 9419 0,'-13'-13'15,"-1"26"1</inkml:trace>
  <inkml:trace contextRef="#ctx0" brushRef="#br0" timeOffset="133673.16">12078 9353 0,'0'0'0,"13"0"0,1 0 0,-1 0 15,0 13-15,-13 14 16,-13-27 0,13 13-16,-13 13 0,-1-12 15,1-1-15,0 0 0,0 14 0,0-14 16,-1 0-16,1 0 0,13 0 16,-13-13-16,13 14 0,0-1 15,-13 0-15,26-13 16,-13 13-16,13-13 15,0 0-15,1 0 0,-1 0 16,0 0-16,0 0 16,0 0-16,1 0 0,-1 0 0,0 0 15,0 0-15,1 0 0,-1 0 32</inkml:trace>
  <inkml:trace contextRef="#ctx0" brushRef="#br0" timeOffset="134041.94">12740 9366 0,'-14'0'15,"1"13"-15,13 1 0,-13-1 0,0 0 16,13 0-16,-27 27 0,14-13 16,0-14-16,0 13 0,-1-13 15,1 1-15,0 12 0,13-13 0,-13 1 16,-1-1-16,14 0 16</inkml:trace>
  <inkml:trace contextRef="#ctx0" brushRef="#br0" timeOffset="134239.1">12488 9472 0,'-13'13'32,"13"1"-32,13 12 15,1-26-15,-1 13 0,0 0 16,-13 1-16,13-14 0,0 13 0,1 0 15,-1-13-15,0 0 0,0 13 0,1-13 16,12 14-16,-13-14 16</inkml:trace>
  <inkml:trace contextRef="#ctx0" brushRef="#br0" timeOffset="134737.84">13044 9327 0,'13'0'15,"0"0"-15,40-14 16,-39 14-1,-1 0-15,0 14 0,0-14 16,0 13-16,1-13 0,-1 0 16,-13 13-16,0 0 0,13-13 0,-13 13 15,0 1-15,0-1 0,0 0 16,0 14-16,0-14 0,0 0 16,-13 0-16,13 1 0,0-1 0,0 0 15,-13 0-15,13 0 0,0 1 0,0-1 16,0 0-16,0 0 0,-14 1 15,28-1-15</inkml:trace>
  <inkml:trace contextRef="#ctx0" brushRef="#br0" timeOffset="134911.91">13123 9525 0,'-13'-13'15,"40"13"16,-14 0-31,0 0 0,0 0 0,14 0 16,-1 0-16,1 0 0,-14 0 16,13 0-16,1 0 0,-14 0 15,13 0-15,-12 0 0,-1 0 0,0 0 0,0 0 16</inkml:trace>
  <inkml:trace contextRef="#ctx0" brushRef="#br0" timeOffset="135405.74">11364 9194 0,'0'0'0,"-40"27"0,14-14 16,12 13-16,-12 1 0,0-1 0,-1 14 15,1 0-15,-1 13 0,14-14 0,0 1 16,-1 0-16,14-1 0,0 1 15,14 13-15,-1-13 0,0-1 0,27 1 16,0 0-16,-1-1 0,14 1 0,13-13 16,0-1-16,14-13 0,-1 14 15,1-14-15,12-13 0,-12 0 16,12 0-16,-12 0 0,-1-13 0</inkml:trace>
  <inkml:trace contextRef="#ctx0" brushRef="#br0" timeOffset="135929.57">13388 9155 0,'79'26'15,"-65"-13"-15,12 14 16,0-1-16,1 1 0,-1-1 0,-12 14 15,-1-1-15,0-12 0,0 13 0,-13-1 16,0 1-16,0-14 0,-13 14 16,13 0-16,-26-14 0,-1 14 0,1 0 15,-14-14-15,-13 27 16,13-27-16,14-26 0,-1 27 0,1-14 16,0 0-16,12 1 0,-12-14 15,13 0-15</inkml:trace>
  <inkml:trace contextRef="#ctx0" brushRef="#br0" timeOffset="136413.06">14010 9446 0,'13'0'15,"0"0"-15,0 0 16,1 0-16,-1 0 0,0 0 0,0 0 16,1 0-16,-1 0 15,0 0-15,-13 13 0,13-13 16</inkml:trace>
  <inkml:trace contextRef="#ctx0" brushRef="#br0" timeOffset="136585.68">13970 9591 0,'0'0'16,"13"0"-16,0 13 0,1-13 0,-1 0 15,0 0-15,0 0 16,14 0-16,-14 0 0,0 0 0,1 0 16,12 0-16,-13 0 0,0 0 15,1 0-15,-1 0 0,0 0 16,0 0-16,1-13 0,-1 13 15</inkml:trace>
  <inkml:trace contextRef="#ctx0" brushRef="#br0" timeOffset="141116.09">3797 12634 0,'26'0'31,"-13"13"-31,1-13 16,-1 0-16,0 0 15,0 13-15,1-13 0,-1 0 16,0 14-16,-13-1 16</inkml:trace>
  <inkml:trace contextRef="#ctx0" brushRef="#br0" timeOffset="141267.74">3770 12832 0,'27'0'47,"-14"0"-31,0 0-16,0-13 0,14 13 15,-14 0-15,14 0 0,-1-13 0,1 13 16</inkml:trace>
  <inkml:trace contextRef="#ctx0" brushRef="#br0" timeOffset="142684.97">4762 12488 0,'0'-13'0,"-13"0"31,0 39-15,0-12-16,13 12 0,-13-13 15,13 14-15,-14-14 0,14 13 16,0 1-16,0-1 0,-13-12 0,13 12 15,0-13-15,0 0 0,0 14 0,13-14 16,-13 0-16,14 1 0,-14-1 16,13 0-16,0-13 0,-13 13 0,13-13 15,0 0-15,1 0 0,-1 0 16,0 0-16,0-13 0,1 13 0,-1-13 16,0 13-16,0-13 0,1-1 0,-1 1 15,0 0-15,-13 0 0,13-1 16,-13 1-16,0 0 15,0 0-15,0 0 0,0-1 0,0 1 0,-13 0 16,13-14-16,0 14 0,-13 0 0,13 0 16,-13-1-16,13 1 0,-14 13 15,14-13-15,-13 0 0,0 0 16,0 13 0</inkml:trace>
  <inkml:trace contextRef="#ctx0" brushRef="#br0" timeOffset="142868.87">5146 12568 0,'-26'0'47</inkml:trace>
  <inkml:trace contextRef="#ctx0" brushRef="#br0" timeOffset="143248.43">5398 12528 0,'-40'13'32,"27"0"-32,-1-13 0,1 14 0,0-14 15,0 0-15,13 13 0,-14-13 16,1 13-16,13 0 15,13 1 1,1-1-16,-1 0 16,0-13-16,0 13 15,-13 1-15,14-14 16,-14 13-16,0 0 16,-14-13-16,14 13 0,-13 0 0,0 1 15,0-14-15,-14 13 0,14 0 16,0 0-16,-14-13 0,14 14 0,0-1 15,0-13-15,-1 0 0,1 13 16,0-13-16,0 0 16</inkml:trace>
  <inkml:trace contextRef="#ctx0" brushRef="#br0" timeOffset="143460.81">5702 12475 0,'-13'27'31,"13"-14"-31,-14 0 0,14 13 16,0-12-16,-13 12 0,13-13 15,-13 14-15,13-1 0,-13-12 0,13 12 16,-14 0-16,14-12 0,0-1 0,-13 0 15,13 0-15</inkml:trace>
  <inkml:trace contextRef="#ctx0" brushRef="#br0" timeOffset="143661.78">5517 12674 0,'0'0'0,"13"13"31,0-13-31,-13 13 16,13-13-16,0 13 0,1-13 16,-1 13-16,0-13 0,-13 14 0,13-14 15,1 0-15,12 13 0,-13-13 0,1 13 16,-1-13-16,13 0 0,-13 0 16</inkml:trace>
  <inkml:trace contextRef="#ctx0" brushRef="#br0" timeOffset="144547.91">6191 12449 0,'-26'0'0,"-14"0"16,27 13-16,0-13 15,-1 13-15,1-13 0,0 13 0,0 1 16,-1-14-16,1 13 0,0 0 0,0-13 16,13 13-16,-13 0 0,26-13 15,13 0 1,-13 0-16,14-13 16,-14 13-16,0-13 0,1 13 15,12-13-15,-13 13 0,1 0 0,-1-13 16,0 13-16,0 13 0,0-13 15,-13 13-15,14 0 16,-14 0-16,0 1 0,0-1 0,0 0 16,0 14-16,0-14 0,0 0 0,0 14 15,-14-14-15,14 0 0,0 13 16,-13-12-16,13-1 0,-13 13 16,13-12-16,-13-1 0,0 0 0,-1 0 15</inkml:trace>
  <inkml:trace contextRef="#ctx0" brushRef="#br0" timeOffset="145101.14">4524 12382 0,'-39'27'0,"78"-54"0,-92 67 0,40-27 0,13 14 16,-13-14-16,0 27 0,0-14 0,13 14 15,-14 0-15,14-1 0,-13 1 16,26 0-16,-13-1 0,14 1 16,-1-13-16,0-1 0,13 14 0,14-14 15,0 1-15,13-1 0,0 1 16,-14-14-16,14 0 0,0-13 0,0 13 15,13-13-15,-13 0 0,27 0 0,-14-13 16,-13 0-16</inkml:trace>
  <inkml:trace contextRef="#ctx0" brushRef="#br0" timeOffset="145517.37">6191 12158 0,'53'0'0,"53"53"16,-80-27-16,1 0 16,-1 1-16,14-1 0,-13 14 0,-14-14 15,0 14-15,0 0 0,0-14 0,1 14 16,-14 0-16,0-14 0,-14 14 15,1 0-15,0-1 0,0 1 0,0-14 16,-14 14-16,14-13 0,-14-1 0,14-13 16,0 14-16,0-27 0,13 13 0,-14-13 15</inkml:trace>
  <inkml:trace contextRef="#ctx0" brushRef="#br0" timeOffset="145868.63">7144 12343 0,'0'53'16,"0"-27"-16,-13 1 15,13-14-15,0 13 0,0 1 16,0-1-16,-14 1 0,14-1 0,0 1 0,0-1 15,-13 1-15,13-14 0,0 13 16,0-13-16,-13 1 0,13-1 16,0 0-16</inkml:trace>
  <inkml:trace contextRef="#ctx0" brushRef="#br0" timeOffset="146091.15">6879 12647 0,'13'0'16,"40"0"-1,-26 0-15,-14 0 0,13 0 16,1 0-16,13 0 0,-14 0 16,1 0-16,12 0 0,-12 0 0,-1 0 15,1 0-15,-1 0 0,0-13 16,1 13-16,-1 0 0,1 0 0,-14 0 15,14 0-15</inkml:trace>
  <inkml:trace contextRef="#ctx0" brushRef="#br0" timeOffset="146876.57">8189 12462 0,'0'0'16,"-13"0"-16,-14 0 16,27 13-16,-13-13 0,13 13 15,-13 1-15,13-1 0,-14 0 16,14 13-16,-13-12 0,13-1 0,0 13 16,0-12-16,0-1 0,0 13 0,0-12 15,0-1-15,13 0 0,-13 0 16,14 0-16,-1 1 0,0-1 0,0-13 15,1 13-15,-1-13 0,0 0 0,0 0 16,1 0-16,-1 0 16,0-13-16,0 13 0,0-13 0,1-1 15,-14 1-15,0 0 0,0 0 16,0 0-16,0-1 0,0 1 0,-14 0 16,14-14-16,-13 14 0,0 0 15,13 0-15,-13-1 0,0 1 0,13 0 16,-14 0-16,1 0 0,0 13 15</inkml:trace>
  <inkml:trace contextRef="#ctx0" brushRef="#br0" timeOffset="147177.91">8572 12554 0,'-13'0'0,"26"0"0,-39 0 15,13 14 1</inkml:trace>
  <inkml:trace contextRef="#ctx0" brushRef="#br0" timeOffset="148137.87">8784 12475 0,'0'0'0,"13"0"0,1 0 0,-14 13 0,13-13 16,-13 14-16,0-1 0,13-13 15,-13 13-15,-13 13 16,13-12-16,-13-1 0,-1 0 15,1 0-15,13 1 0,-13-14 16,13 13-16,13 0 16,0 0-1,1 1 1,-1-14-16,-13 13 16,0 0-16,0 0 0,0 0 15,-13 1-15,-14 12 16,1 14-16,-1-40 15,1 26-15,-14-12 16,27-1-16,0-13 0,-14 13 0,27 0 16</inkml:trace>
  <inkml:trace contextRef="#ctx0" brushRef="#br0" timeOffset="148480.74">9379 12594 0,'0'0'0,"-13"27"16,0-27-16,13 13 16,-13 0-16,0 0 0,-1 1 0,14-1 15,-13 13-15,0-13 0,0 1 0,-1 12 16,1-13-16,0 1 0,0-1 0,13 0 15,-13 0-15,-1 1 0,14-1 16,-13-13-16</inkml:trace>
  <inkml:trace contextRef="#ctx0" brushRef="#br0" timeOffset="148676.21">9141 12700 0,'0'-13'0,"27"26"31,-14 0-15,0 0-16,1-13 0,-1 14 0,0-1 15,0 0-15,0 0 0,1-13 0,-1 14 16,0-1-16,0-13 0,1 13 16,-1 0-16,0-13 0,0 0 0,0 0 15</inkml:trace>
  <inkml:trace contextRef="#ctx0" brushRef="#br0" timeOffset="149028.34">9829 12607 0,'-26'14'31,"26"-1"-31,-13 0 16,-1-13-16,1 13 0,0 1 0,0-1 0,-1 0 16,1-13-16,0 13 0,0 0 0,0 1 15,-1-1 1,1 0-16,0 0 16,13 1-16,0-1 15,13-13-15,0 13 16,1-13-16,-1 13 15,0-13-15,0 0 0,0 14 0,1-14 16,-1 0-16,0 0 0,0 0 0,1 0 16,-1 0-16,13-14 15,-13 14-15,-13-13 16,14 13-16</inkml:trace>
  <inkml:trace contextRef="#ctx0" brushRef="#br0" timeOffset="149224.91">9816 12647 0,'0'0'0,"-13"13"16,13 1-16,-13-14 15,13 13-15,0 0 0,-14 13 0,14-12 16,0-1-16,0 13 0,0-12 0,0 12 16,0-13-16,0 14 0,-13-14 15,13 0-15,0 14 0,0-14 0,-13 0 16,13 0-16,0 1 0,0-1 0,-13 0 15,-1 0-15,14 1 16</inkml:trace>
  <inkml:trace contextRef="#ctx0" brushRef="#br0" timeOffset="149776.54">7858 12343 0,'-40'53'0,"27"-14"0,0-12 16,0 13-16,-27 251 31,40-238-31,0-14 0,13 14 0,14 0 15,-1-13-15,14-1 0,0-12 0,-1 13 16,14-14-16,0-13 0,13 0 16,0 1-16,1-1 0,12-13 15,0 0-15,1 0 0,-1-13 0,0-1 16</inkml:trace>
  <inkml:trace contextRef="#ctx0" brushRef="#br0" timeOffset="150212.67">9882 12330 0,'93'52'15,"-67"-38"-15,1 12 0,-1 14 0,14-14 16,-14 27-16,1-13 0,-1 0 16,1 13-16,-14-14 0,0 1 0,0 0 15,1-1-15,-14 1 0,0-14 0,0 1 16,0-1-16,-14 14 0,1-13 16,13 12-16,-13-26 0,0 14 0,-1-14 15,1 0-15,0 1 0,0-14 0,0 13 16,-1-26-1</inkml:trace>
  <inkml:trace contextRef="#ctx0" brushRef="#br0" timeOffset="150451.68">10808 12515 0,'0'66'31,"-13"-53"-31,13 14 0,0-14 0,0 13 0,0-12 16,0 12-16,0 0 0,-13-12 16,13 12-16,0 1 0,0-14 0,0 13 15,0-12-15,0-1 0,0 0 16,0 0-16,0 0 0</inkml:trace>
  <inkml:trace contextRef="#ctx0" brushRef="#br0" timeOffset="150677.01">10557 12766 0,'26'13'15,"-12"-13"1,-1 0-16,13 0 0,1 14 0,-14-14 16,13 0-16,1 0 0,-1 0 15,-12 0-15,12 0 0,0 0 0,-12 0 16,12 0-16,-13 0 0,14 0 0,-1 0 16,-12 0-16,12 0 0,-13 0 15</inkml:trace>
  <inkml:trace contextRef="#ctx0" brushRef="#br0" timeOffset="151957.7">11668 12594 0,'0'0'0,"-40"40"15,27-27-15,0 0 0,0 14 16,13-14-16,-13 13 0,13-12 16,0 12-16,0-13 0,0 1 15,0-1-15,0 13 0,0-12 0,13-1 16,-13 0-16,13 0 0,0 0 0,0-13 16,1 0-16,-1 14 0,0-14 15,0 0-15,1 0 0,-1 0 16,0-14-16,0 1 0,1 0 15,-1 0-15,-13 0 16,0-14-16,0 14 0,0 0 0,0-1 16,0 1-16,0 0 0,-13-14 15,13 14-15,-14 0 0,14 0 16,-13 13-16,0-13 0,13-1 0,-13 14 16,-1 0-16,1-13 0,0 13 0,-14 0 15,27 13 1,-13-13-16,0 14 0</inkml:trace>
  <inkml:trace contextRef="#ctx0" brushRef="#br0" timeOffset="152105.62">11893 12753 0,'-13'-13'15,"13"-1"1</inkml:trace>
  <inkml:trace contextRef="#ctx0" brushRef="#br0" timeOffset="152509.79">12184 12581 0,'0'0'0,"13"0"0,1 0 16,-1 13-1,-13 0-15,0 1 0,0-1 16,0 0-16,-13 0 0,-1 1 0,1-1 15,0 13-15,0-13 0,-1 14 16,-12-14-16,13 14 0,-1-14 0,1 0 16,0 0-16,0 1 15,0-1-15,13 0 16,13-13 15,0 13-31,0-13 0,0 0 16,1-13-16,-1 13 0,0 0 15,0 0-15,1 0 0,12 0 0,-13-13 16,14 13-16,-14 0 0,13-13 0,-12 13 16,12-14-16,1 1 0,-14 13 0,13-13 15</inkml:trace>
  <inkml:trace contextRef="#ctx0" brushRef="#br0" timeOffset="152704.64">12779 12607 0,'0'0'0,"-13"27"32,0-14-32,0 0 15,-1 1-15,14-1 0,-13 0 0,0 13 16,0-12-16,13-1 0,-13 13 16,-1-12-16,1 12 0,0-13 0,0 1 15,13-1-15,-14 0 0,14 0 0,-13 0 16</inkml:trace>
  <inkml:trace contextRef="#ctx0" brushRef="#br0" timeOffset="152896.41">12515 12753 0,'0'-13'0,"13"39"31,0-13-16,27 1 1,-27-1-16,0 0 0,14-13 0,-14 13 16,0-13-16,14 14 0,-14-14 0,13 0 15,-12 13-15,12-13 16,-13 0-16</inkml:trace>
  <inkml:trace contextRef="#ctx0" brushRef="#br0" timeOffset="153320.72">13335 12488 0,'-26'14'0,"-54"65"31,67-53-31,-14 1 0,14-1 16,13-12-16,-13 12 0,0-13 0,13 14 15,0-14-15,0 0 0,0 0 0,0 1 16,13-1-16,-13 0 0,13-13 15,0 0 1,1 0 0,-1 0-16,-13-13 0,0 0 15,0-1-15,-13 14 0,13-13 16,-14 13-16,14-13 0,-13 13 16,0-13-16,0 13 0,-14 0 0,14 0 15,-13 0-15,-1 0 0,1 0 0</inkml:trace>
  <inkml:trace contextRef="#ctx0" brushRef="#br0" timeOffset="153736.67">11112 12343 0,'-92'172'15,"92"-119"1,0-14-16,0 14 0,0 0 0,13 0 16,14 13-16,-14-26 0,26 13 15,1-13-15,0-1 0,13 1 0,0 0 16,13-14-16,0 1 0,172 25 15,-158-38-15,12-14 16,1 13-16,-1-13 0</inkml:trace>
  <inkml:trace contextRef="#ctx0" brushRef="#br0" timeOffset="154113.16">13560 12237 0,'0'0'15,"53"53"-15,-40-27 0,13 14 0,14 0 0,-27 13 16,14 0-16,-14-14 0,0 14 0,1-13 16,-14 0-16,0 12 0,0-12 0,-14 0 15,1 0-15,0-1 16,0-12-16,-1 12 0,1-12 0,0-14 15,0 14-15,-1-14 0,1-13 0,13 13 16</inkml:trace>
  <inkml:trace contextRef="#ctx0" brushRef="#br0" timeOffset="154421.76">14261 12634 0,'13'0'31,"1"13"-15</inkml:trace>
  <inkml:trace contextRef="#ctx0" brushRef="#br0" timeOffset="154581.07">14182 12885 0,'-14'0'15,"28"13"1,-1-13-16,13 0 16,-12-13-16,-1 13 15,0-13-15,0 13 0,14-13 16,-14 13-16,0-13 0</inkml:trace>
  <inkml:trace contextRef="#ctx0" brushRef="#br0" timeOffset="156294.13">14817 9234 0,'39'0'47,"-12"0"-47,-14 0 0,0 0 16,14 0-16,-1 0 0,-13 0 0,14 0 15,-1 0-15,-12-13 0,-1 13 0,0 0 16,0 0-16,0 0 16,1 13-16,-14 0 15,0 0-15,0 1 16,0-1-16,-14 13 0,14 1 15,-13-14-15,13 13 0,-13 1 0,13-1 16,-13-12-16,13 12 0,-13 1 0,13-14 16,-14 0-16,14 13 0,0-12 15,0-1-15,0 0 0,-13-13 0,13 13 16,0 1-16,0-1 16</inkml:trace>
  <inkml:trace contextRef="#ctx0" brushRef="#br0" timeOffset="156491.97">14843 9551 0,'40'0'16,"-27"0"-16,0 0 15,0 0-15,1 0 0,-1 0 0,13 0 16,-12 0-16,12 0 0,-13 0 15,14 0-15,-14 0 0,13 0 0,1-13 16,-14 13-16,14 0 0,-14 0 0,13-13 16</inkml:trace>
  <inkml:trace contextRef="#ctx0" brushRef="#br0" timeOffset="156660.22">15412 9459 0,'-26'0'15</inkml:trace>
  <inkml:trace contextRef="#ctx0" brushRef="#br0" timeOffset="157216.88">15650 9260 0,'0'0'16,"13"0"-16,1 0 0,-1 14 16,-13-1-16,0 0 15,-13 0-15,13 1 0,-14-1 0,1 0 16,0 13-16,0-12 0,-1-1 0,1 13 16,0-12-16,0-1 0,0 0 0,13 0 15,-14 1-15,1-14 0,13 13 16,0 0-16,-13 0 0,13 0 15,0 1-15,13-14 16,-13 13-16,13 0 0,1-13 16,-1 13-16,0-13 0,0 0 15,0 0-15,14 14 0,-14-14 0,0 0 16,1 0-16,-1 0 0,0 0 0,0 0 16,0 13-16,1-13 0,-1 0 15,0-13-15</inkml:trace>
  <inkml:trace contextRef="#ctx0" brushRef="#br0" timeOffset="159104.23">15147 12541 0,'-13'40'0,"26"-80"0,-39 93 16,13-26-16,13-14 0,-14 13 0,14 1 16,-13-1-16,13-13 0,0 14 0,0-1 15,0-12-15,13-1 0,-13 13 16,14-12-16,-14-1 0,13 0 0,0 0 15,0-13-15,-13 13 0,14-13 0,-1 0 16,0 0-16,0 0 16,1-13-16,-14 0 0,13 0 15,-26 0-15,13-1 16,0 1-16,-14 13 0,14-13 16,-13 0-16,0-1 0,0 14 15,13-13-15,-14 13 0,1-13 16,0 13-16,0 0 15,-1 0 1</inkml:trace>
  <inkml:trace contextRef="#ctx0" brushRef="#br0" timeOffset="159253.15">15359 12674 0,'0'-14'31</inkml:trace>
  <inkml:trace contextRef="#ctx0" brushRef="#br0" timeOffset="159587.91">15637 12528 0,'-13'0'0,"-53"40"16,52-27 0,1-13-16,13 13 0,0 0 15,-13-13-15,26 14 16,0-14-1,1 0-15,-1 0 0,0 0 16,0-14-16,0 28 0,1-14 16,-1 0-16,0 13 0,-13 0 0,13 0 15,-13 1-15,14-1 0,-14 0 0,0 13 16,13-12-16,-13 12 0,0-13 16,0 1-16,0-1 0,0 0 0,0 0 15,0 1-15,0-1 0,0 0 0,0 0 16,13 0-1</inkml:trace>
  <inkml:trace contextRef="#ctx0" brushRef="#br0" timeOffset="160123.68">16047 12885 0,'-53'53'16,"40"-40"-16,0 1 0,-14 12 15,1 1-15,-1-1 0,1 0 16,-1 1-16,14-1 0,-13 1 0,-1-1 15,1 1-15,12-14 0,1 0 16,0 14-16,0-27 0,0 13 0,-1 0 16</inkml:trace>
  <inkml:trace contextRef="#ctx0" brushRef="#br0" timeOffset="160281.26">16007 13018 0,'-106'132'31,"67"-93"-31,12-12 0,-12 13 16,12-1-16,-13-12 0,1 12 15,12-12-15,1-1 0,-1 1 0,1-1 16,13-12-16</inkml:trace>
  <inkml:trace contextRef="#ctx0" brushRef="#br0" timeOffset="160824.03">16153 9869 0,'-132'119'32,"92"-106"-32,13 14 0,-12-1 0,12 1 15,1-14-15,-1 0 0,14 0 0,0 1 16</inkml:trace>
  <inkml:trace contextRef="#ctx0" brushRef="#br0" timeOffset="160980.65">16312 9935 0,'-14'13'0,"-78"93"31,52-66-31,0-14 0,1 1 16,-1 12-16,-13-12 0,13 13 0,14-27 15,-14 27-15,1-14 0,12 0 16,1 14-16</inkml:trace>
  <inkml:trace contextRef="#ctx0" brushRef="#br1" timeOffset="168083.98">2553 9234 0,'13'79'0,"1"-39"0,12 119 16,-26-93-16,13-13 15,-13 13-15,0 0 0,14-13 0,-14 13 16,0-13-16,0 0 0,0-13 16,13 52-16,-13-52 15,0-14-15,0 1 0,0-1 0,0-12 0,13-1 16,-13 0-16,0 0 0,0 1 15</inkml:trace>
  <inkml:trace contextRef="#ctx0" brushRef="#br1" timeOffset="170949.73">2487 9234 0,'27'-13'0,"-54"26"0,80-26 15,-40 13-15,14 0 0,-14 0 0,13 0 0,1 0 16,13 0-16,-14 0 0,14 0 15,13 0-15,0 0 0,-1 0 0,1 0 16,13 0-16,1 0 0,12 0 0,0 0 16,1 0-16,-1-13 0,14 13 15,-14 0-15,27 0 0,-13 0 0,-1 0 16,14 0-16,0 0 0,0 0 16,-1 0-16,1 0 0,0 0 0,26 0 15,-13 0-15,14 0 0,-1 13 16,-26-13-16,0 0 0,0 0 0,-1 0 15,28 0-15,-27 0 0,-1 0 0,1 13 16,0-13-16,0 0 0,0 0 16,0 0-16,-1 13 0,-12-13 0,13 0 15,-14 0-15,14 0 0,0 13 16,-13-13-16,13 0 0,-14 0 16,1 0-16,-1 0 0,1 0 0,0 0 0,-14 0 15,14 0-15,-14 0 0,14 0 0,-14 14 16,0-14-16,1 0 0,-1 0 15,-13 0-15,14 13 0,-1-13 16,-13 0-16,-13 0 0,26 0 0,-13 0 16,1 0-16,-1 0 0,13 0 0,-13 0 15,14 0-15,-1 0 0,-26 0 16,13 0-16,-13 0 0,13 0 0,-13 0 16,13 0-16,0 0 0,14 0 0,-14 0 15,0 0-15,-13 0 0,13 0 16,-13 0-16,13 0 0,0 0 0,-13 0 15,13 0-15,-13 0 0,13-13 0,-13 13 16,14 0-16,-15 0 0,1 0 16,13 0-16,-13 0 0,0-14 15,13 14-15,-13 0 0,0 0 0,0 0 16,13-13-16,-13 13 0,0 0 0,13 0 16,-13-13-16,0 13 0,13 0 15,-13 0-15,0-13 0,0 13 0,0 0 16,0 0-16,0-13 0,0 13 0,0 0 15,0 0-15,-1-14 0,-12 14 16,13 0-16,-13 0 0,-1 0 0,1 0 16,0 0-16,-14 0 0,14 0 0,0 0 15,-14 0-15,14 0 0,-1 0 0,-12 0 16,-1 0-16,1 0 16,13 0-16,-27 0 0,13 0 0,1 0 15,-14 0-15,0 0 0,0 0 0,1 0 16,-1 0-16,0 0 0,14 0 15,-14 0 1,0 0 0,-13-13 15,13 13 0,0 0 0,1 0-15,-1 0 0,13 0-1,-12-13-15,-1 13 16,0 0-16,14 0 0,-14 0 0,13 0 16,1-13-16,-1 13 0,14 0 15,0-14-15,12 14 0,1-13 0,-13 13 16,13 0-16,0-13 0,0 13 0,13 0 15,0-13-15,0 13 0,14-14 16,-14 14-16,13 0 0,0-13 16,1 13-16,-1 0 0,1-13 0,-1 13 15,0 0-15,1 0 0,-1-13 0,0 13 16,1 0-16,-1 0 0,-13 0 16,14 0-16,-1 0 0,-13 0 0,14 13 15,-1-13-15,-26 0 0,0 0 0,13 0 16,-13 13-16,0-13 0,0 0 15,0 0-15,-14 0 0,14 0 16,-26 13-16,12-13 0,-12 0 0,-1 0 0,1 0 16,-14 0-16,13 0 0,1 0 0,-14 0 15,0 0-15,1 0 0,-1 0 16,0 0-16,0 0 0,1 14 16,-1-14-16,0 0 15,0 0-15,0 0 16,-13 13-16,14-13 0,-1 13 15,-13 0-15,13-13 0,0 14 0,-13-1 16,14 13-16,-14-12 0,13 12 0,-13 14 16,13-1-16,0 1 0,-13 0 15,14-1-15,-1 1 0,-13 0 0,13-1 16,0 14-16,0-13 0,1 13 0,-1 0 16,0-13-16,14-1 0,-14 1 15,0-14-15,0 14 0,14 0 0,-14-14 16,0 14-16,0-14 0,1 1 15,12-1-15,-26 1 0,13-1 0,1-13 16,-1 1-16,-13-1 0,13 13 16,0-12-16,-13-1 0,13 0 15,-13 0-15,0 1 0,14-14 16,-14 13-16,-14 0 16,1-13-1,0 0-15,0 13 0,0-13 16,-14 0-16,14 0 0,-14 0 15,1 0-15,-1 0 0,-12-13 0,-1 13 16,0 0-16,-12 0 0,-1 0 16,0-13-16,0 13 0,0 0 0,-13 0 15,0-13-15,13 13 16,-27 0-16,14-14 0,-13 14 0,13-13 0,-1 13 16,-12-13-16,13 13 0,-13-13 0,12 13 15,-12-14-15,0 14 0,-1 0 16,14-13-16,-13 13 0,-1-13 0,1 13 15,0-13-15,-1 13 0,1-14 0,0 14 16,-1-13-16,1 13 0,-397-39 31,237 25-15,173 14-16,-542-39 31,542 25-15,-1 14-16,-12 0 0,13 0 0,0 0 15,13-13-15,-27 13 0,14 0 0,-13 0 16,26 0-16,-13 0 0,0-13 16,0 13-16,-14 0 0,27 0 0,-13 0 15,13-13-15,-26 13 0,26 0 0,-13 0 16,0 0-16,13-14 0,-13 14 16,13 0-16,-13 0 0,13-13 0,0 13 15,-13 0-15,13 0 0,0 0 16,0 0-16,0 0 0,0-13 15,0 13-15,0 0 0,13 0 0,-12 0 16,-1 0-16,13 0 0,-53 0 16,54 0-16,-1 0 0,13 0 0,-12 0 15,12 0-15,-12 0 0,12 0 16,-13 0-16,14-13 0,0 13 0,-1 0 16,1 0-16,-1 0 0,1 0 0,-1 0 15,14 0-15,-13 0 0,-1 0 16,1 0-16,-1 0 0,14 0 0,-13 13 15,-1-13-15,14 0 0,-14 0 0,1 0 16,13 0-16,-14 0 0,14 0 16,-13 0-16,12 0 0,-12 0 15,13 0-15,-14 13 0,14-13 0,-13 0 16,12 0-16,1 0 0,-13 0 0,12 0 16,-12 13-16,13-13 0,-14 0 15,1 0-15,13 0 0,-27 14 0,13-14 16,1 0-16,-1 0 0,-12 13 0,12-13 15,-12 0-15,-1 0 0,-13 0 16,13 13-16,14-13 0,-27 0 0,13 0 16,-13 13-16,14-13 0,-14 0 15,13 0-15,-13 0 0,0 14 0,0-14 16,0 0-16,0 0 0,1 0 16,-1 13-16,0-13 0,0 0 0,-13 0 15,13 0-15,0 13 0,-13-13 0,0 0 16,-14 0-16,14 13 0,0-13 15,0 0-15,-14 14 0,27-14 0,1 0 16,-15 13-16,14-13 0,1 0 0,-15 13 16,14-13-16,1 0 0,-15 13 15,1-13-15,-13 13 0,26-13 0,0 0 16,-13 14-16,0-14 0,13 13 0,-13-13 16,13 13-16,0-13 0,0 13 0,-13-13 15,13 0-15,13 14 16,-13-14-16,0 13 0,0-13 0,1 0 15,12 13-15,-13-13 0,0 13 0,0-13 16,0 0-16,0 14 0,0-14 16,0 13-16,1-13 0,-1 0 0,0 13 15,13-13-15,-13 0 0,0 0 0,0 13 16,0-13-16,0 0 0,0 0 16,1 13-16,-1-13 0,0 0 0,0 0 15,13 14-15,-13-14 0,0 0 0,0 0 16,14 13-16,-14-13 0,0 0 0,0 0 15,0 0-15,0 0 16,-53 13-16,67-13 0,-14 0 16,-53 0-16,66 0 0,-13 0 15,0 0-15,0 0 0,14 0 16,-14 0-16,13 0 0,0 0 0,-12 0 16,-1 0-16,26 0 0,-13 0 0,1 0 15,-1-13-15,0 13 0,1 0 16,-1 0-16,14 0 0,-14 0 0,13 0 15,-12 0-15,-1 0 0,14 0 0,-14 0 16,13 0-16,1 0 0,-14 0 0,14 0 16,-1 0-16,1 0 0,-1 0 15,1 0-15,0 0 0,-1 0 16,-13 0-16,14 0 0,-14 0 0,14 13 16,-14-13-16,14 0 0,-1 0 15,14 0-15,-14 0 0,14 0 0,-13 0 16,-1-13-16</inkml:trace>
  <inkml:trace contextRef="#ctx0" brushRef="#br1" timeOffset="171599.71">3387 12316 0,'-14'40'0,"14"92"16,0-79-16,0 13 0,0 1 16,14-1-16,-14 13 0,-14-13 15,14 14-15,0-1 0,-13-13 0,13 13 16,0-12-16,-13 12 0,13-13 16,-13 0-16,0-13 0,13-13 0,0 13 0,0-27 15,-14 1-15,14-1 0,0-13 16,0 1-16,-13-41 31</inkml:trace>
  <inkml:trace contextRef="#ctx0" brushRef="#br1" timeOffset="174236.98">3096 12250 0,'0'0'0,"13"0"0,66-39 32,-52 39-32,-1 0 0,14-14 0,13 14 15,-14-13-15,14 13 0,0-13 16,27 13-16,-14-13 0,13 13 0,1-14 15,-1 14-15,14 0 0,-14-13 0,14 13 16,12 0-16,-12-13 0,13 13 16,13-13-16,13 13 0,0-14 0,1 1 15,-14 13-15,-13-13 0,26 13 16,0-13-16,0 0 0,14 13 16,-14 0-16,1-14 0,-1 14 0,0-13 15,0 13-15,1 0 0,-14-13 0,13 13 16,0-13-16,1 13 0,-27 0 15,-14-14-15,40 14 0,-26-13 0,0 13 16,0 0-16,-13-13 0,12 13 0,1-13 16,-13 13-16,13-14 0,-14 14 15,1 0-15,-1-13 0,1 13 0,0-13 16,-14 13-16,0-13 0,14 13 0,-14-13 16,1 13-16,-1-14 0,1 14 15,-14 0-15,0-13 0,-13 13 0,0 0 16,0 0-16,13-13 0,-13 13 15,0 0-15,-1 0 0,1 0 0,0 0 16,13-13-16,-26 13 0,13 0 16,0 0-16,0-14 0,0 14 0,13 0 15,-13 0-15,0 0 0,0-13 0,0 13 16,0 0-16,13 0 0,-13 0 16,-1 0-16,1 0 0,0 0 0,0 0 15,0 0-15,13 0 0,-13 0 0,0 0 16,13 0-16,-13 0 0,0 0 15,13 0-15,-13 0 0,27 0 16,78-13-16,-78 13 0,-1 0 16,0 0-16,1 0 0,-1 0 0,1 0 15,12 0-15,-12 0 0,12 0 16,1 0-16,-1 13 0,1-13 0,-14 0 16,14 0-16,0 13 0,-1-13 0,14 0 15,-13 14-15,-1-14 0,1 13 16,13-13-16,-14 0 0,14 13 0,92 0 15,1-13 1,-106 14-16,12-14 0,-12 13 16,13-13-16,-14 0 0,1 13 0,0 0 15,-1-13-15,1 13 0,-1-13 0,-12 14 16,-1-14-16,1 13 0,-1-13 0,0 13 16,1-13-16,-14 13 0,13 1 15,-13-14-15,0 13 0,1-13 0,-14 0 16,-1 13-16,1-13 0,0 0 0,0 13 15,0-13-15,-13 0 0,13 0 16,-27 14-16,1-14 0,12 0 0,-12 0 16,-1 13-16,-13-13 0,14 0 0,-14 0 15,0 0-15,1 0 0,12 13 16,-13-13-16,1 13 0,-1-13 16,0 13-16,0 1 15,-13-1-15,0 0 0,0 14 16,13-14-16,-13 0 15,0 14-15,0-1 0,0 0 0,0 1 16,0 13-16,-13-1 0,13 14 0,0-13 16,-13 13-16,13 13 0,-13-13 15,0 13-15,13-13 0,-14 13 0,1-13 16,13 0-16,0-13 0,-13 13 0,0-14 16,13 14-16,0-13 0,-14 13 0,14-14 15,0 1-15,0 13 0,0-27 16,0 14-16,0-13 0,0-1 0,0 1 15,0-1-15,0 0 0,14-12 0,-14-1 16,0 13-16,0-12 16,0-1-16,13 0 0,-13 0 15,0 0-15,0 1 0,0-1 16,-13-13 0,13 13-16,-14-13 15,1 0-15,0 0 0,0 0 0,-1 0 16,-12-13-16,13 13 0,-14 0 0,1 0 15,-14 0-15,14-13 0,-27 13 16,13 0-16,-13-14 0,14 14 0,-14-13 16,13 13-16,-13-13 0,0 13 15,0-13-15,13 0 0,-12 13 0,-1-14 16,0 14-16,0-13 0,0 13 16,-13-13-16,13 0 0,0 13 0,0-14 15,0 14-15,0-13 0,-13 13 0,13-13 16,0 13-16,-13 0 0,13-13 15,-26 13-15,26 0 0,0 0 0,-13-13 16,13 13-16,0 0 0,-26 0 0,26-14 16,-27 14-16,27 0 0,-26 0 0,26-13 15,0 13-15,-13 0 0,13 0 16,0 0-16,0-13 0,-13 13 0,13 0 16,0 0-16,-13 0 0,13-13 0,0 13 15,-13 0-15,13 0 0,0-14 16,0 14-16,0 0 0,1 0 15,-1 0-15,0-13 0,0 13 0,0 0 16,0 0-16,0-13 0,0 13 0,0 0 16,0 0-16,14-13 0,-14 13 15,0 0-15,13-14 0,-13 14 0,13 0 16,-12-13-16,-1 13 0,13 0 0,-13-13 16,13 13-16,1 0 0,-1 0 15,0-13-15,14 13 0,-27 0 0,13 0 16,14 0-16,-14-13 0,0 13 0,1 0 15,12 0-15,-12 0 0,12 0 0,-13 0 16,1 0-16,12 0 0,-12 0 16,-1 0-16,13 13 0,-12-13 15,12 0-15,-12 0 0,12 0 0,-13 0 16,1 0-16,12 0 0,-12 13 0,12-13 16,-13 0-16,14 0 0,-14 0 15,1 13-15,-1-13 0,14 0 0,-14 0 16,13 0-16,-12 0 0,-1 0 0,0 0 15,1 13-15,-1-13 0,0 0 16,-13 0-16,27 0 0,-14 0 16,-13 14-16,14-14 0,-1 0 0,-13 0 15,13 0-15,-13 0 0,0 0 0,1 0 16,-1 0-16,0 0 0,13 13 16,-13-13-16,0 0 0,0 0 0,0 0 15,0 0-15,1 0 0,-15 0 0,14 0 16,-13 13-16,0-13 0,0 0 15,0 0-15,13 13 0,-26-13 0,12 0 16,-12 14-16,0-14 0,13 13 0,-14-13 16,14 13-16,-13-13 0,12 13 0,1 1 15,0-14-15,0 13 0,-13-13 16,13 13-16,-1 0 0,1-13 0,0 13 16,13-13-16,0 14 0,0-14 0,-13 0 15,13 13-15,0-13 0,-13 13 16,0 0-16,13-13 0,0 14 15,-13-14-15,13 0 0,0 13 0,0-13 16,0 0-16,1 13 0,-1-13 0,13 0 16,-13 13-16,0-13 0,13 0 15,1 0-15,-14 0 0,13 0 0,0 13 16,-12-13-16,12 0 0,-13 0 16,13 0-16,-13 0 0,14 0 0,-14 0 15,13 0-15,-13 14 0,13-14 0,-13 0 16,1 0-16,12 0 0,-13 13 15,26-13-15,-25 0 0,12 0 0,0 0 16,1 0-16,12 0 0,-13 0 16,14 0-16,-14 0 0,-13 0 0,14 13 15,-1-13-15,-13 0 0,13 0 0,-13 0 16,1 0-16,12 0 0,-13 0 16,13 13-16,1-13 0,-14 0 0,13 0 15,0 0-15,-13 0 0,14 14 0,-1-14 16,-13 0-16,13 0 0,-13 0 15,14 0-15,-14 0 0,13 0 0,14 0 16,-14 0-16,-13 0 0,13 0 0,14 0 16,-14 0-16,1 0 0,-14 0 0,13-14 15,-13 14-15,13 0 0,1 0 16,-1 0-16,0-13 0,14 13 16,-14 0-16,14 0 0,-14 0 0,14-13 15,-1 13-15,-13 0 0,14 0 16,-1-13-16,1 13 0,0 0 0,-1-14 15,-13 1-15,14 13 0,13 0 16,-14-13-16,1 13 0,-1 0 0,14-13 16,0 13-16,-14 0 0,14-13 15,-13 13-15,12 0 0,1 0 0,0-14 16,0 14-16,0 0 0,-1 0 0,1 0 16,0 0-16,0 0 0,13-13 15,-14 13-15,1 0 0,0 0 0,0 0 16,0 0-16,-1 0 15,1 0-15,0 0 0,0 13 0,-1-13 16,1 0-16,0 0 0,0 0 16,-1 0-16,1 0 0,0 0 15,0 0-15,0 0 0,-1 0 16,1 0-16,0 14 16,0-14-1,-1 0-15,1 0 31,40 0-15</inkml:trace>
  <inkml:trace contextRef="#ctx0" brushRef="#br1" timeOffset="177885.78">17079 9962 0,'0'-27'47,"-13"14"-31,13 0-16,0-14 16,-14 1-16,14 12 0,0-25 0,-13-1 15,13 0-15,-13-12 0,13 12 0,-13-13 16,13 0-16,0 13 0,-14-13 0,14 14 15,0 12-15,0 1 0,-13-1 16,13 14-16,0-13 0,0 12 0,0 1 16,0 0-16,13 13 15,1 26 1,-14-12-16,13 12 0,0 14 0,0-1 16,14 1-16,-14 0 0,0-14 0,1 14 15,-1 0-15,0-14 0,0 1 16,0-1-16,1-13 0,-1 1 15,-13 12-15,13-13 0,0 0 16,-26 1-16,13-1 16,-13-13-16,-14 0 0,14 0 15,-13 0-15,-1 0 0,-12 0 0,12 0 16,-26 0-16,0 0 0,0 0 0,14-13 16,-14 13-16,13 0 0,14-14 15,-1 14-15,1 0 0,13-13 0,-1 13 16,1-13-16,13 0 0,13-14 15,1 14-15,12-13 0,14-14 16,13 0-16,0 14 0,-1-14 16,28-13-16,12 13 0,-25 1 0,-1-1 15,0 14-15,13-1 0,-13 1 0,-13-1 16,-13 14-16,0 13 0,-1-13 16,-25 13-16,-1 13 0,0 0 0,-13 1 15,0 12-15,-13 0 0,-14 41 0,-12-15 16,12 1-16,-13 14 0,-12-1 15,-1 0-15,0 0 0,13-13 0,0 0 16,-26 13-16,27-13 0,-1 0 0,13-14 16,1 14-16,-1-13 0,1-13 15,13-1-15</inkml:trace>
  <inkml:trace contextRef="#ctx0" brushRef="#br1" timeOffset="190989.84">18534 1005 0,'13'0'31,"1"0"-31,-1 0 16,0 0-16,13-13 15,-12 13 1,-1 0-16,-53 0 31,27 13-31,-13 1 16,-1-14-16,14 13 0,-14 0 16,14 0-16,0-13 0,0 14 0,-1-14 15,1 13-15,0-13 0,13 13 0,13 0 31,0 0-31,1-13 0,-1 0 16,13 14-16,-12-14 0,-1 0 16,0 13-16,0-13 0,1 13 0,-1-13 15,0 0-15,0 13 0,0-13 16,-13 14-16,0-1 16,-13 0-16,0-13 0,0 13 0,0 1 15,-1-1-15,-12 0 0,13 0 16,-14 0-16,1 1 0,12-14 0,-12 13 15,13-13-15,0 13 0,-1-13 0</inkml:trace>
  <inkml:trace contextRef="#ctx0" brushRef="#br1" timeOffset="191306.67">18746 1045 0,'-27'27'31,"27"-14"-31,0 0 16,0 0-16,-13 0 0,13 1 15,13-1-15,-13 0 0,0 0 0,13 1 16,1-1-16,-1-13 0,0 0 16,0 0-16,1 0 0,-1 0 15,0 0-15,0 0 0,1-13 0,-1-1 16,13 14-16,-13-13 0,-13 0 0,14 0 15,-14-1-15,0 1 0,0 0 16,0 0-16,0-14 0,-14 14 0,14 0 16,-13 0-16,0 13 0,0-14 15,13 1-15,-13 13 0,-1 0 0,1-13 16,0 13-16,-14 13 0,14-13 16,0 0-16,13 13 0,-13-13 0,-1 14 15</inkml:trace>
  <inkml:trace contextRef="#ctx0" brushRef="#br1" timeOffset="191501.46">19169 913 0,'0'0'0,"13"0"0,1 13 32,-14 0-17,-14 0-15,1 1 16,0 12-16,13-13 0,-13 14 15,-14-1-15,14 1 0,13-14 16,-13 13-16,-1-12 0,1 12 0,0-13 16,0 1-16,13-1 0</inkml:trace>
  <inkml:trace contextRef="#ctx0" brushRef="#br1" timeOffset="191640.51">18971 966 0,'0'-14'16,"13"14"-1</inkml:trace>
  <inkml:trace contextRef="#ctx0" brushRef="#br1" timeOffset="191765.61">19275 1045 0,'0'13'16,"13"-13"0,0-13-1</inkml:trace>
  <inkml:trace contextRef="#ctx0" brushRef="#br1" timeOffset="192017.71">19936 1045 0,'0'0'0,"40"-13"16,-27 13-16,14 0 16,-14 0-16,0-13 0,0 13 0,1 13 15,-1-13-15,0 0 0,-13 13 0</inkml:trace>
  <inkml:trace contextRef="#ctx0" brushRef="#br1" timeOffset="192180.67">19923 1244 0,'27'-14'47,"-14"14"-31,0-13-16,0 13 0,0-13 0,1 13 16,12-13-16,-13 13 0,1-14 15,-1 14-15</inkml:trace>
  <inkml:trace contextRef="#ctx0" brushRef="#br1" timeOffset="192689.76">20849 939 0,'-26'-13'31,"-1"26"-31,14-13 16,0 0-16,0 13 0,-1-13 0,1 0 15,0 0-15,0 0 0,-1 0 0,14 14 16,-13-14-16,13 13 0,-13 0 16,26 0-1,-13 1 1,13-14-16,-13 13 16,14-13-16,-1 13 15,-13 0 16,0 1-31,0-1 0,0 0 16,0 0-16,-13 0 16,-1 1-1,1-1-15,0-13 0,0 13 16,0-13-16,-1 13 0,1-13 0,-13 0 16</inkml:trace>
  <inkml:trace contextRef="#ctx0" brushRef="#br1" timeOffset="193019.57">20981 952 0,'-26'40'16,"13"-27"-16,13 1 15,0-1-15,0 0 16,0 0-16,13-13 0,-13 14 16,13-14-16,0 13 0,1-13 15,-1 0-15,0 0 0,0 0 0,1 0 16,-1 0-16,0 0 0,0-13 0,1-1 16,-1 14-16,-13-13 15,0 0-15,13 0 0,-26-1 16,13 1-16,0 0 0,-13 0 0,-1-1 15,1 14-15,0 0 16,0 0-16,-1 0 0,1 0 0,0 0 16,0 0-16,-1 14 0,-12-1 0,13 0 15,-14 0-15,14 1 0</inkml:trace>
  <inkml:trace contextRef="#ctx0" brushRef="#br1" timeOffset="193308.83">20439 1482 0,'106'-27'31,"-66"14"-31,-1 0 0,14 0 15,-13 13-15,13-14 0,0 1 0,-14 0 16,14 13-16,0-13 0,-13-1 16,13 14-16,-27 0 0,1-13 0,-1 13 15,-13 0-15,14 0 0,-14 0 16,0 0-16,-26 13 16,0 1-1,0-14-15</inkml:trace>
  <inkml:trace contextRef="#ctx0" brushRef="#br1" timeOffset="193537.02">20796 1680 0,'-13'27'0,"0"25"31,0-25-31,13-14 0,0 0 16,-14 14-16,14-14 0,-13 14 0,13-14 16,0 0-16,-13 0 0,13 14 0,-13-14 15,13 0-15,0 0 16,0 1-16,13-14 16</inkml:trace>
  <inkml:trace contextRef="#ctx0" brushRef="#br1" timeOffset="193844.71">20955 1720 0,'0'0'0,"-26"13"16,12-13-16,14 13 0,0 0 16,-13-13-16,13 14 0,0-1 0,0 0 15,0 0-15,0 1 16,0-1-16,13-13 15,1 0-15,-1 0 16,0-13-16,0-1 16,-13 1-16,13 13 15,-13-13-15,0 0 0,14-1 16,-14 1-16,0 0 16,0 0-16,0 0 15,13 13 1,0 13-1,0 0-15</inkml:trace>
  <inkml:trace contextRef="#ctx0" brushRef="#br1" timeOffset="194028.41">21087 1786 0,'14'13'0,"-28"-26"0,41 26 0,-27 0 15,13-13-15,13 0 16,-12 0 0,-1 0-16,0 0 0,0 0 15,1-13-15,-1 0 16,0 0-16,-13-1 15,13 14-15,-13-13 0,0 0 16,0 0-16,-13 0 0,13-1 16,-13 1-16,0 0 0,-1 0 0,1 13 15,0-14-15,0 1 0,-14 0 16,14 0-16,-13 0 0</inkml:trace>
  <inkml:trace contextRef="#ctx0" brushRef="#br1" timeOffset="194869.69">21709 1204 0,'66'-27'16,"-53"14"-1,27 13-15,-13-13 0,-14 13 0,13 0 16,1 0-16,-14 0 0,13 0 0,-12 0 16,-1 0-16</inkml:trace>
  <inkml:trace contextRef="#ctx0" brushRef="#br1" timeOffset="195036.86">21736 1389 0,'105'-13'31,"-78"0"-31,-14 13 16,14 0-16,-1-14 0,0 14 16</inkml:trace>
  <inkml:trace contextRef="#ctx0" brushRef="#br1" timeOffset="195697.81">22926 952 0,'0'0'0,"-13"14"16,0-1-16,-1 0 16,14 0-16,0 1 0,-13-1 15,13 0-15,0 0 0,0 1 16,0 12-16,0-13 0,0 0 0,13 1 16,-13-1-16,14-13 0,-14 13 0,13 0 15,0-13-15,14 14 16,-14-14-16,0 13 0,0-13 15,1-13-15,-1 13 0,0-14 16,0 1-16,-13 0 0,0 0 16,0-1-16,0 1 0,0 0 0,0 0 15,0 0-15,0-1 0,0 1 16,-13 0-16,13 0 0,-13 13 0,13-14 16,0 1-16,-13 13 0,-1-13 0,1 13 15,0 0 1</inkml:trace>
  <inkml:trace contextRef="#ctx0" brushRef="#br1" timeOffset="195844.08">23217 1045 0</inkml:trace>
  <inkml:trace contextRef="#ctx0" brushRef="#br1" timeOffset="196163.74">23429 926 0,'-27'13'16,"14"0"0,26 1-1,1-1-15,-14 0 16,13 0-16,0 1 15,-13-1-15,13 0 0,-13 0 16,0 1-16,0-1 0,0 0 16,-13-13-16,0 13 0,0 0 15,-1 1-15,1-1 0,-13 0 0,12 0 16,1 1-16,0-14 0,0 13 0,0 0 16</inkml:trace>
  <inkml:trace contextRef="#ctx0" brushRef="#br1" timeOffset="196344.71">23720 1138 0,'-53'39'16,"27"-25"-16,-14-1 0,13 13 15,-26 1-15,14-1 0,-14 1 16,13-1-16,0-13 0,1 14 0,26-14 15,-1 0-15,1-13 0,13 14 0</inkml:trace>
  <inkml:trace contextRef="#ctx0" brushRef="#br1" timeOffset="196485.68">23641 1363 0,'-146'119'15,"-158"145"1,224-184-16,1-14 0,-14 0 0</inkml:trace>
  <inkml:trace contextRef="#ctx0" brushRef="#br1" timeOffset="198431.87">18997 2619 0,'27'0'16,"-14"14"0,0-1-16,-13 0 15,13 0-15,-13 1 16,0-1-16,13 0 16,-13 0-16,14-13 15,-1 13-15,-13 1 0,13-1 16,0 0-16,-13 0 15,0 1-15,-13-1 16,13 0-16,-13 0 0,13 1 16,-13-14-16,-1 13 0,1 0 0,0 0 15,0-13-15,13 13 0,-13-13 0,-1 0 16,1 0-16,13-13 16,0 0-1</inkml:trace>
  <inkml:trace contextRef="#ctx0" brushRef="#br1" timeOffset="198688">19182 2659 0,'14'0'16,"-28"0"-16,41 0 15,-27 13-15,13 1 16,0-1-16,-13 0 0,13-13 16,-13 13-16,14-13 0,-14 13 0,13-13 15,13 0 1,1 0-16,-14 0 15,-13-13-15,13 13 0,-13-13 16,0 0-16,0 0 16,0-1-16,0 1 0,-13 0 15,13 0-15,-13-1 16,0 14 0,-1 0-16,1 0 15,0 0-15,13 14 0</inkml:trace>
  <inkml:trace contextRef="#ctx0" brushRef="#br1" timeOffset="198924.56">19751 2566 0,'-26'27'32,"26"-14"-32,-14 0 0,1 14 15,0-14-15,-13 14 0,12-14 16,-12 13-16,13-13 0,-1 1 0,1 12 16,0-26-16,0 13 0,13 1 15</inkml:trace>
  <inkml:trace contextRef="#ctx0" brushRef="#br1" timeOffset="199069.93">19513 2646 0,'0'0'0,"0"-13"16</inkml:trace>
  <inkml:trace contextRef="#ctx0" brushRef="#br1" timeOffset="199183.87">19645 2725 0,'14'13'32,"-1"-26"-17</inkml:trace>
  <inkml:trace contextRef="#ctx0" brushRef="#br1" timeOffset="199407.9">20386 2553 0,'13'0'16,"1"-13"-16,-1 13 0,0 0 15,0 0-15,1 0 0,-1 0 16,0 0-16,0 13 0</inkml:trace>
  <inkml:trace contextRef="#ctx0" brushRef="#br1" timeOffset="199556.77">20346 2765 0,'-13'0'16,"53"0"-1,-27 0 1,0-13-16,14 13 0,-1-14 16,1 14-16,-1-13 0,1 0 0,12 0 15,-12 13-15</inkml:trace>
  <inkml:trace contextRef="#ctx0" brushRef="#br1" timeOffset="200380.91">21153 2566 0,'-13'0'32,"13"14"-32,-13-14 15,26-14 63,0 1-62,1 13-16,-1 0 0,0 0 16,0 0-16,1 0 15,-1 0-15,0 13 16,-13 1-1,0-1 1,-13-13 0,13 13-16,0 0 15,13 1-15,-13-1 16,13 0-16,-13 0 16,0 1-16,13-14 15,-13 13-15,0 0 0,-13 0 16,0 0-1,0 1-15,0-14 0,-1 0 16,14 13-16,-13-13 0,0 0 16</inkml:trace>
  <inkml:trace contextRef="#ctx0" brushRef="#br1" timeOffset="200657.81">21405 2606 0,'13'13'16,"-13"1"0,0-1-16,13 0 15,0-13-15,-13 13 16,14-13-16,-1 0 0,0 0 0,0 0 16,1-13-16,-1 13 15,0-13 1,-13 0-16,0-1 15,0 1-15,-13 0 0,0 0 16,-1-1-16,1 14 16,0 0-16,0 0 0,-14 0 15,14 0-15,13 14 0,-13-14 16,0 0-16,-1 13 0</inkml:trace>
  <inkml:trace contextRef="#ctx0" brushRef="#br1" timeOffset="200872.69">21802 2553 0,'0'13'15,"0"-26"-15,0 53 16,-14-27-16,14 0 0,-26 27 16,13-13-16,-14-1 0,1 27 0,-14-13 15,14-1-15,-14 1 0,0 0 16,1-1-16,12 1 0,1-14 0,-1 1 15,1-1-15,-1 1 0,14-14 0,0 0 16,0 1-16,13-1 0,-14-13 0,14 13 16,-13-13-16</inkml:trace>
  <inkml:trace contextRef="#ctx0" brushRef="#br1" timeOffset="201080.57">21630 2990 0,'13'13'16,"-26"0"-1,13 0-15,0 1 16,0-1-16,-14 0 0,14 0 0,0 1 16,-13-1-16,13 0 0,-13 0 0,13 1 15,0-1-15,0 0 16,0 0-1</inkml:trace>
  <inkml:trace contextRef="#ctx0" brushRef="#br1" timeOffset="201560.83">21828 3016 0,'-13'13'31,"13"1"-16,0-1-15,13 0 16,0-13 0,1 0-16,-1 0 0,0 0 15,0 0-15,1-13 16,-1 0-16,-13-1 16,0 1-16,13 13 15,-13-13 1,0 0-16,0 0 31,13 13 0,0 13-15,1-13 0,-14 13-16,13-13 15,0 0-15,0 0 31,1 0-31,-1-13 16,-13 0 0,13-1-16,-13 1 15,0 0 1,0 0-16,0-1 16,13 1-16,-13 0 15,0 0-15,0 0 0</inkml:trace>
  <inkml:trace contextRef="#ctx0" brushRef="#br1" timeOffset="201745.67">22503 2527 0,'26'-13'0,"-52"26"0,79-26 0,-40 13 16,0 0-16,0-14 0,1 14 16</inkml:trace>
  <inkml:trace contextRef="#ctx0" brushRef="#br1" timeOffset="201897.5">22450 2686 0,'40'-14'16,"-27"1"-16,0 13 15,13 0-15,-12 0 0,12-13 0,-13 13 16</inkml:trace>
  <inkml:trace contextRef="#ctx0" brushRef="#br1" timeOffset="202772.2">23416 2394 0,'-14'0'15,"1"0"-15,13 14 0,-13-1 16,0 0-16,13 0 0,0 1 15,-14-1-15,14 0 0,0 0 0,0 1 16,14-1-16,-14 0 16,13 0-16,0 0 0,0-13 15,1 0-15,-1 14 0,0-14 16,0 0-16,1-14 16,-1 14-16,-13-13 0,13 13 0,-13-13 15,0 0-15,0 0 0,0-1 0,0 1 16,0 0-16,0 0 15,0-1-15,-13 1 0,0 0 16,-1 0 0,1 13-16,0 0 15</inkml:trace>
  <inkml:trace contextRef="#ctx0" brushRef="#br1" timeOffset="202864.97">23535 2421 0,'13'0'16</inkml:trace>
  <inkml:trace contextRef="#ctx0" brushRef="#br1" timeOffset="203612.89">23812 2302 0,'-13'13'31,"26"0"-16,-13 1 1,14-14-16,-14 13 0,13-13 16,0 13-16,0 0 0,1 0 15,-14 1-15,13-14 16,-13 13-16,0 0 0,0 0 16,0 1-16,-13-1 0,13 0 15,-14-13-15,1 13 0,0 1 16,0-1-16,-1-13 0,-12 13 15,13 0-15,0 0 0,-14 1 0,14-14 16,0 13-16,-1 0 0</inkml:trace>
  <inkml:trace contextRef="#ctx0" brushRef="#br1" timeOffset="204592.56">19791 2752 0,'13'0'31</inkml:trace>
  <inkml:trace contextRef="#ctx0" brushRef="#br1" timeOffset="205328.89">19738 2937 0,'40'-27'0,"-27"27"0,53-52 16,-53 38 0,14-12-16,-14 13 0,13-14 0,-12 1 15,-1-1-15,0 1 0,0-14 0,0 14 16,1-1-16,-14 1 0,0-1 15,0 1-15,-14-1 0,1 1 0,0-1 16,0 1-16,-14-1 0,1 14 0,-1 13 16,1-13-16,0 13 15,-14 0-15,0 13 0,14 0 0,-14 1 16,0-1-16,14 0 0,-14 14 0,14-1 16,-1 1-16,1 12 0,-1-12 15,14-1-15,-13 14 0,12-14 0,14 1 16,-13-1-16,13-13 0,0 14 0</inkml:trace>
  <inkml:trace contextRef="#ctx0" brushRef="#br1" timeOffset="208151.99">22093 2884 0,'-14'-13'15,"1"26"32,0 0-47,13 0 0,-13-13 16,0 14-16,13-1 0,-14 0 15,14 0-15,0 1 0,-13-1 0,13 0 16,0 0-16,0 0 16,0 1-1,13-14-15,14-14 16,-27 1-1,13 13-15,-13-13 0,13 13 16,-13-13-16,0 0 0,0-1 16,0 1-16,0 0 15,-13 13-15,-13 0 16,12 13-16</inkml:trace>
  <inkml:trace contextRef="#ctx0" brushRef="#br1" timeOffset="208415.81">21815 3003 0,'-13'-13'0,"-1"13"15,1 0-15,13 13 0,-13 0 16,0-13-16,0 13 0,13 1 16,-14-1-16,1 0 0</inkml:trace>
  <inkml:trace contextRef="#ctx0" brushRef="#br1" timeOffset="210380.81">23667 2222 0,'26'-13'63,"-12"13"-48,-1 0-15,0 0 0,0 0 16,1 0-16,-1 0 0,-13 13 15,13-13-15,0 0 0,0 0 16,1 14-16,-1-1 16,-26 0-1,13 0 1,-14 1-16,1-1 16,0 0-1,0 0 32,26-13-31,0 14-1,0-14-15,-13 13 16,14-13 0,-1 0-16,-13 13 15,0 0 1,-13 0-1,-1-13-15,14 14 16,-13-14-16,0 13 0,0-13 16</inkml:trace>
  <inkml:trace contextRef="#ctx0" brushRef="#br1" timeOffset="210606.84">24183 2368 0,'0'13'0,"-13"14"15,-1-14-15,1 0 0,0 0 0,0 14 16,-14-14-16,14 14 0,-13-1 15,-1 0-15,1-12 0,12 12 0,-12-13 16,13 1-16</inkml:trace>
  <inkml:trace contextRef="#ctx0" brushRef="#br1" timeOffset="210768.63">24342 2487 0,'-14'27'0,"1"-14"0,-13 0 16,13 13-16,-27 1 0,13-1 16,-12 14-16,-1 0 0,0-1 0,-13 1 15,14 0-15,-14 0 0,13-1 16</inkml:trace>
  <inkml:trace contextRef="#ctx0" brushRef="#br1" timeOffset="-211863.75">2421 7263 0,'-40'0'0,"80"0"0,-93 0 0,40 0 16,0-13-16,-1 13 16,54 0 15,-14 0-31,14 0 0,26 0 15,0-14-15,14 14 0,-1-13 16,1 0-16,12 0 0,27-1 0,0-12 16,0 13-16,14-14 0,-14 14 0,0 0 15,13 0-15,-39-1 0,-1 1 0,-12 0 16,12 13-16,-12-13 0,-14 13 16,13-14-16,-39 14 0,13 0 0,-14 0 15,-12 0-15,-1 0 0,-12 0 0,12 0 16,-13 0-16,1 0 15,-1 0-15,-26 27 16,-14-14 0,14 0-16,-14 1 0,-12-1 15,-1 13-15</inkml:trace>
  <inkml:trace contextRef="#ctx0" brushRef="#br1" timeOffset="-211269.13">2328 8096 0,'-13'0'0,"53"-13"15,-14 0 1,14 13-16,26-13 0,13-1 0,1 1 16,26 0-16,13 0 0,13-1 0,0 1 15,1 0-15,-1 0 0,0-14 16,0 14-16,-12 0 0,-28 0 15,1-1-15,-1 1 0,-12 0 16,-1 0-16,0-1 0,-12 14 0,-14-13 0,-1 13 16,-12 0-16,0-13 0,-14 13 15,1 0-15,-14 0 0,13 0 0,-12 0 16,-1 0-16,0 0 0,0 0 16,-52 0 15,25 0-31,-12 0 15,13 0-15,0 0 0,-14 0 16,14 13-16</inkml:trace>
  <inkml:trace contextRef="#ctx0" brushRef="#br1" timeOffset="-210498.84">2778 7646 0,'13'14'31,"1"-14"-31,-14 13 0,0 0 16,13 0-16,-13 1 0,0-1 0,0 0 15,13 0-15,-13 1 0,13 12 16,-13 14-16,0-27 15,0 0-15,14-13 0,-14 13 0,0 1 16,0-1-16,13-13 16</inkml:trace>
  <inkml:trace contextRef="#ctx0" brushRef="#br1" timeOffset="-210150.26">2990 7686 0,'0'-13'15,"0"0"1,0 39 15,13-13-31,-13 1 0,13-1 16,-13 0-16,13-13 0,1 13 16,-1-13-16,-13 14 0,13-14 15,0 0-15,1 0 0,-1 0 16,0-14-16,-13 1 15,13 13-15,-13-13 16,0-14 0,-13 14-16,13 0 0,-13 0 15,13-1-15,-13 14 0,13-13 16,-14 13-16,14-13 0,-13 13 16,0-13-16,0 13 15</inkml:trace>
  <inkml:trace contextRef="#ctx0" brushRef="#br1" timeOffset="-209847.06">3162 7594 0,'13'13'0,"-26"-26"0,26 39 16,-13-13-1,13-13-15,-13 13 0,13 1 16,-13-1-16,14 0 0,-1-13 15,0 13-15,0-13 16,1 0-16,-1-13 0,0 13 16,0 0-16,1-13 0,-1 13 0,0 0 15,0-13-15,0-1 16,-13 1-16,14 13 0,-14-13 0,0 0 16,0 0-16,-14 13 0,14-14 15,-13 1-15,0 0 16,0 0-16,0 13 15,-1 0-15,1 0 0,0 0 16,0 0-16,-1 13 16,14 0-1</inkml:trace>
  <inkml:trace contextRef="#ctx0" brushRef="#br1" timeOffset="-209635.25">3757 7329 0,'0'0'0,"0"13"31,0 0-31,0 1 16,0-1-16,-13 13 0,13-12 0,0-1 15,0 13-15,-13-13 0,13 14 16,-14-14-16,14 0 0,0 14 0,-13-14 15,13 0-15,0 14 0,-13-14 0,13 0 16,0 0-16,-13-13 0</inkml:trace>
  <inkml:trace contextRef="#ctx0" brushRef="#br1" timeOffset="-209503.6">3572 7594 0,'0'-14'16</inkml:trace>
  <inkml:trace contextRef="#ctx0" brushRef="#br1" timeOffset="-208254.81">3545 6297 0</inkml:trace>
  <inkml:trace contextRef="#ctx0" brushRef="#br1" timeOffset="-207852.6">3572 6959 0,'13'0'16</inkml:trace>
</inkml:ink>
</file>

<file path=ppt/ink/ink13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29:07.404"/>
    </inkml:context>
    <inkml:brush xml:id="br0">
      <inkml:brushProperty name="width" value="0.05292" units="cm"/>
      <inkml:brushProperty name="height" value="0.05292" units="cm"/>
      <inkml:brushProperty name="color" value="#0070C0"/>
    </inkml:brush>
  </inkml:definitions>
  <inkml:trace contextRef="#ctx0" brushRef="#br0">20717 2990 0,'-13'0'0,"-1"0"0,-25 39 16,12-25-16,14 12 15,-13 1-15,-1-1 0,14 1 0,-14-1 16,14 14-16,-13-14 0,13 14 15,-1-14-15,1 14 0,0-14 16,13 1-16,-13-1 0,13 14 16,0-27-16,13 0 0,-13 14 0,13-14 15,0 0-15,1-13 0,-1 14 16,13-1-16,-13-13 0,1 0 0,12 0 16,-13 0-16,14 0 0,-14 0 0,14-13 15,-14 13-15,0-14 0,13 1 0,-12 0 16,-1 0-16,0-1 0,0 1 15,-13 0-15,0 0 0,14 0 0,-14-1 16,0 1-16,0 0 0,-14 13 0,14-13 16,0-1-16,-13 14 0,13-13 0,-13 0 15,0 13-15,-1-13 16,1 13-16,0 0 0,-13 0 16,12 0-16,1 13 15,0-13-15</inkml:trace>
  <inkml:trace contextRef="#ctx0" brushRef="#br0" timeOffset="250.51">21061 3056 0,'0'40'31,"-13"-14"-15,13 1-16,-14-1 0,1 0 16,0 1-16,0 13 0,-1-14 0,1 1 15,13-1-15,-13 0 0,13 1 0,-13-14 16,0 0-16,13 14 0,0-14 16,-14 0-16,14 0 0,0 1 15,-13-14-15</inkml:trace>
  <inkml:trace contextRef="#ctx0" brushRef="#br0" timeOffset="874.64">21034 2394 0,'-291'-13'0,"212"26"0,-186 67 15,173-27-15,12 0 16,1 0-16,0 0 0,-1 13 0,14 0 15,0 13-15,13-13 0,13 14 0,1-14 16,-1 0-16,27 0 0,-14 0 16,14 0-16,13 1 0,13-1 0,1 0 15,12 0-15,14 13 0,13 1 0,0-14 16,13 0-16,0-13 0,0 0 16,0-13-16,0-1 0,0-12 15,1-1-15,-1 1 0,0-14 0,0 0 16,-13 0-16,0-13 0,0 0 0,-14-13 15,28 0-15,-1 0 0,-13-14 16,13-12-16,0 12 0,0-13 0,0-26 16,14 13-16,-1-13 0,-13 0 0,0 0 15,0-14-15,1 14 0,-1 0 16,-13 0-16,0 13 0,-14 0 0,1 0 16,-14 0-16,1 0 0,-1-13 0,-12 13 15,-14 14-15,0-14 0,-14 0 0,-12-13 16,-1 13-16,-12 0 0,-1 0 15,0 0-15,1 0 0,-14 0 0,0 14 16,-13-1-16,-14-13 0,14 13 0,0 14 16,0-1-16,0 1 15,0 13-15,-14-14 0,14 14 0,-13 13 16,-1-13-16,1 13 0,0 0 0,-1 13 16,1-13-16,-1 26 0,14-12 0,0 12 15,0 1-15,13-1 0,-13 0 16,26 14-16,0 0 0,1 0 0,12-14 15,14 14-15</inkml:trace>
  <inkml:trace contextRef="#ctx0" brushRef="#br0" timeOffset="1657.87">20770 3360 0,'-13'-26'15,"-1"26"-15,1 0 0,0 0 16,0 0-16,-1 0 0,-12 0 15,13 0-15,-14 13 0,-12 0 0,-1 0 16,13 1-16,-12-1 0,12 13 0,-12-12 16,12 12-16</inkml:trace>
  <inkml:trace contextRef="#ctx0" brushRef="#br0" timeOffset="3148.53">20942 4326 0,'0'159'32,"13"-106"-32,-13 0 15,13 13-15,-13-13 0,0 13 16,0 0-16,0-13 0,0 0 0,0 0 16,0-14-16,0 1 0,0 13 15,0-27-15,0 14 0,0-13 0,0-1 16,0-13-16,0 14 0,0-14 15,-13 0-15,13 0 0</inkml:trace>
  <inkml:trace contextRef="#ctx0" brushRef="#br0" timeOffset="3423.44">21048 4233 0,'0'0'0,"-27"14"16,14-1-16,-14 0 0,1 13 0,0 14 15,-14 0-15,13 13 0,1-14 0,-14 14 16,14-13-16,-40 66 0,39-53 15,1-14-15,13 14 16,-14-26-16,14 13 0,0-14 0,-1 0 0,14 1 16,-13-14-16,13 0 0,0 1 15</inkml:trace>
  <inkml:trace contextRef="#ctx0" brushRef="#br0" timeOffset="3663.53">20876 4220 0,'39'27'0,"160"171"31,-146-145-31,-14-13 0,1-1 16,0 1-16,-1 0 0,1-1 15,-13 1-15,12-14 0,-12 1 0,-14-1 16,13 1-16,-12-14 0,-1 0 15,0 14-15,-13-14 0,13 0 0,-13 0 16,0 1-16,0-1 16,14-13-16</inkml:trace>
  <inkml:trace contextRef="#ctx0" brushRef="#br0" timeOffset="4800.33">23508 13401 0,'13'146'16,"-13"-107"-1,-13 1-15,13 13 0,0-13 16,-13-1-16,13 1 0,0 0 15,-13-1-15,13 1 0,0 0 0,0-14 16,0 1-16,0-14 0,0 13 0,0 1 0,0-14 16,-13 0-16,13 1 0,0-1 15</inkml:trace>
  <inkml:trace contextRef="#ctx0" brushRef="#br0" timeOffset="5212.91">23376 13388 0,'13'-13'0,"0"13"16,1-14-16,12 1 0,1 13 16,12-13-16,1 0 0,13 0 15,0-14-15,13 14 0,0 0 0,0-14 16,0 14-16,0-14 0,14 14 15,-14 0-15,13 0 0,-12 0 0,12-1 16,-13 1-16,-13 0 0,0 13 0,-13 0 16,-1-13-16,1 13 0,-14 0 15,1 0-15,-14 0 0,14 0 16,-14 0-16,0 0 0,0 0 0,0 13 0,1-13 16,-1 13-16,0-13 15,-13 13-15,13 1 0,1-1 16,-14 0-16,13 0 0,13 40 15,-26-40-15,14 14 0,-1-1 0,0 1 16,13 12-16,-12-12 0,12-1 16,-13 14-16,14-13 0,-1 12 0,1 1 15,-1 0-15,1-14 0,-1 0 0,1 14 16,-1-13-16,14 12 0,-14-12 16,1-1-16,-1 1 0,1-1 0</inkml:trace>
  <inkml:trace contextRef="#ctx0" brushRef="#br0" timeOffset="5378.31">25374 13864 0,'-67'291'0,"28"-278"15,-14 1-15,13-1 0,-26 0 0,13 0 16,-13 1-16,0-1 0,0 0 0,-14 0 15</inkml:trace>
</inkml:ink>
</file>

<file path=ppt/ink/ink13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36:50.447"/>
    </inkml:context>
    <inkml:brush xml:id="br0">
      <inkml:brushProperty name="width" value="0.05292" units="cm"/>
      <inkml:brushProperty name="height" value="0.05292" units="cm"/>
      <inkml:brushProperty name="color" value="#0070C0"/>
    </inkml:brush>
  </inkml:definitions>
  <inkml:trace contextRef="#ctx0" brushRef="#br0">19447 6720 0,'0'27'31,"-13"-27"-15,13 13-16,0 0 0,0 1 16,0-1-16,0 0 0,0 0 15,-14 0-15,14 14 16,0-14-1,0-39 17,0 12-17,0 1-15,0-13 0,0 13 0,0-1 16,0 1-16,14 0 0,-14 0 16,0-1-16,0 1 0,0 0 15,26 26 16,-26 0-31,13 1 16,-13-1-16,0 0 16,14 0-16,-14 1 15,13-14-15,-13 13 16,13-40 0,0 27-16,-13-13 0,0 0 15,13 0-15,-13-1 0,14-12 16,-14 13-16,0 0 0,13-1 0,-13-12 15,13 26-15,0-13 0,-13-1 0,14 14 16,-14-13-16,13 13 0,-13 13 16,13 1-16,0-1 15,-13 13-15,0-12 0,14-1 0,-14 13 16,0-13-16,0 14 0,13-14 0,-13 14 16,0-14-16,0 13 0,13-13 15,-13 1-15,0-1 0,0 0 0,0 0 16,13 1-16,0-1 15,1-13-15</inkml:trace>
  <inkml:trace contextRef="#ctx0" brushRef="#br0" timeOffset="619.8">19857 6959 0,'26'-14'16,"-26"1"-16,14 13 15,-14-13-15,13 0 0,-13-1 16,13 1-16,-13 0 0,0 0 16,0-1-16,0 1 0,0 0 15,0 0-15,0-14 16,-13 14-1,0 13 1,-1 13 0,1 1-16,13-1 15,-13 0-15,13 0 0,0 0 16,0 1-16,13-1 0,-13 0 16,0 0-16,13 1 0,-13-1 15,14-13-15,-1 13 0,0 0 16,0-13-16,1 0 0,-1 0 15,0 0-15,0 0 0,0 0 0</inkml:trace>
  <inkml:trace contextRef="#ctx0" brushRef="#br0" timeOffset="1468.98">20254 6734 0,'-93'145'157,"133"-198"-157,-27 40 0,-13 0 15,13 0 1,-13-1-1,-13 41 32,13-14-31,0 0-16,0 0 16,13 1-1,-13-1-15,0 0 31,14 0-15,-1-26 0,0 13-1,-13-13 1,13 13-16,-13-13 0,14 13 0,-1-14 16,-13 1-16,13 13 15,0-13-15,0 13 16,1 0-1,-1 0-15,0 0 16,0 0 0,-13 13-1,14 0 1,-1 1 15,0-28 16,0 1-16,1 13-31,-1 0 16,0 0 0,0 0-16,0 13 15,1-13 1</inkml:trace>
  <inkml:trace contextRef="#ctx0" brushRef="#br0" timeOffset="1792.49">20862 6760 0,'27'-13'16,"-14"13"-16,0 0 16,1-13-16,-1 13 0,0 0 0,0 0 15,0 0-15,1 0 0</inkml:trace>
  <inkml:trace contextRef="#ctx0" brushRef="#br0" timeOffset="1991.7">20929 6866 0,'39'-13'32,"-26"-1"-17,1 14-15,-1 0 0,0 0 16,0 0-16,1-13 15,-1 13-15,0 0 0</inkml:trace>
  <inkml:trace contextRef="#ctx0" brushRef="#br0" timeOffset="2672.61">21616 6575 0,'-13'26'15,"13"-12"-15,0-1 0,0 0 0,0 0 16,-13 1-16,13-1 0,0 13 15,0-13-15,0 14 0,0-14 0,0 0 16,0 1-16,0-1 0,0 0 0,0 0 16,0 0-1,13-13-15,-13-26 32,0 13-32,0 0 15,0-14-15,0 1 0,13-14 0,-13 0 0,0 1 16,14-1-16,-14 0 0,0 14 0,13-27 15,-13 40-15,13-14 16,-13 14-16,13 0 0,-13-1 16,0 1-16,14 13 0,-1 0 15,0 0-15,-13 13 16,13-13-16,1 14 0,-1-1 16,0 13-16,-13-12 0,13 12 0,0-13 15,1 14-15,-14-1 0,0-13 0,13 1 16,-13 12-16,13-13 0,-13 1 15,0 12-15,0-13 0,13 1 0,-13-1 16,0 0-16,0 0 0,0 0 16,0 1-16,0-1 15,0 0-15</inkml:trace>
  <inkml:trace contextRef="#ctx0" brushRef="#br0" timeOffset="2916.57">21497 6734 0,'-13'0'0,"66"-27"31,-40 27-31,1 0 0,12 0 15,-13-13-15,14 13 0,-1 0 0,1-13 16,-1 13-16,-13 0 0,14-13 0,-1 13 16,1 0-16,-14 0 0,13 0 0,-12-14 15,-1 14-15,0 0 0</inkml:trace>
  <inkml:trace contextRef="#ctx0" brushRef="#br0" timeOffset="3249.56">22027 6601 0,'0'14'31,"13"-1"-31,-13 0 16,0 0-16,13 1 15,-13-1-15,13-13 16,-13 13-16,13-13 16,1-13-1,-14 0 1,13-1-16,-13 1 0,0 0 16,13 13-16,-13-13 0,0-1 0,0 1 15,13 0-15,-13 0 16,14-1-16,-14 1 0,13 13 0,0-13 15</inkml:trace>
  <inkml:trace contextRef="#ctx0" brushRef="#br0" timeOffset="3633.38">22410 6456 0,'-66'13'32,"66"0"-32,-13-13 0,13 14 0,-13-14 15,13 13-15,0 0 0,0 0 16,13 0-16,-13 1 0,0-1 16,0 0-16,13 0 0,-13 1 0,0-1 15,13 13-15,-13-12 0,0-1 0,-13 0 16,13 0-16,0 0 15,-13 1-15,0-1 0,-1 0 16,1 0-16,0-13 16,0-13-1,13 0-15,13 0 16,-13-14-16,13 14 0,0-27 0,1 14 16,12-1-16,-13 1 0,14-1 0,-1 14 15,-13 0-15,1 0 0,12 0 16,-13-1-16,1 14 0,-1-13 0,0 13 15,0 13-15</inkml:trace>
  <inkml:trace contextRef="#ctx0" brushRef="#br0" timeOffset="3887.9">20518 7342 0,'252'-119'31,"-160"79"-31,14 1 0,0 12 16,0-12-16,0-1 0,0 13 0,-1-12 15,1 12-15,-26 1 0,-1 13 0,0-14 16,-12 14-16,-1 0 0,-27-1 0,14 1 15,-26 13-15,12-13 0,-12 13 16,-14 0-16,0 0 0,1 0 0</inkml:trace>
  <inkml:trace contextRef="#ctx0" brushRef="#br0" timeOffset="4163.79">20743 7302 0,'106'-39'0,"185"-54"31,-185 67-31,0-1 0,0 1 0,0-1 16,52-26-16,-78 40 0,-1-13 15,53-1-15,-66 1 16,1 13-16,-28 13 0,1-14 15,0 1-15,-1 13 0,-25-13 0,12 13 16,-13-13-16,1 13 0,-1 0 0,0 0 16,0 0-1</inkml:trace>
  <inkml:trace contextRef="#ctx0" brushRef="#br0" timeOffset="140397.19">7501 2858 0,'0'-14'0,"0"28"0,0-41 0,-13 27 15,-1 13 17,14 14-32,0-1 15,0 14-15,0 0 0,0 12 16,14-12-16,-14 26 0,13 0 0,-13 1 16,13-1-16,-13-13 0,0 13 0,13-27 15,-13 14-15,14-13 16,-14 0-16,0-1 0,13-12 0,-13-1 15,0 1-15,0-14 0,13 14 0,-13-14 16,0 0-16</inkml:trace>
  <inkml:trace contextRef="#ctx0" brushRef="#br0" timeOffset="142454.66">7422 2659 0,'0'0'0,"13"0"0,-13-13 0,13 13 0,0 0 16,0-13-16,14 13 0,-14 0 0,14-14 15,12 14-15,1-13 16,13 13-16,0-13 0,-13 13 0,26-13 16,0-1-16,0 1 0,0 13 0,13-13 15,1 0-15,-1 0 0,14-1 16,-1 1-16,-12 0 0,12 0 0,1 13 15,0-14-15,-1 1 0,14 0 0,-13 0 16,-1 13-16,1-14 0,-1 1 16,1 13-16,0-13 0,-1 13 0,1-13 15,-14 0-15,14 13 0,-14-14 0,14 14 16,-14-13-16,1 0 0,12 13 16,1-13-16,-14-1 0,14 1 15,-1 13-15,-12-13 0,12 0 0,1-1 16,0 1-16,-1 13 0,1-13 0,13 0 15,-14 0-15,1-1 0,13 14 16,-14-13-16,1 0 0,-1 0 0,14 13 16,-13-14-16,0 14 0,-1-13 0,1 0 15,-1 13-15,1-13 0,0 13 16,-14-13-16,14 13 0,-14-14 0,14 14 16,-14-13-16,0 13 0,1-13 0,-1 13 15,0-13-15,-12 13 0,12-14 16,0 14-16,-13 0 0,14-13 0,-14 13 15,-13 0-15,13-13 0,-13 13 16,13 0-16,-13 0 0,13 0 0,-13-13 16,13 13-16,-13 0 0,0 0 15,0 0-15,13 0 0,-26 0 0,13 0 16,-14 0-16,1-14 0,-13 14 0,-1 0 16,0 0-16,1 0 0,-14 0 15,0 0-15,1 0 0,-1 0 0,0 0 16,0 0-16,0 0 0,1 0 15,-1 0-15,0 14 16,0-14 0,1 13-16,-14 0 15,13 0-15,-13 1 0,13-1 16,-13 13-16,13 1 0,1-1 16,-14 14-16,13 0 0,-13-1 0,13 1 15,-13 0-15,13 13 0,-13-14 0,0 14 16,0 0-16,0 0 0,0-13 15,0 13-15,0 0 0,0-14 0,13 14 16,-13-13-16,0 0 0,0-1 0,14 1 16,-14 0-16,0-1 0,13-12 15,-13-1-15,0 1 0,13-1 0,-13 1 16,13-14-16,-13 13 0,0-13 0,0 14 16,14-14-16,-14 0 0,0 14 15,0-14-15,0 0 0,13-13 16,-13 14-16,0-1 0,0 0 15,0 0-15,0 0 16,-13 1 0,-1-1-1,1-13-15,0 0 16,0 0-16,-1 0 16,1 0-16,-13 13 0,-1-13 0,1 0 15,-14 13-15,0 1 0,-12-14 0,-1 13 16,0 0-16,0 0 0,-13 0 0,0-13 15,26 14-15,-26-1 16,-67 0-16,67 0 0,0 1 16,0-1-16,0 0 0,0-13 0,0 13 15,13 1-15,-14-14 0,-12 13 16,13-13-16,0 13 0,-14-13 0,14 13 16,-13 0-16,13-13 0,-14 14 0,14-14 15,-13 13-15,13 0 0,-14-13 16,14 13-16,-13-13 0,13 14 0,0-14 15,-1 0-15,14 13 0,-26-13 16,13 13-16,0-13 0,13 13 0,-13-13 16,13 14-16,-13-14 0,13 13 15,-13-13-15,13 13 0,0-13 0,-13 13 16,13-13-16,0 13 0,0 1 0,0-14 16,-13 13-16,13-13 0,0 13 15,0-13-15,0 13 0,0-13 0,0 14 16,0-1-16,0-13 0,14 13 0,-14-13 15,0 13-15,0-13 0,0 14 16,0-14-16,0 13 0,14-13 0,-14 13 16,0 0-16,13-13 0,-13 13 0,0-13 15,14 14-15,-14-1 0,13-13 16,0 0-16,-13 13 0,14-13 16,-14 13-16,13 1 0,-13-14 0,13 13 15,-12-13-15,12 13 0,0-13 0,-13 0 16,14 13-16,12-13 0,-13 0 15,14 14-15,-14-14 0,1 0 0,-1 0 16,-13 13-16,13-13 0,14 0 0,-1 0 16,-12 0-16,-1 0 0,14 13 15,-14-13-15,13 0 0,-12 0 0,12 0 16,-26 0-16,14 0 0,12 0 0,1 0 16,-14 0-16,14 13 0,-14-13 15,13 0-15,-12 0 0,12 0 0,-12 0 16,12 0-16,-13 0 0,14 0 0,0 13 15,-14-13-15,27 0 0,-14 0 16,1 0-16,-1 0 0,1 0 16,13 0-16,-14 0 0,14 0 0,-14 0 15,14 0-15,0 0 0,0 0 0,0 0 16,-1 0-16,1 0 0,0 0 16,0 0-16,-1 14 0,1-14 15,0 0-15,0-14 0,-1 14 16,1 0-16,0 0 31,0 0-31,0 0 16,-1 0 15,1 0-15,0 0-1,0 0 1,-1 0-16,1-13 0,0 13 15,0 0-15,-1 0 0,-12 0 16,13 0-16,0-13 0,-1 13 0,1 0 16,0 0-16,0-13 0,-14 13 15,14-13-15,-13 13 0,12-14 0,1 14 16,0-13-16,-14 0 0,14 13 16,0-13-16,0 13 0,-1-14 15,1 1-15,0 0 0,-13 13 0,12-13 16,1-1-16,0 1 0,0 0 0,-1 0 15,1 0-15,0-1 0,0-12 16,13 13-16,-14 13 0,1-14 16,0-12-16,13 13 0,-13-1 0,13 1 0,-13 0 15,13 0-15,-14 0 0,14-1 16,-13 1-16,13 0 0,0 0 16,0-1-16,0 1 0</inkml:trace>
  <inkml:trace contextRef="#ctx0" brushRef="#br0" timeOffset="143925.1">13851 3029 0,'-13'0'0,"13"-13"16,0 0-1,0 0-15,0 0 16,13-1-16,0 14 0,-13-13 0,13 13 16,1-13-16,-1 13 15,0 0-15,0 0 0,1 0 16,-1 0-16,-13 13 0,13-13 16,-13 13-16,0 1 0,0-1 15,0 0-15,0 0 0,0 0 0,0 14 16,-13-14-16,13 0 0,0 14 0,-13-14 15,13 0-15,-14 14 0,14-14 16,0 0-16,-13 0 0,13 14 16,0-14-16,0 0 0,-13 1 0,13-1 0,13 0 15,-13 0-15,0 1 16</inkml:trace>
  <inkml:trace contextRef="#ctx0" brushRef="#br0" timeOffset="144099.19">13957 3440 0,'-13'0'32</inkml:trace>
  <inkml:trace contextRef="#ctx0" brushRef="#br0" timeOffset="154291.31">7911 4749 0,'-13'-13'0,"53"13"47,-27 0-47,0 0 16,13 0-16,-12 0 15,-1 0-15,0 0 16,0 0-16,1 0 15,-54 0 17,27 0-17,-1 0-15,1 0 16,0 13-16,0-13 0,0 0 16,-1 0-16,1 0 31,40-13 0,-14 13-31,0 0 0,0 0 16,0 0-1,-52 0 48,26 0-48,-1 0 1,1-13 15,13 26 63,0 0 62,13-13-156</inkml:trace>
  <inkml:trace contextRef="#ctx0" brushRef="#br0" timeOffset="156802.62">6522 4207 0,'13'26'47,"-13"1"-47,13-14 0,-13 0 0,14 14 16,-14-1-16,13 14 0,-13-14 15,13 14-15,-13 0 0,13-14 0,-13 1 16,0-1-16,14 1 0,-14-1 0,0 0 15,13 1-15,-13-1 0,0-12 16,0 12-16,0-13 0,0 0 0,0 1 16,0-1-16,13 0 0,-13 0 15</inkml:trace>
  <inkml:trace contextRef="#ctx0" brushRef="#br0" timeOffset="158680.97">6522 4180 0,'13'-13'16,"0"13"-16,1 0 15,-1 0 1,0 0-16,0 0 0,1-13 0,-1 13 0,0 0 16,0 0-16,1 0 0,12 0 15,-13 0-15,14 0 0,-14 0 16,13 0-16,1 0 0,-1 0 0,-13-13 16,27 13-16,-27 0 0,14 0 15,-1-13-15,1 13 0,-1 0 0,1 0 16,-1 0-16,1 0 0,-1 0 0,1 0 15,-1 0-15,0 0 0,-12 0 16,12-14-16,1 14 0,-1 0 0,-13 0 16,14 0-16,-1 0 0,-13 0 0,14 0 15,-1 0-15,-12 0 16,12 0-16,-13 0 0,14-13 0,-1 13 16,1 0-16,-14 0 0,0 0 15,0 0-15,14 0 0,-14-13 16,0 13-16,0 0 0,1 0 15,-1-13-15,0 13 0,0 0 16,1 0-16,-1-14 16,0 14-1,0 0-15,1 0 32,-1 0-32,0-13 15,0 26 32,0 1-16,-13-1-15,0 0 0,0 0-16,14-13 0,-14 14 15,0-1-15,0 0 0,0 0 16,13 0-16,-13 1 15,0-1-15,13 0 0,-13 0 0,0 1 16,13-1-16,-13 0 0,0 0 16,0 0-16,0 1 0,0-1 15,14-13-15,-14 13 0,0 0 16,0 1-16,0-1 0,0 0 16,0 0-16,13-13 0,-13 14 15,0-1-15,0 0 0,0 0 16,0 0-16,0 1 15,0-1-15,0 0 16,0 0-16,0 1 16,13-1-16,-13 0 0,-13 0 15,13 1 1,0-1-16,0 0 16,0 0-1,0 0 1,0 1-1,0-1 1,0 0 15,-13-13 1,-14 0-17,14 0 1,0 0-1,-1 0-15,-12 0 16,13 0-16,0 0 0,-1 13 16,1-13-16,0 0 0,0 0 15,-14 0-15,14 0 0,-14 14 0,14-14 16,-13 0-16,-1 13 0,14-13 16,-13 0-16,12 0 0,-12 0 0,13 13 15,-14-13-15,14 0 0,-13 0 0,12 0 16,-12 13-16,13-13 0,-1 0 0,-12 0 15,13 0-15,-14 0 0,14 13 16,-13-13-16,12 0 0,-12 0 16,-1 14-16,14-14 0,-13 0 0,13 0 15,-14 13-15,14-13 0,-14 0 0,14 0 16,0 13-16,0-13 0,-1 0 16,1 0-16,0 0 0,0 0 0,0 13 15,-1-13-15,1 0 0,0 0 0,0 0 16,-1 14-16,1-14 15,0 0-15,0 0 16,-1 0-16,1 13 16,0-13-1,0 0-15,0 0 16,-1 0 0,1 0-1,0 0 1,0 0-1,-1 0 32,1 0-31,0 0 0,0 0 15,0 0 0,-1 0-15,1 0 62,0 0-31</inkml:trace>
  <inkml:trace contextRef="#ctx0" brushRef="#br0" timeOffset="159661.1">8030 4908 0,'0'13'47,"0"0"-47,0 1 16,0-1-16,0 0 0,0 0 15,0 14-15,0-14 0,0 0 16,13 1-16,-13-1 0,0 0 0,0 0 15,0 0-15,0 1 0,0-1 0,14-13 16,-14 13-16,0 0 0,0 1 16</inkml:trace>
  <inkml:trace contextRef="#ctx0" brushRef="#br0" timeOffset="159985.96">7990 4948 0,'-26'13'15,"13"0"1,0 0 0,13 1-16,-14-14 15,14 13-15,0 0 16,-13 0-16,0 1 16,13-1-1,-13-13 1</inkml:trace>
  <inkml:trace contextRef="#ctx0" brushRef="#br0" timeOffset="160381.1">8004 4895 0,'13'13'16,"0"-13"0,0 0-16,-13 13 0,14-13 0,-1 13 15,0-13-15,0 14 16,0-14-16,1 0 15,-1 13-15,0-13 16,0 13-16,1 0 31,-1-13-15,-13 14 46,13-1-46</inkml:trace>
  <inkml:trace contextRef="#ctx0" brushRef="#br0" timeOffset="165658.87">16470 4736 0,'0'-13'16,"-13"13"0,0 13-16,0 0 15,13 0 1,-14-13-16,14 14 0,-13-14 0,13 13 16,0 0-16,-13-13 0,13 13 0,-13 1 15,13-1-15,-14-13 0,14 13 16,-13 0-16,13 1 0,-13-14 15,0 13-15,13 0 16,-13 0 0,13 0-1,-14-13 17,14 14 108,14-28 79,-14 1-188,13 13-15</inkml:trace>
  <inkml:trace contextRef="#ctx0" brushRef="#br0" timeOffset="168460.98">16999 4736 0,'-13'26'109,"0"-12"-93,0-1-16,13 0 15,-13-13-15,13 13 0,0 1 16,-14-1-16,1 0 0,0 0 16,13 1-16,-13-14 0,13 13 15,-14 0-15,14 0 16,-13-13 0,13 13-16,-13 1 15,13-1 32,0-26 266,13-1-298</inkml:trace>
  <inkml:trace contextRef="#ctx0" brushRef="#br0" timeOffset="170782.17">17952 4749 0,'-13'27'78,"13"-14"-63,-13 0-15,13 0 16,-14-13-16,14 14 0,0-1 16,-13 0-16,13 0 0,-13-13 0,13 14 15,-13-1-15,13 0 0,-14 0 16,14 0-16,-13-13 15,13 14-15,0-1 16,-13-13-16,13 13 31,0 0 1</inkml:trace>
  <inkml:trace contextRef="#ctx0" brushRef="#br0" timeOffset="173824.27">952 6112 0,'40'0'0,"13"-13"16,-26 13 0,-14 0-16,13 0 0,1 0 0,-14 0 15,13 0-15,1 0 0,-14 0 0,0-14 16,14 14-16,-14 0 0,0 0 16,0 0-16,1 0 0,-1 0 0</inkml:trace>
  <inkml:trace contextRef="#ctx0" brushRef="#br0" timeOffset="174041.19">979 6257 0,'53'0'16,"-40"0"-16,14 0 15,-14-13-15,13 13 0,-13 0 16,14-13-16,-14 13 0,14 0 0,-14-13 16,13 13-16,-12 0 0,-1 0 0,0 0 15,0-14-15</inkml:trace>
  <inkml:trace contextRef="#ctx0" brushRef="#br0" timeOffset="174929.21">701 5768 0,'-13'13'15,"13"0"-15,0 1 16,0-1-16,0 0 15,0 0-15,0 1 0,0-1 0,0 0 16,13 0-16,-13 0 0,0 1 16,0-1-1,0 0-15,13-13 16,-13 13 0,-13-39 15,13 13-31,0-1 0,-13 1 15,13-13-15,-13 13 0,13-14 16,0 14-16,-14-14 0,14 14 0,0-13 16,-13 12-16,13 1 0,0 0 0,0 0 15,0 0-15,0-1 16,13 14-16,-13-13 0,14 13 16,-1 13-16,0 1 15,0-1-15,1 0 16,-14 0-16,13 0 0,0 14 0,0-14 15,1 0-15,-1 1 0,-13-1 0,13 0 16,-13 14-16,13-14 0,0 0 16,-13 0-16,14-13 0,-14 13 0,0 1 15,13-14-15,-13 13 0,13 0 16</inkml:trace>
  <inkml:trace contextRef="#ctx0" brushRef="#br0" timeOffset="175145.16">648 5966 0,'13'-26'16,"1"26"-16,-14-13 0,13 13 15,0-14-15,0 14 0,1-13 0,-1 0 16,0 13-16,14-13 0,-14 0 16</inkml:trace>
  <inkml:trace contextRef="#ctx0" brushRef="#br0" timeOffset="175952.23">1045 5543 0,'0'26'31,"13"-12"-31,-13-1 16,0 0-16,0 0 0,14 1 0,-14-1 15,0 13-15,13-12 0,-13-1 16,0 0-16,26 53 31,-26-53-31,13-13 0,-13 14 16,-13-14 15,-13 0-15,13 0-16,-1 0 15,-12 0 1,13 0-16,-1 0 0,1 0 15,13 13-15,-13-13 0,13 13 16,-13-13-16,13 13 0,0 1 16,-14-1-16,14 0 15,14 0 1,-1 0 0,0-13-1,-13-13-15,13 13 0,-13-13 16,14 0-16,-14 0 15,13 13-15,-13-14 0,0 1 16,13 13-16,-13-13 0,13 13 0,-13-13 16,14 13-1,-1-14-15,0 14 16,0 0-16,0 0 16,-13 14-16,14-14 0,-1 13 15,0 0 1,0-13 15,-13-13 0,0 0-31,14 13 0,-14-14 16,0 1-16,0 0 16,0 0-16,0-1 0,13 14 15,-13-13-15,13 0 0,0 0 16,1 13-1,-1 0 1,0 0-16,-13 13 0,13-13 16,0 13-16,-13 0 15,14 1-15,-1-1 16,-13 0-16,13 0 16</inkml:trace>
  <inkml:trace contextRef="#ctx0" brushRef="#br0" timeOffset="176106.1">1270 5569 0,'-13'0'0</inkml:trace>
  <inkml:trace contextRef="#ctx0" brushRef="#br0" timeOffset="176939.54">1535 5583 0,'-14'0'15,"1"13"-15,0-13 0,13 13 16,-13-13-16,13 13 0,-14 1 0,14-1 15,-13 0-15,13 0 16,0 1-16,0-1 0,0 0 16,0 0-16,0 0 15,0 1-15,0-1 16,0 0-16,13-13 0,1 0 16,-1 0-1,0-13 1,-13 0-16,13-1 15,-13 1 1,0 0-16,0 0 0,0 0 16,0-1-16,0 1 15,0 0 1,0 0 0,14 39 30,-14-13-30,13 1 0,0-14-1,0 0 1,1 0 0,-14-14-1,13 14-15,0 0 16,0 0-1,0 0 1,1 0-16,-1 0 31,0 0-15,-13-13 15,13 13-15,1-13 15,-1 13-15,0 0-1,-13-13-15,26 13 16,-26 13-16,14-13 16</inkml:trace>
  <inkml:trace contextRef="#ctx0" brushRef="#br0" timeOffset="178812.97">10623 6218 0,'0'-14'31,"13"14"-31,0 0 0,14 0 15,-14-13-15,0 13 0,14 0 0,-1 0 16,1-13-16,-1 13 0,1 0 16,-1 0-16,1 0 0,-1 0 0,14 0 15,-14 0-15,1 0 0,-1 0 16,-13 0-16,14 0 0,-1 0 16,1 0-16,-14 0 0,0 0 0,0 0 15,1 13-15,-1-13 0,0 0 0,0 0 16,1 13-16,-1-13 0,-13 14 15,13-14-15,-13 13 0,13 0 0,-13 0 16,13 1-16,-13-1 0,0 13 16,14-12-16,-14-1 0,0 0 15,0 13-15,0-12 0,0 12 0,0 1 16,13-1-16,-13 1 0,0-1 0,0 0 16,0 1-16,13 13 15,-13-1-15,0 1 0,0 0 0,13-1 16,-13 1-16,0-14 0,14 14 0,-14 0 15,0-14-15,13 14 0,-13-14 16,0 14-16,0 0 0,13-14 0,-13 14 16,0 0-16,0-1 0,0-12 0,0 12 15,0 1-15,0-13 0,0 12 16,0-12-16,0 12 0,-13 1 0,13 0 16,0 0-16,0-14 0,0 0 0,0 14 15,0 0-15,0 0 0,0-1 0,0-12 16,0-1-16,0 14 0,13 0 15,-13-1-15,0 1 0,0 0 16,0-1-16,0 1 0,13-14 0,-13 1 16,0 13-16,0-14 15,14 14-15,-14-14 0,0 1 0,0-1 0,0 1 16,13-1-16,-13 0 0,0 1 0,0-14 16,13 14-16,-13-1 0,0-13 15,0 14-15,0-14 0,13 13 16,-13-12-16,0-1 0,0 0 0,0 0 15,0 1-15,0-1 0,0 0 16,0 0-16,13 0 16,-13 1-1,-13-14 1,13 13 0,-13 0-1,0-13-15,0 0 0,13 13 0,-27-13 16,14 14-16,-14-14 0,-12 13 15,-67 13-15,40 1 0,0-14 16,-14 13-16,-12 1 0,-27 13 0,13-14 16,0 1-16,-13 12 0,-13 1 15,12-14-15,1 1 0,0 13 16,0-14-16,0 14 0,0-14 0,13 14 16,0-14-16</inkml:trace>
  <inkml:trace contextRef="#ctx0" brushRef="#br0" timeOffset="180756.19">1971 6879 0,'13'0'16,"1"0"-16,12 0 0,1-13 0,-1 13 16,14 0-16,-1-13 0,14 13 15,-13 0-15,13-14 0,0 14 16,-14 0-16,14 0 0,-13-13 0,0 13 16,-1 0-16,-12 0 0,13 0 15,-14 0-15,1 0 0,-1 0 0,-13 0 16,14 0-16,-14 0 0,0 0 0,14 0 15,-14 0-15,0 0 16,0 0-16</inkml:trace>
  <inkml:trace contextRef="#ctx0" brushRef="#br0" timeOffset="181057.17">2328 6998 0,'40'13'31,"-14"-13"-31,-12 0 0,12 0 0,14 0 16,-14-13-16,1 13 0,26 0 16,-14 0-16,1-13 0,0 13 0,-14 0 15,14-13-15,-14 13 0,1-13 0,-1 13 16,-12 0-16,12 0 15,-13-14-15,14 14 0,-14 0 0,0 0 16,0 0-16,1-13 0,-1 13 16,0 0-1,0 0 1</inkml:trace>
  <inkml:trace contextRef="#ctx0" brushRef="#br0" timeOffset="182941.55">9221 6972 0,'39'0'32,"-25"-13"-17,12 13-15,1 0 0,-1 0 0,14 0 16,-1-14-16,14 14 0,-13 0 0,26 0 15,-13-13-15,0 13 0,0 0 16,13 0-16,-13 0 0,0 0 0,0 0 16,-14 0-16,-12 0 0,13 0 0,-14 0 15,1 0-15,-1 0 0,-13 0 16,14 0-16,-14 0 0,0 0 0,0 0 16</inkml:trace>
  <inkml:trace contextRef="#ctx0" brushRef="#br0" timeOffset="183384.55">9776 7038 0,'40'0'0,"-14"0"15,1 0-15,-14 0 0,14 0 0,-1 0 16,14-13-16,-14 13 0,14 0 16,0-14-16,-1 14 0,1 0 0,0-13 15,-14 13-15,1 0 0,-1-13 16,1 13-16,-14 0 0,13 0 0,-13 0 16,1 0-16,-1-13 0,0 13 15,0 0-15,1 0 0,-1 0 16,0-13-1,0 13 1,1 0 0,-1 0 31</inkml:trace>
  <inkml:trace contextRef="#ctx0" brushRef="#br0" timeOffset="184533.46">2302 7607 0,'40'-13'15,"-27"13"1,0 0-16,13 0 0,27 0 16,-13 0-16,0 0 0,-1 0 15,1-14-15,-13 14 0,12 0 0,-12 0 16,12 0-16,-12 0 0,-1 0 15,14 0-15,-27 0 0,14 0 16,-1 0-16,-13 0 0,1 0 0,-1 0 16,0 0-16,0 0 0,1 0 15</inkml:trace>
  <inkml:trace contextRef="#ctx0" brushRef="#br0" timeOffset="184925.76">2500 7752 0,'40'14'15,"-27"-28"-15,93 14 31,-79 0-31,-1-13 0,14 13 0,-14 0 0,27 0 16,-26-13-16,-14 13 0,13 0 16,1 0-16,-14 0 0,0 0 15,0 0-15,1-13 0,-1 13 0,0 0 16,0 0-16,0 0 16,1 0-16,-1 0 15,0 0 1,0 0-1,1 0 17,-1 0-17,0 0-15,0 0 16</inkml:trace>
  <inkml:trace contextRef="#ctx0" brushRef="#br0" timeOffset="185732.92">4829 7607 0,'26'0'31,"-13"0"-31,14 0 0,-14 0 16,13 0-16,14 0 0,-13 0 0,12 0 16,14 0-16,-13 0 0,13-13 0,-13 13 15,-1 0-15,-12 0 0,12 0 16,-12 0-16,-1-14 0,1 14 0,-1 0 16,1 0-16,-1 0 0,-13 0 0,1-13 15,12 13-15,-13 0 0,0 0 16,14 0-16,-14 0 0,0 0 0,1 0 15</inkml:trace>
  <inkml:trace contextRef="#ctx0" brushRef="#br0" timeOffset="186573.21">6694 7514 0,'26'0'62,"-12"0"-62,-1 13 16,13-13-16,1 0 0,-1 0 0,1 0 15,26 0-15,0 14 0,-1-14 0,-12 0 16,13 0-16,13 0 0,-26 0 16,13-14-16,0 14 0,0 0 0,0-13 15,-14 13-15,1 0 0,-14 0 0,1-13 16,13 13-16,-27 0 0,13 0 16,1 0-16,-14 0 0,0 0 0,14 0 15,-14 0-15,-13-13 0,13 13 16,0 0-16,1 0 0,-1 0 15,-40 13 48,14-13-47,0 0-16</inkml:trace>
  <inkml:trace contextRef="#ctx0" brushRef="#br0" timeOffset="187117.29">7210 7607 0,'79'0'31,"-66"0"-31,14 0 0,-14 0 16,14 0-16,-1 0 0,1 0 15,-1 0-15,-13 0 0,14-13 0,-1 13 16,1 0-16,-1 0 0,-13 0 15,14 0-15,-14 0 0,13 0 0,-12 0 16,-1 0-16,0 0 0,0 0 0,1 0 16,-1 0-16,0-14 0,0 14 15,1 0-15,-1 0 0,0 0 16,0 0 0,0 0-1,1 0 1,-41-13 124,14 26-140</inkml:trace>
  <inkml:trace contextRef="#ctx0" brushRef="#br0" timeOffset="188701.09">2394 8109 0,'265'-52'31,"-225"52"-31,-1 0 0,-12 0 0,13 0 0,-14-14 16,14 14-16,-14 0 16,1 0-16,-1 0 0,-13 0 0,14 0 15,-14 0-15,0 0 0,14 0 0,-14 0 16,0 14-16,0-14 16,1 0-16</inkml:trace>
  <inkml:trace contextRef="#ctx0" brushRef="#br0" timeOffset="189062.34">2633 8162 0,'66'0'15,"-53"0"1,13 0-16,1 0 0,-1 0 0,14 0 16,-13 0-16,12 0 0,1 0 15,-14 0-15,40 0 0,-26 0 16,-13 0-16,-1 0 0,1 0 0,-1 0 16,0 0-16,-12 0 15,-1 0-15,0 0 0,14 0 0,-14 0 16,0 0-16,0 0 0,1 0 15,-1 0 1,0 0-16,0 0 16,0 0 15</inkml:trace>
  <inkml:trace contextRef="#ctx0" brushRef="#br0" timeOffset="190593.4">6509 8149 0,'-13'0'0,"39"13"46,-13-13-30,0 0-16,14 0 0,-14 0 16,0 0-16,14 0 0,-1 0 0,-12 0 15,12 0-15,-13 0 0,14 0 16,-14 0-16,13 0 0,-12 0 0,-1 0 16,0 0-16,13 0 0,-12 0 0,-1 0 15,0 0-15</inkml:trace>
  <inkml:trace contextRef="#ctx0" brushRef="#br0" timeOffset="191014.08">6522 8268 0,'53'0'16,"-27"0"-1,-12 0-15,12 0 0,1-13 0,-1 13 16,0 0-16,1-13 0,-1 13 0,1 0 16,-1-13-16,1 13 15,-14 0-15,13-14 0,-12 14 0,-1 0 16,0 0-16,0 0 0,1 0 0,-1 0 15,0-13-15,0 13 16,0 0-16,1 0 16,-1 0-1,0 0 1</inkml:trace>
  <inkml:trace contextRef="#ctx0" brushRef="#br0" timeOffset="193378.12">2368 8811 0,'-13'0'0,"39"0"31,-13-14-31,14 14 15,-14 0-15,14-13 0,-1 13 16,1-13-16,12 13 0,14-13 16,-13 13-16,0-14 0,-1 14 0,1-13 0,-14 13 15,1 0-15,-1 0 0,1-13 16,-1 13-16,1 0 0,-14 0 0,13 0 16,-12 0-16,-1 0 0,0 0 15,0 0-15,0 0 0,1 0 16,-1 0-16,-26 13 31</inkml:trace>
  <inkml:trace contextRef="#ctx0" brushRef="#br0" timeOffset="193800.51">2355 9088 0,'39'0'31,"-12"-13"-31,-1 13 0,1 0 0,13-13 16,-1 13-16,1-13 0,13 0 15,-13 13-15,12-14 0,-12 1 0,40 0 16,-41 0-16,-12 13 0,-1 0 15,1-14-15,-1 14 0,-13 0 16,14 0-16,-14-13 0,0 13 0,0 0 16,1 0-16,-1 0 0,0 0 15,-13-13-15,13 13 16,1 0-16,-1 0 16,0 0-1,0 0 16,0 0 1,1 0-17,-1 0 1</inkml:trace>
  <inkml:trace contextRef="#ctx0" brushRef="#br0" timeOffset="194666.38">4524 8877 0,'40'0'31,"-27"0"-15,27 0-16,0 0 0,-1 0 0,14-13 15,13 13-15,1 0 0,12-14 16,-13 14-16,13-13 0,1 13 0,-14-13 16,0 13-16,-13-13 0,0 13 0,0 0 15,0-14-15,-14 14 0,14 0 16,-26-13-16,-1 13 0,1 0 0,-14 0 15,13 0-15,-12 0 0,-1 0 0,0 0 16,14 0 0</inkml:trace>
  <inkml:trace contextRef="#ctx0" brushRef="#br0" timeOffset="195950.76">4445 9168 0,'0'0'0,"40"-13"47,-27 13-47,13 0 0,1-14 0,-1 14 16,14 0-16,0-13 0,-1 0 16,14 13-16,-13-13 0,0-1 0,-1 1 15,14 13-15,-13-13 0,13 0 16,-13 13-16,-1-13 0,1-1 15,0 14-15,-1-13 0,-12 13 0,-1 0 16,-13-13-16,14 13 0,-14 0 16,0-13-16,1 13 0,-1 0 0,0 0 15,0 0-15,1 0 0,-14-14 0,13 14 16,0 0-16,0 0 16,0 0-16,1-13 31,-1 13-16,-53 13 110,27-13-93,0 0-17,0 0 1,-1 0 31,14-13 78,-13 13-16,0 0-78,39 0 173,-12 0-173,-14 13 0</inkml:trace>
  <inkml:trace contextRef="#ctx0" brushRef="#br0" timeOffset="204285.5">12435 8520 0,'27'-14'15,"-27"1"-15,13 13 16,0 0-16,1 0 0,-1 0 15,0 0 1,0 13-16,-13 1 16,0-1-1,-13 0-15,13 0 16,-13 0-16,0 1 16,13-1-16,-14-13 15,28 13 16,-1-13-31,0 0 16,0 0-16,0 13 0,1-13 16,-1 14-16,0-14 15,-13 13-15,13-13 0,-13 13 16,0 0 0,0 1-16,-13-1 0,0 0 15,0-13-15,-1 13 0,1 0 16,0-13-16,0 14 0,0-14 15,-1 0-15,1 0 0,13 13 16,-26-13-16</inkml:trace>
  <inkml:trace contextRef="#ctx0" brushRef="#br0" timeOffset="204781.56">12832 8572 0,'14'0'15,"-1"0"-15,0 0 16,0 0-16,0 0 0,-13 14 0,14-14 16,-1 13-16,-13 0 15,0 14 1,-13-14-16,13 0 0,-14 0 15,14 1-15,-13-14 0,0 13 0,13 0 16,-13-13-16,13 13 16,-13-13-16,-1 13 0,14 1 15,-13-14-15,13 13 16,0 0 15,13-13-31,1 0 0,-1 0 16,0 0-16,0 0 15,0-13 1,1 13-16,-1 0 16,0 0-16,0 0 0,1-13 15</inkml:trace>
  <inkml:trace contextRef="#ctx0" brushRef="#br0" timeOffset="205247.22">13560 8652 0,'-13'0'0,"52"-13"31,-25 13-15,-1 0-16,0 0 0,0 0 0,0 0 16,1 0-16,-1 0 0,13-14 15,-12 14-15,-1 0 0,0 0 0,0 0 16,1 0-16,-1 0 0,0 0 16,13 0-16,-12 0 15,-14-13-15,13 13 16,0 0-1</inkml:trace>
  <inkml:trace contextRef="#ctx0" brushRef="#br0" timeOffset="205533.21">13745 8506 0,'40'0'32,"-27"0"-32,0 0 0,0 14 15,1-14-15,-1 13 0,0-13 16,0 0-16,14 13 0,-14 0 0,0-13 16,1 13-16,-1-13 0,0 14 15,0-1-15,0-13 0,-13 13 0,14 0 16,-14 1-16,0-1 0,0 0 15,0 14-15,-14-14 0,14 0 16,-13-13-16,0 26 16,0-12-16,13-1 0,0 0 15</inkml:trace>
  <inkml:trace contextRef="#ctx0" brushRef="#br0" timeOffset="206089.04">14751 8467 0,'26'-14'16,"-13"14"-16,0 0 0,1 0 16,-1 0-16,0 0 0,0-13 15,1 13-15,-1 0 0,0 0 16,0 0-16,0 0 0,1 0 0,-1 13 16,0-13-16,0 14 15,-13-1-15,0 0 16,0 0-16,0 1 0,0-1 15,0 0-15,0 0 0,0 0 16,0 1-16,0-1 0,0 0 16,0 0-16,0 1 0,0-1 15,-13 0-15,13 0 0,0 1 16,0-1-16,0 0 16</inkml:trace>
  <inkml:trace contextRef="#ctx0" brushRef="#br0" timeOffset="206354.33">14764 8639 0,'26'-14'31,"-13"14"-31,1 0 16,-1 0-16,0-13 0,14 13 16,-14 0-16,13 0 0,1 0 0,-14 0 0,13 0 15,-12-13-15,-1 13 0,0 0 16,0 0-16,1 0 0,-1 0 16,0 0-16,0 0 0,0 0 15,1 0-15</inkml:trace>
  <inkml:trace contextRef="#ctx0" brushRef="#br0" timeOffset="209754.75">12872 7805 0,'-40'0'62,"27"0"-62,0 0 0,0 13 16,-1-13-16,1 0 15,0 14-15,0-14 0,13 13 16,0 0 0,0 0-16,0 1 15,13-14-15,0 13 0,0 0 16,1 0-16,-1-13 0,0 14 16,0-1-16,1 0 0,-1 0 15,-13 0-15,13-13 16,-13 14-16,0-1 0,-13 0 15,13 0-15,-13-13 16,13 14-16,-14-14 0,1 13 16,0-13-16,0 0 15,-1-13 1,14-1 0,14 1-1,-14 0-15,13 0 0,-13-1 16,13 1-16,0 13 0,-13-13 0,14 0 15,-14 0-15,13 13 0,-13-14 16,0 1-16,13 0 0,-13 0 16,0-1-16,0 1 0,-13 0 15,13 0-15,-13 13 16,13-14-16,-14 14 0,1-13 16,0 13-16,0 0 0,-1-13 15,1 13 1,0 13-16,0-13 15</inkml:trace>
  <inkml:trace contextRef="#ctx0" brushRef="#br0" timeOffset="210382.44">13295 7990 0,'0'-13'16,"14"13"-1,-1 0-15,0 0 16,0 0-16,0-13 0,1 13 16,-1 0-16,0 0 0,0 0 0,1 0 15,-1 0-15,0 0 0,0 0 16,1 0-16,-14-13 0,13 13 16,0 0-16,0 0 15,0 0-15,1-13 31,-1 13-15</inkml:trace>
  <inkml:trace contextRef="#ctx0" brushRef="#br0" timeOffset="210865.55">13441 7752 0,'-13'0'0,"13"14"47,13-1-47,0-13 15,-13 13-15,13-13 0,1 13 16,-1-13-16,-13 13 0,13-13 16,0 0-16,0 14 0,1-14 0,-14 13 15,13-13-15,0 13 0,0-13 16,1 13-16,-1-13 0,0 0 15,-13 14-15,13-14 16,0 13-16,1 0 16,-14 0-16,0 1 15,0-1-15,-14 0 16,1 0-16,0 0 0,0 1 16,0-1-16,-1 13 0,1-12 15,0-1-15,0 0 0,-14 0 16,14 0-16,0-13 0,0 14 0,-1-1 15,14 0-15</inkml:trace>
  <inkml:trace contextRef="#ctx0" brushRef="#br0" timeOffset="213002.37">14711 7739 0,'13'0'47,"0"0"-47,1 0 0,-1 0 16,0 0-1,0 0-15,0 0 0,1 0 16,-1 13-16,-13-26 16,-13 13 31,-14 0-47,14 0 15,0 0-15,0 0 16,-1 13-16,1-13 0,0 0 15,0 14-15,-1-14 0,1 0 16,13 13-16,-13-13 16,0 0-16,-1 13 0,1 0 15,0-13 17,13 13-32,-13 1 15,13-1 16,0 0 16,13-13-47,0 0 32,0 0-32,1 0 15,-1 0-15,0 0 0,0 13 16,1-13-16,-1 14 15,0-14-15,0 13 0,1-13 0,-14 13 16,13-13-16,0 13 0,-13 1 16,13-1-16,-26 0 15,13 0-15,-13 0 16,0 1-16,-1-14 0,1 13 16,0-13-16,0 13 0,-1-13 0,-12 0 15,13 0-15,-14 13 0,14-13 16,0 0-16,-14 14 15</inkml:trace>
  <inkml:trace contextRef="#ctx0" brushRef="#br0" timeOffset="-210351.58">12435 7197 0,'14'-14'16,"-1"28"15,-13-1-15,0 0-16,0 0 0,0 1 16,0-1-16,-13 0 0,13 0 15,0 0-15,0 1 0,-14-14 0,14 13 16,0 0-16,0 0 0,-13 1 0,13-1 15,0 0-15,0 0 16</inkml:trace>
  <inkml:trace contextRef="#ctx0" brushRef="#br0" timeOffset="-209979.55">12779 7197 0,'-26'13'16,"13"0"0,-1-13-16,1 13 0,0 1 15,0-1-15,0-13 0,-1 13 16,14 0-16,-13-13 0,0 13 0,13 1 15,-13-14-15,13 13 0,-14-13 16,14 13-16,0 0 16,14-13-1,-1 0-15,0 0 16,0-13-16,14 13 0,-14 0 0,13 0 16,-12 0-16,12-13 0,-13 13 0,1 0 15,12-13-15,-13 13 0,1 0 16,-1 0-16,0-14 0,0 14 15,0 0-15,1-13 16</inkml:trace>
  <inkml:trace contextRef="#ctx0" brushRef="#br0" timeOffset="-209727.52">12819 7183 0,'0'0'0,"-13"0"16,13 14-16,0-1 0,-13-13 16,13 13-16,0 0 0,0 1 15,0-1-15,0 0 0,0 0 16,-14 0-16,14 1 0,0-1 16,0 0-16,0 0 0,0 1 15,0-1-15,0 0 0,0 0 0,0 1 16,-13-1-16,13 0 0,0 0 15,0 0 1</inkml:trace>
  <inkml:trace contextRef="#ctx0" brushRef="#br0" timeOffset="-209382.31">13335 7250 0,'0'-14'0,"13"14"16,0 0-16,1 0 15,-1 0-15,0 0 16,0 0-16,1 0 16,-1 0-16,0-13 15,0 13 1,1 0-1</inkml:trace>
  <inkml:trace contextRef="#ctx0" brushRef="#br0" timeOffset="-209075.81">13388 7078 0,'40'13'31,"-27"-13"-31,0 13 0,0-13 16,14 0-16,-27 13 0,26-13 16,-13 0-16,1 14 0,-1-14 15,0 13-15,0-13 0,1 0 16,-14 13-16,13-13 0,-13 13 0,13-13 15,-13 13-15,-13 14 16,13-14-16,-13-13 0,-1 13 16,1 1-16,0 12 0,0-13 0,-14 0 15,1 1-15,13 12 0,-14-13 0,14-13 16</inkml:trace>
  <inkml:trace contextRef="#ctx0" brushRef="#br0" timeOffset="-206870.6">14512 7078 0,'0'-14'0,"0"1"0,14 13 15,-1 0-15,0-13 16,0 26-1,1-13-15,-1 0 0,0 0 16,-13 13-16,13 1 16,-13-1-16,0 0 15,-13 0-15,13 1 0,-13-1 16,13 0-16,-13 0 0,-1 0 0,14 1 16,-13-1-16,0-13 0,13 13 0,-13 0 15,-1-13-15,14 14 16,-13-1-16,26 0 31,1-13-15,-1-13-16,0 13 15,0 0-15,1 0 0,-1 0 16,0 0-16,-13-13 0,13 13 16,0 0-16,1 0 0,-1 0 15,0-14-15</inkml:trace>
  <inkml:trace contextRef="#ctx0" brushRef="#br0" timeOffset="-205538.51">12647 6522 0,'27'-13'31,"-14"0"-15,0 13-16,0 13 0,0-13 15,1 13-15,-1 0 16,-13 0-1,13-13-15,-13 14 0,-13-1 16,13 0-16,-13 0 0,13 1 0,-14-14 16,14 13-16,-13 0 0,0-13 15,13 13-15,-13 1 0,0-14 0,-1 13 16,14 0-16,-13-13 16,0 0-1,13 13 1,13-13-1,0 0-15,1 0 16,-1 13-16,0-13 16,0 0-1,0 0-15,1 0 16,-1 0 0,-13-13-16,13 13 0,0 0 0,1 0 15</inkml:trace>
  <inkml:trace contextRef="#ctx0" brushRef="#br0" timeOffset="-205081.34">13216 6522 0,'40'0'32,"-27"0"-32,0 0 0,0 0 15,1-13 1,12 13-16,-13 0 0,0 0 15,1 0-15,-1 0 0,0-13 0,0 13 16,1 0-16,-1-14 16,0 14-16,0 0 15,-13-13-15</inkml:trace>
  <inkml:trace contextRef="#ctx0" brushRef="#br0" timeOffset="-204726.24">13361 6376 0,'27'14'31,"-14"-14"-31,0 13 16,1-13-16,-1 0 0,0 13 16,0-13-16,1 0 0,-1 0 15,-13 13-15,13-13 0,0 0 16,0 14-16,1-14 0,-14 13 16,13 0-16,-13 0 15,0 1-15,-13-14 16,13 13-16,-14 0 0,1 0 0,0 0 15,0 1-15,-14 12 0,14-13 0,-13 14 16,12-14-16,1 0 0,-13 1 16,12-1-16</inkml:trace>
  <inkml:trace contextRef="#ctx0" brushRef="#br0" timeOffset="-202763.25">14380 6337 0,'0'26'31,"0"-13"-15,0 1-16,0-1 0,0 13 0,13-12 16,-13-1-16,0 0 0,0 0 0,0 1 15,14-1-15,-14 0 0,0 0 0,13 0 16,-13 1-16,13-14 0,-13 13 15</inkml:trace>
  <inkml:trace contextRef="#ctx0" brushRef="#br0" timeOffset="-196710.1">8334 10226 0,'27'0'32,"-14"0"-32,14 0 0,-14 0 0,13 0 15,1 13-15,-1-13 16,1 0-16,-1 0 0,0 0 0,1 0 15,-1 0-15,1 0 0,-1 0 0,-12 0 0,12 0 16,-13 0-16,0 0 16,1 0-16,-1 0 0,0 0 0,0 0 15</inkml:trace>
  <inkml:trace contextRef="#ctx0" brushRef="#br0" timeOffset="-196459.59">8387 10358 0,'410'-39'109</inkml:trace>
  <inkml:trace contextRef="#ctx0" brushRef="#br0" timeOffset="-195837.39">8268 9816 0,'0'-13'15,"-13"39"17,13-13-32,0 1 15,0-1-15,0 0 0,-13 0 0,13 1 16,0-1-16,0 0 0,0 0 15,0 1-15,0-1 0,0 0 0,0 0 16,0 0-16,0 1 16,0-1-16,0-53 31,0 27-31,0 0 16,0 0-16,-13-14 0,13 14 15,0-14-15,0 14 0,0-13 0,0 12 16,0-12-16,0 0 15,0 12-15,0 1 0,13 0 16,-13 0-16,0-1 0,13 14 0,0-13 16,0 13-16,1 0 15,-1 0-15,0 0 0,0 13 16,1-13-16,-1 14 0,0-1 0,0 0 16,1-13-16,-14 13 0,13 1 0,0-1 15,-13 0-15,13 0 0,-13 0 16,13 1-16,-13-1 0,0 0 0,14 0 15,-14 1-15,13-1 0,-13 13 16,0-12 0,13-14-16,-13 13 0</inkml:trace>
  <inkml:trace contextRef="#ctx0" brushRef="#br0" timeOffset="-195602.5">8215 9962 0,'0'0'0,"14"-14"0,-1 1 16,0 13-16,0-13 0,0 13 0,1 0 15,12-13-15,-13 13 0,1-14 16,52 1-1,-40 13-15,14-13 0,0 0 16,-1-1 0</inkml:trace>
  <inkml:trace contextRef="#ctx0" brushRef="#br0" timeOffset="-194822.88">8771 9591 0,'-13'-13'0,"-1"26"32,14 0-32,0 1 0,0 12 15,0 14-15,-13-1 16,13 1-16,0-27 16,0 14-16,0-14 0,13 0 15,-13 0-15,0 1 0,0-1 0,0 0 0,0 0 16,0 1-1,0-1-15,-26-40 47,13 27-47,0-13 16,-1 13-16,1 0 16,0 0-16,0 0 0,-1 0 15,1 0-15,0 0 0,0 13 16,-1-13-16,14 14 0,-13-14 15,0 13-15,13 0 0,-13 0 16,13 1 0,13-1-16,0-26 15,0 13-15,1 0 16,-1-14-16,0 14 16,0-13-16,1 0 0,-1 13 0,0-13 15,0-1-15,1 1 0,-1 13 16,13-13-16,-26 0 15,13 13-15,14 0 16,-14 13-16,0-13 16,-13 26-16,14-26 15,-14 14-15,0-1 0,0 0 16,13 0-16,-13 1 0,0-1 16,0 0-16,0 0 31,13-39-16,0 13 1,-13-1-16,14 1 16,-14 0-16,13 0 0,-13-1 15,13 1-15,0 0 0,0 13 16,-13-13 0,14 13-16,-1 13 15,-13 0-15,13 0 16,-13 1-16,0-1 15,0 0-15,13 0 0,-13 1 16,0-1-16,0 0 31</inkml:trace>
  <inkml:trace contextRef="#ctx0" brushRef="#br0" timeOffset="-194686.97">8969 9737 0</inkml:trace>
  <inkml:trace contextRef="#ctx0" brushRef="#br0" timeOffset="-193982.34">9141 9829 0,'-13'0'0,"26"0"0,-26-13 0,0 13 15,0 13 1,-1-13-16,14 13 16,-13 1-16,0-1 0,13 0 15,0 0-15,-13-13 0,13 14 16,0-1-16,0 0 16,0 0-16,0 1 15,13-14-15,0 0 16,0 0-1,1-14-15,-1 14 16,-13-13-16,13 13 0,-13-13 16,0 0-16,13 13 0,-13-14 15,0 1-15,14 0 16,-14 0-16,13 13 31,0 0 16,-13 13-47,13-13 16,1 13 15,-1-13-15,0 0-16,0 0 31,0 13-16,1-13-15,-1 0 32,0 0-17,0 0-15,1 0 16,-14-13 0,13 13-16,0-13 15,0 13 1,0-13-1,14 13 1,-27 13 0</inkml:trace>
  <inkml:trace contextRef="#ctx0" brushRef="#br0" timeOffset="-188319.41">12263 9128 0,'40'-13'31,"-27"13"-31,14-13 0,-1 13 16,14-14-16,13 14 0,-13-13 0,12 0 16,1 13-16,0-13 0,0 0 15,-13 13-15,13-14 0,-13 14 0,-1-13 16,1 13-16,-14 0 0,1-13 15,-14 13-15,0 0 0,14 0 0,-14 0 16,0 0-16,0 0 0,1 0 16,-14 13-1,0 0 1</inkml:trace>
  <inkml:trace contextRef="#ctx0" brushRef="#br0" timeOffset="-187927.21">12224 9710 0,'39'-13'15,"-25"13"-15,12 0 16,1 0-16,-1 0 0,27-13 0,-13 13 16,13 0-16,13-13 0,-13 13 15,26-14-15,-26 1 0,13 13 0,-13-13 16,13 13-16,-13-13 0,0 13 0,0-14 16,-13 14-16,12-13 0,-12 13 15,0-13-15,-14 13 0,1 0 0,-14-13 16,13 13-16,-12 0 0,-1 0 0,0 0 15,0 0-15,1 0 0,-1-14 16,0 14 0</inkml:trace>
  <inkml:trace contextRef="#ctx0" brushRef="#br0" timeOffset="-178872.29">12621 9340 0,'0'-13'0,"26"13"31,-26-14-31,13 14 16,-39 14 62,13-14-78,-1 0 16,1 0-16,13 13 15,-13-13-15,0 0 0,13 13 0,-14-13 16,1 13-16,0-13 0,0 13 15,0 1-15,13-1 16,-14 0-16,14 0 16,-13-13-16,13 14 0,0-1 15,13-13 1,-13 13-16,14-13 0,-1 0 16,0 13-16,0-13 15,0 0 1,1 0-16,-14 14 15,0-1 1,0 0 0,0 0-16,-14-13 0,14 13 0,-13 1 15,0-1-15,0-13 0,13 13 16,-13-13-16,13 13 0,-14-13 16,1 0-16,0 14 0,0-14 15</inkml:trace>
  <inkml:trace contextRef="#ctx0" brushRef="#br0" timeOffset="-178475.36">12872 9313 0,'-26'14'31,"12"-1"-31,14 0 16,0 0-16,-13 0 0,13 14 0,0-14 15,0 0-15,0 1 0,0-1 0,0 0 16,13 0-16,-13 1 0,0-1 15,14 0-15,-14 0 0,13-13 0,0 13 16,0-13-16,0 0 16,1 0-16,-1 0 15,0-13-15,-13 0 16,0 0 0,-13 0-16,0-1 0,-1 1 15,1 13-15,0-13 16,0 13-16,0 0 15,-14 0-15,14 0 16,0 0-16,-1 0 0,14 13 16,-13-13-16</inkml:trace>
  <inkml:trace contextRef="#ctx0" brushRef="#br0" timeOffset="-175496.54">13811 9432 0,'53'0'0,"185"-13"31,-172 0-31,1 13 0,12-13 16,0 13-16,1-14 0,12 1 15,1 13-15,0-13 0,-1 0 0,1 13 0,-1-13 16,14 13-16,-13-14 0,-1 14 15,-12-13-15,12 13 0,-12 0 16,-1-13-16,-13 13 0,0 0 0,-13 0 16,0-13-16,0 13 0,-13 0 0,0 0 15,-14 0-15,0 0 0,1 0 16,-1 0-16,-12-14 0,-1 14 0,0 0 16,0 0-16,0 0 0,1 0 15,-54 0 16,14 0-31,-1 0 0,1 0 0,-27 0 16</inkml:trace>
  <inkml:trace contextRef="#ctx0" brushRef="#br0" timeOffset="-174744.55">13745 9287 0,'13'-13'0,"1"-1"15,-41 41 17,14-27-17,0 13-15,-1 0 0,1 1 0,-13-1 16,12-13-16,-12 13 0,13 0 0,-14 0 15,14 1-15,0-1 16,0 0-16,-1 0 0,1 1 0,0-1 16,0 0-16,0 0 0,13 1 15,-14-14-15,14 13 0,0 13 16,14-26-16,-14 13 16,13-13-16,-13 14 0,13-14 15,0 13-15,0-13 16,1 0-16,-1 13 0,0-13 0,0 0 15,1 0-15,-1 13 0,0-13 0,0 0 16,0 0-16,1 0 0,-1 0 16,0 0-16,-13 14 0,13-14 15,1 0 1,-1 0-16,0 0 16,0 0 15,1 0-16,-1 0 1</inkml:trace>
  <inkml:trace contextRef="#ctx0" brushRef="#br0" timeOffset="-168423.41">15465 8493 0,'0'-13'0,"-13"13"32,13 26 140,0-12-157,0-1-15,0 0 0,0 0 16,0 0-16,0 1 0,0-1 0,0 0 15,0 0-15,0 1 16,13-1-16,-13 0 0,0 0 0,13-13 16,-13 14-16,13-1 0,1 0 15,-1-13-15,0 13 16,0-13-16,1 0 0,-14 13 0,13-13 16,0 0-16,0 0 0</inkml:trace>
  <inkml:trace contextRef="#ctx0" brushRef="#br0" timeOffset="-167232.16">15716 8533 0,'-13'26'47,"13"-13"-32,-13 1-15,13-1 16,-13 0 0,13 0-16,13 1 31,0-14-15,0 0-1,0 0-15,1 0 16,-1 0-16,-13-14 15,13 14-15,0 0 16,1-13-16,-1 13 16</inkml:trace>
  <inkml:trace contextRef="#ctx0" brushRef="#br0" timeOffset="-166978.36">15782 8374 0,'14'0'0,"25"13"31,-25-13-31,12 14 0,-13-1 0,14 0 16,-14 0-16,0 0 0,0 1 0,14-1 16,-14 0-16,-13 0 0,13 1 15,1-1-15,-14 13 0,0-13 0,0 1 16,0-1-16,0 13 0,-14-12 0,1-1 15,0 0-15,0 14 0,-14-14 16,14 13-16,-14-13 0,14 1 16,-13-14-16</inkml:trace>
  <inkml:trace contextRef="#ctx0" brushRef="#br0" timeOffset="-165992.37">15372 7660 0,'-13'0'16,"0"13"-16,13 0 0,-13 0 16,-1 1-16,14-1 0,-13 13 0,13 1 15,-13-14-15,13 13 0,-13-12 0,13 12 16,0-13-16,0 1 0,0-1 16,0 0-16,13 0 0,-13 1 0,13-1 15,-13 0-15,13-13 0,1 13 0,-1-13 16,0 0-16,0 13 15,1-13-15,-1 0 0,0-13 0,0 13 16,0 0-16</inkml:trace>
  <inkml:trace contextRef="#ctx0" brushRef="#br0" timeOffset="-164910.35">15703 7699 0,'-13'14'15,"0"-1"-15,13 0 16,-14-13-16,14 13 0,-13-13 16,13 14-16,-13-1 15,13 0-15,0 0 31,13 0-31,0-13 32,1 0-32,-1 0 15,0 0-15,0 0 0,0 0 16,1 0-16,-1-13 16,0 13-16,0 0 0,-13-13 15,14 13-15</inkml:trace>
  <inkml:trace contextRef="#ctx0" brushRef="#br0" timeOffset="-164599.52">15729 7527 0,'-13'0'0,"26"0"0,1 0 16,12 0 0,-13 14-16,1-14 0,12 13 15,1-13-15,-14 13 0,26 0 0,-12 1 16,-1-1-16,1 13 0,-1-13 0,-12 14 16,12-1-16,-13 1 15,-13-14-15,13 14 0,-13-1 0,0-13 16,0 14-16,-13 12 0,0-12 0,0 13 15,-14-14-15,1 14 0,-1-14 16,1 14-16,-1-14 0,1 1 0,0-1 16,-1 1-16,-13-14 0</inkml:trace>
  <inkml:trace contextRef="#ctx0" brushRef="#br0" timeOffset="-162827.27">15094 6959 0,'-13'0'0,"-13"26"15,26-13-15,-13-13 16,13 13-16,-14 14 0,14-14 16,-13 0-16,13 1 0,0-1 0,0 13 15,0-12-15,0-1 0,0 0 0,0 0 16,0 0-16,0 1 0,0-1 15,13 0-15,1 0 0,-1 1 16,0-14-16,-13 13 16,13-13-16,0 0 0,14 0 15,-14 0-15</inkml:trace>
  <inkml:trace contextRef="#ctx0" brushRef="#br0" timeOffset="-162394.99">15438 6972 0,'-13'13'31,"13"0"-31,-13 0 16,13 1-16,-13-1 0,13 0 0,-13 0 15,13 1-15,0-1 0,-14 0 16,14 0-16,0 1 15,0-1 1,0 0-16,14 0 31,-1-13-31,0 0 0,0-13 16,0 13-16,1 0 16,-1 0-16,0 0 0,-13-13 15,13 13-15,1 0 0,-14-13 0,13 13 16,-13-14-16,13 14 0</inkml:trace>
  <inkml:trace contextRef="#ctx0" brushRef="#br0" timeOffset="-162119.2">15465 6813 0,'40'0'16,"-27"0"-16,13 13 0,-12 0 15,12 1-15,0-1 0,1 0 0,-1 0 16,-12 14-16,12-14 0,-13 14 16,0-14-16,1 0 0,-1 13 15,-13-12-15,0 12 0,0 1 0,-13-1 16,-1 1-16,-12 12 0,13-12 0,-27 12 15,14-12-15,-1-1 0,1 1 16,-1-1-16</inkml:trace>
  <inkml:trace contextRef="#ctx0" brushRef="#br0" timeOffset="-158837.58">14896 6324 0,'-13'39'15,"26"-78"-15,-39 105 0,26-53 0,0 0 0,0 0 16,0 1-16,0 12 0,13-13 15,-13 1-15,0-1 0,13 0 0,-13 0 16,13 0-16,0-13 0,1 14 0,-1-14 16,0 13-16,0-13 15,1 0-15</inkml:trace>
  <inkml:trace contextRef="#ctx0" brushRef="#br0" timeOffset="-157507.64">15266 6350 0,'0'-13'15,"27"39"17,-27-13-32,0 1 15,13-1-15,-13 0 16,0 0-16,13-13 0,-13 14 15,0-1-15</inkml:trace>
  <inkml:trace contextRef="#ctx0" brushRef="#br0" timeOffset="-157027.39">15280 6019 0,'39'0'0,"80"53"32,-92-40-32,13 14 0,-14-1 0,1 1 15,-1-1-15,-13 1 0,0 12 16,14-12-16,-14-1 0,-13 14 0,13-14 16,-13 1-16,-13 13 0,13-1 0,-13 1 15,0 0-15,-14-1 0,14 1 16</inkml:trace>
  <inkml:trace contextRef="#ctx0" brushRef="#br0" timeOffset="-149479.62">12012 6257 0,'0'-13'16,"0"40"15,0-14-31,0 13 0,13 27 0,-13 13 15,0 1-15,14 12 0,-14 0 16,0 1-16,13 12 0,-13 14 0,13-13 16,-13-14-16,13 14 0,-13-1 0,0-12 15,0 12-15,-13-12 0,13 12 16,0-26-16,0 14 0,-13-1 0,13-13 16,0 0-16,0-13 0,0-13 0,0 13 15,0-13-15,0-1 0,0-12 16,0-1-16,0 1 0,0-14 0,0 13 15,0-12-15,0-1 0,0 0 16,0 0 0</inkml:trace>
  <inkml:trace contextRef="#ctx0" brushRef="#br0" timeOffset="-145170.1">12091 6297 0,'14'0'16,"-1"0"-1,0 0-15,0 0 0,1 0 16,-1 0-16,0 0 0,14-13 0,-14 13 15,13 0-15,1 0 0,-1-13 16,14 13-16,13 0 0,-14-14 0,1 14 16,0-13-16,13 13 0,-14-13 0,14 13 15,-13-13-15,13 13 0,-13-14 16,13 14-16,-14-13 0,14 13 16,-13 0-16,13-13 0,0 13 0,-14-13 15,1 13-15,13 0 0,-13-13 16,-1 13-16,1 0 0,0-14 0,-14 14 15,14 0-15,-14-13 0,1 13 0,12 0 16,-12-13-16,-1 13 0,1 0 16,-1-13-16,14 13 0,-14 0 0,1-14 15,-1 14-15,1 0 0,-1-13 0,1 13 16,-14 0-16,13 0 0,1 0 16,-14-13-16,14 13 0,-14 0 0,0 0 15,13 0-15,-12-13 0,-1 13 16,0 0-16,0 0 0,1 0 15,-1 0-15,0 0 0,0 0 0,1 0 16,-1-14-16,0 14 0,0 0 0,0 0 16,1 0-16,-1 0 15,0 0-15,14 0 16,-14 0-16,0-13 16,0 13-16,1 0 15,-1 0-15,0 0 16,0 0-16,0 13 0,1-13 15,-1 0 1,0 0-16,-13 14 16,13-14-16,1 0 15,-14 13-15,13 0 16,0 0-16,-13 1 16,13-1-16,-13 0 15,13-13-15,-13 13 0,14 1 16,-14-1-16,0 0 15,13-13-15,-13 13 0,13 0 0,0 1 16,-13-1-16,0 0 0,14 0 16,-14 1-16,13-14 0,-13 13 0,13 0 15,-13 0-15,0 1 0,13-1 16,1 0-16,-14 0 16,0 0-16,13 1 0,-13-1 0,0 0 15,13 0-15,-13 1 0,13-1 0,-13 0 16,13 0-16,-13 1 15,14-1-15,-14 0 0,13 0 16,-13 0-16,13 1 0,0-1 16,-13 0-16,14 0 0,-14 1 15,13-1-15,-13 0 16,0 0-16,13-13 0,-13 14 16,0-1-16,0 0 15,13 0-15,-13 0 16,0 1-16,0-1 0,14-13 15,-14 13-15,0 0 0,0 1 16,13-1-16,-13 0 16,0 0-16,13 0 15,-13 1-15,0-1 0,0 0 16,0 0 0,0 1-16,13-14 0,-13 13 0,0 0 15,0 0-15,0 1 16,13 12-1,-13-13-15,0 0 16,14 1-16,-14-1 16,0 0-16,0 0 15,13 1-15,-13-1 16,0 0-16,0 0 0,0 1 16,0-1-16,13-13 0,-13 13 0,0 0 15,0 0-15,0 1 16,13-1-16,-13 0 0,0 0 15,0 1-15,0-1 16,14 0-16,-14 0 16,0 0-16,0 1 0,13-1 15,-13 0-15,0 0 0,0 1 0,0-1 16,13-13-16,-13 13 16,0 0-16,0 1 0,0-1 0,13 0 15,-13 0-15,0 0 0,13 1 16,-13-1-16,0 0 0,0 0 0,0 1 15,14-1-15,-14 0 0,0 0 16,0 1-16,0-1 0,0 0 16,13 0-16,-13 0 0,0 1 0,0-1 15,0 0-15,0 0 0,0 1 16,0-1-16,0 0 0,0 0 16,13 1-16,-13-1 0,0 0 15,0 0-15,0 0 16,0 1-16,0-1 15,0 0-15,13 0 16,-13 1-16,0-1 16,0 0-1,0 0-15,0 1 0,14-14 0,-14 13 16,0 0-16,0 0 16,13 0-16,-13 1 0,0-1 15,13 0-15,-13 0 0,0 1 16,0-1-16,13 0 0,-13 0 15,0 0 1,0 1-16,0-1 0,14 0 16,-14 0-16,0 1 0,0-1 15,13-13-15,-13 13 0,0 0 0,0 1 16,13-14-16,-13 13 0,0 0 16,13 0-16,-13 0 0,0 1 15,13-1-15,-13 0 16,0 0-16,14 1 15,-14-1-15,0 0 16,0 0-16,13 1 0,-13-1 16,0 0-16,13-13 0,-13 13 0,0 0 15,13-13-15,-13 14 0,0-1 0,14 0 16,-14 0-16,0 1 16,13-1-16,-13 0 15,13 0-15,-13 0 16,0 1-16,0-1 0,13 0 15,-13 0-15,0 1 16,14-1-16,-14 0 16,0 0-1,0 1 1,0-1 0,0 0 15,0 0 63,0 0-79,0 1 16,0-1 1,-14-13-17,14 13 1,0 0 15,-13 1 16,13-1-31,0 0 31,-13-13-32,13 13-15,-13 1 31,-1-14 1,14 13-17,-13-13 17,0 13-17,0-13 16,-1 0-15,1 0 15,0 0-15,13 13 0,-13-13-1,0 0-15,-1 0 16,1 0 15,0 13-31,0-13 31,-1 0-15,1 0 0,0 0-1,0 0 1,-1 0-1,1 0-15,0 0 16,0 0-16,0 0 16,-1-13-1,-12 13-15,13 0 16,-1 0-16,1 0 0,0 0 16,0 0-16,0 0 0,-1 0 15,1 0-15,0 0 0,0 0 16,-1 0-16,1 0 0,0 0 0,0 0 15,-1 0-15,1 0 0,0 0 16,-13 0-16,12 0 0,1 0 16,0 0-16,-27 0 0,27 0 15,0 0-15,-1 0 0,1 0 16,0 0-16,0 0 0,0 0 0,-1 0 16,1 0-16,0 0 0,0 0 0,-14 0 15,14 0 1,0 0-16,0 0 15,-1 0-15,1 0 16,0 0-16,0 0 16,-1 0-16,1 0 15,0 0-15,0 0 0,-1 0 0,14 13 16,-13-13-16,0 0 0,0 0 16,-14 0-16,14 0 0,0 0 0,0 0 15,-14 0-15,14 0 0,0 0 16,-27 0-16,27 0 0,-14 0 15,1 0-15,13 0 0,-14 0 16,14 0-16,0 0 0,-1 0 16,-12 0-16,13 14 0,0-14 15,-1 0-15,1 0 0,0 0 0,0 0 16,-1 0-16,1 0 0,0 0 16,0 0-16,-14 0 0,14 13 15,-13-13-15,12 0 0,1 0 0,-13 0 16,12 0-16,-12 0 0,13 13 15,-14-13-15,14 0 0,-13 0 16,-1 13-16,14-13 0,-14 0 0,-12 14 16,12-14-16,1 0 15,13 0-15,-14 0 0,14 0 0,-14 0 16,14 0-16,0 0 0,-13 0 0,12 0 16,-12 0-16,13 13 0,-14-13 0,14 0 15,0 0-15,-14 0 0,14 0 16,-13 0-16,12 13 0,1-13 15,-13 0-15,-1 0 0,14 0 0,0 13 16,0-13-16,-14 0 16,14 0-16,0 0 0,-1 0 0,1 0 15,0 0-15,-14 0 0,14 0 16,0 0-16,0 0 0,0 0 16,-1 0-16,-12 14 0,13-14 15,-14 0-15,1 0 16,12 0-16,1 0 0,0 0 15,0 0-15,0 0 0,-14 0 16,14 0-16,0 0 0,-14 0 0,14 0 16,0 0-16,-1 0 0,-12 0 15,13 0-15,0 0 0,-1 0 16,-12 0-16,-1 0 0,1 0 16,13 0-16,0 0 15,-1 0-15,1 13 0,0-13 16,0 0-16,-1 0 0,1 0 15,0 0-15,0 0 16,-1 0-16,1 0 16,0 0-1,0 0 1,0-13 15,13-1-31,0 1 16,-14 0-16,14 0 0,0-1 15,0-12-15,-13 13 16,13-40-16,-13 0 16,0-79-1,13 92-15,-14-40 16,14 1-16,0 0 16,0-1-16,-13 14 15,13-13-15,0 39 16,-13-26-16,13 13 15,-13 13-15,13 27 0,0-13 16,0 13-16,-14-14 16,14 1-16,0-1 15,-13 14 1,26-14-16,1 14 16,-14 0-16,13 0 15</inkml:trace>
  <inkml:trace contextRef="#ctx0" brushRef="#br0" timeOffset="-143809.36">13269 6257 0,'0'27'16,"0"-14"-16,0 0 0,0 14 15,0-14-15,0 13 0,-13 1 0,13 13 16,0-1-16,13 14 16,-13-13-16,0 0 0,0-1 0,0 14 15,13-13-15,-13 13 0,13 0 0,-13 0 16,14-14-16,-14 14 0,13-13 16,-13 13-16,13-13 0,-13 26 0,13-27 15,-13 1-15,0 53 0,13-54 16,-13-12-16,0 12 0,0 1 15,0-13-15,0-1 0,0 1 0,0-1 16,0 0-16,14 1 0,-14-1 0,0 1 16,0-1-16,0 1 0,0-1 15,0 1-15,0-14 0,0 13 0,13-12 16,-13 12-16,0-13 0,0 1 16,0 12-16,0-13 0,0 0 15,13 1-15,-13-1 0,0 0 0,0 0 16,0 1-16,13-1 0,-13 0 0,0 0 15,0 0-15,0 1 16,14-1-16,-14 0 0,0 0 16,0 1-16,13-14 0,-13 13 15,0 0-15,0 0 0,0 1 16,13-14-16,-13 13 0,0 0 0,0 0 16,0 0-16,13 1 0,-13-1 15,0 0-15,0 0 16,14 1-16,-14-1 0,0 0 15,0 0-15,13 1 0,-13-1 0,0 0 16,0 0-16,13 0 0,-13 1 0,0 12 16,13-13-16,-13 1 15,0-1-15,0 0 0,13 0 16,-13 0-16,0 1 0,0-1 16,14 0-16,-14 0 15,0 1-15,0-1 0,0 0 16,0 0-16,0 1 0,0-1 0,0 0 0,0 0 15,0 0-15,0 1 0,0-1 16</inkml:trace>
  <inkml:trace contextRef="#ctx0" brushRef="#br0" timeOffset="-142165.14">12065 6271 0,'-13'0'31,"13"-14"-16,0 1 1,0 0 0,0 0-16,0-1 0,0 1 15,0 0-15,0 0 0,-13 0 16,13-1-16,0-12 0,-14-1 0,14 1 16,0 13-16,-13-14 0,13 1 15,-13-1-15,13 1 0,-13 13 0,-1-14 0,14 1 16,-13-1-16,13 14 15,-13-13-15,13 12 0,0-12 0,-13 13 16,13-14-16,0 14 0,0 0 0,0 0 16,0-1-16,0 1 0,0 0 15,13 13-15,-13-13 0,0-1 0,13 14 16,0-13-16,1 0 0,-1 13 16,0 0-16,0-13 0,1 13 15,12 0-15,-13-14 0,14 14 0,-14 0 16,13 0-16,1-13 0,-1 13 15,1-13-15,52 0 0,-52 13 16,12 0-16,1-13 0,-14 13 0,14 0 16,-13-14-16,12 14 0,14-13 15,-13 13-15,-14-13 0,14 13 16,-14 0-16,1 0 0,13-13 0,-1 13 16,-12-14-16,12 14 0,-12 0 0,-1-13 15,14 13-15,-13 0 0,-1 0 16,0-13-16,14 13 0,-13 0 0,-1-13 15,0 13-15,14 0 0,-13-13 16,-1 13-16,1 0 0,-1 0 0,0-14 16,1 14-16,-14 0 0,14-13 15,-1 13-15,-13 0 0,14-13 0,-1 13 0,1 0 16,-14-13-16,13 13 0,-12 0 16,12 0-16,-13-14 0,14 14 15,-14 0-15,0 0 0,0 0 0,14 0 16,-14 0-16,0-13 0,1 13 15,-1 0-15,0 0 0,0 0 0,0 0 16,1 0-16,-1 0 0,0 0 16,0 0-16,1 0 15,-1 0-15,0 0 16,0-13-16,1 13 16,-1 0-16,0 0 15,-13 13 1,13-13-16,0 0 15,1 0 17,-1 13-32,0-13 15,-13 14-15,13-14 16,-13 13-16,14-13 16,-1 13-16,0 0 15,-13 1-15,13-14 16,-13 13-16,14-13 0,-14 13 0,13 0 15,-13 0-15,13 1 16,-13-1-16,13 0 0,0 0 16,-13 1-16,14-1 15,-14 0-15,13-13 0,0 26 16,-13-12-16,13-1 0,-13 13 0,0-12 16,14-1-16,-14 0 0,0 0 15,13 1-15,-13 12 0,0-13 0,0 0 16,13 14-16,-13-14 0,0 14 0,0-14 15,13 13-15,-13-12 0,0-1 16,14 13-16,-14-13 0,0 14 0,13-14 16,-13 0-16,0 1 0,0-1 0,13 0 15,-13 0-15,0 0 0,13 1 16,-13-1 0,0 0-16</inkml:trace>
  <inkml:trace contextRef="#ctx0" brushRef="#br0" timeOffset="-141512.95">13070 5398 0,'0'26'47,"0"-13"-47,0 0 0,0 14 16,14-1-16,-14 14 0,0 13 0,0-13 15,13 26-15,0-13 0,-13 0 16,13 0-16,-13 13 0,14-27 0,-14 14 16,0 0-16,13-13 0,-13 0 15,13-1-15,-13-12 0,0-1 0,13-13 16,-13 14-16,0-1 0,0-12 0,0-1 15</inkml:trace>
  <inkml:trace contextRef="#ctx0" brushRef="#br0" timeOffset="-86359.23">3638 11126 0,'-13'-14'0,"13"1"31,13 0-16,0 13-15,0 0 0,1 0 16,-1 0-16,0 0 0,0 13 0,1-13 16,-1 13-16,0-13 0,0 14 0,-13-1 15,14 0-15,-14 0 0,0 1 16,0-1-16,0 0 0,-14 0 0,14 14 16,-13-14-16,0 13 0,0-12 0,-1-1 15,1 13-15,-13-12 0,12-1 0,1 0 16,0-13-16,0 13 0,0-13 15,-1 14-15,1-14 0,0 0 16,39 0 15,1-14-15,-14 14-16,0 0 0,0 0 16,1 0-16,-1 0 0,13 0 15,-12 0-15,-1 0 0,0 0 0,0 0 16,1 0-16,-1 0 0,0 0 15,0 0-15,0 0 0,1 0 0,-1 0 16,0-13-16,14 13 0</inkml:trace>
  <inkml:trace contextRef="#ctx0" brushRef="#br0" timeOffset="-86142.28">4299 11152 0,'-66'53'31,"40"-40"-31,13 1 16,-1-1-16,1 0 16,0 0-16,0 0 0,0 1 0,-1 12 15,1-26-15,13 13 0,-13 1 0,13-1 16,-13 0-16</inkml:trace>
  <inkml:trace contextRef="#ctx0" brushRef="#br0" timeOffset="-85824.23">3982 11192 0,'13'0'0,"0"-13"0,67 39 31,-67-13-31,0-13 16,14 14-16,-1-1 15,-13 0-15,1 0 0,-1 0 0,0-13 16,0 14-16,-13-1 0,14-13 16,-1 13-16,0-13 0,-13 13 15,13-13-15,0 0 0,1 14 16</inkml:trace>
  <inkml:trace contextRef="#ctx0" brushRef="#br0" timeOffset="-85022.34">4591 11152 0,'-14'27'16,"14"-14"-16,0 0 15,0 0-15,-13 1 0,13 12 16,0-13-16,0 0 0,0 14 0,0-14 16,0 0-16,0 1 0,0-1 0,0 0 15,0 0-15,0 1 16</inkml:trace>
  <inkml:trace contextRef="#ctx0" brushRef="#br0" timeOffset="-84522.03">3294 10848 0,'0'0'0,"-40"40"0,27-14 0,-13 1 16,-1 12-16,14 1 0,-13 13 15,12-14-15,14 1 0,-13 13 16,13-13-16,0-1 0,13 14 0,-13-13 16,14 0-16,12-1 0,-13 1 0,27 13 15,-14-26-15,14 12 0,0-12 16,13 12-16,-14-25 0,1 12 0,13-13 16,-13 1-16,13-14 0,-1 13 0,1-13 15,14 0-15,-1-13 0,0-1 16,0 1-16</inkml:trace>
  <inkml:trace contextRef="#ctx0" brushRef="#br0" timeOffset="-84109.65">4577 10941 0,'53'26'0,"-106"-52"16,119 78-16,-39-38 0,-1 12 0,14 1 15,-14 12-15,1 1 0,-1-14 0,1 14 16,-1 26-16,-12-26 16,-14 0-16,0 39 0,0-39 15,-14-1-15,1-12 0,-13 13 0,12-14 16,1 0-16,-13 1 0,12-1 15,1-12-15,0-1 0,0 0 16,0-13-16</inkml:trace>
  <inkml:trace contextRef="#ctx0" brushRef="#br0" timeOffset="-83706.34">5464 11112 0,'0'40'31,"0"-27"-31,0 14 16,13-14-16,-13 14 0,0-1 0,0 0 15,0 1-15,0-1 0,0 1 0,0-1 16,0-12-16,0 12 0,0-13 16,0 0-16,0 1 0,0-1 15,0 0-15,0 0 0</inkml:trace>
  <inkml:trace contextRef="#ctx0" brushRef="#br0" timeOffset="-83489.09">5292 11324 0,'92'13'32,"-65"-13"-32,-1 14 15,-13-14-15,14 0 0,-1 0 0,1 0 16,-1 13-16,-13-13 0,14 0 0,-1 0 15,1 0-15,-14 0 0,14 0 16,-1 0-16,-13 0 0</inkml:trace>
  <inkml:trace contextRef="#ctx0" brushRef="#br0" timeOffset="-82658.16">6244 11033 0,'0'27'31,"0"-1"-31,-13-13 0,13 14 0,-13-1 16,-1 14-16,1-14 0,0 1 0,-13 39 16,26-40-16,-14-12 15,14 12-15,-13-13 0,13 1 16,-13-1-16,13 13 0,0-13 16,-13 1-16,13-1 15</inkml:trace>
  <inkml:trace contextRef="#ctx0" brushRef="#br0" timeOffset="-82291.32">6628 11179 0,'-27'13'16,"14"0"-16,0 0 15,0-13-15,-14 14 0,14-1 0,-13 0 16,12 0-16,-12 0 0,13 1 16,-1-1-16,-12-13 0,26 13 0,-13 0 15,-1-13-15,1 14 0,26-1 31,-13 0-31,14-13 0,-1 0 0,0 13 16,14-13-16,-14 0 0,0 0 16,14 0-16,-14 0 0,13 0 15,-13 0-15,14 0 0,-14 0 0,0-13 16,14 13-16,-14 0 0,0 0 16,1-13-16,-1 13 0,0 0 15,-13-13-15</inkml:trace>
  <inkml:trace contextRef="#ctx0" brushRef="#br0" timeOffset="-82062.68">6601 11179 0,'0'0'15,"-26"26"-15,13 1 0,13-14 16,-14 13-16,14-13 0,-13 14 15,13-14-15,-13 14 0,13-1 0,-13-13 16,13 14-16,-13-1 0,13-13 16,0 14-16,0-14 0,-14 0 0,14 1 15,0-1-15,14-13 0,-14 13 16,13-13-16</inkml:trace>
  <inkml:trace contextRef="#ctx0" brushRef="#br0" timeOffset="-81796.76">7038 11179 0,'-13'13'31,"13"0"-31,-14 0 15,14 1-15,-13-1 16,0 13-16,0-13 0,0 14 16,-1-1-16,1-12 0,0 12 15,0-13-15,13 1 0,-14-1 16,1 0-16,0-13 16</inkml:trace>
  <inkml:trace contextRef="#ctx0" brushRef="#br0" timeOffset="-81574.64">6787 11271 0,'26'13'47,"-13"1"-47,0-14 15,1 13-15,12 0 0,-13 0 16,1 1-16,-1-14 0,0 13 15,0 0-15,1 0 0,12-13 0,-13 14 16,0-1-16,1-13 0,12 13 16,-13-13-16,14 0 0,-14 13 0,14-13 15,-14 0-15,13 0 0,1-13 16</inkml:trace>
  <inkml:trace contextRef="#ctx0" brushRef="#br0" timeOffset="-81189.22">7342 11192 0,'27'0'0,"-14"-13"0,0 13 15,0 0-15,1 0 0,-14 13 16,26 0-1,-13 0-15,-13 1 16,0-1-16,-13 0 0,-13 13 0,12 1 16,1-14-16,0 0 15,0 1-15,13-1 0,-14 0 0,1-13 16,13 13-16,0 1 0,0-1 16,13-13-1,1 13-15,-1-13 16,0 0-16,0 0 0,1 0 0,-1 0 15,0 0-15,0 0 0,0 0 16,1 0-16,-1 0 0,0 0 16,0 0-16,1-13 0</inkml:trace>
  <inkml:trace contextRef="#ctx0" brushRef="#br0" timeOffset="-80681.15">5913 10914 0,'-39'53'0,"26"-27"0,-1 1 15,1 13-15,0-1 0,13 14 0,-13-13 16,-1 13-16,14 0 0,0-14 15,14 14-15,-14-13 0,13 0 0,13-1 16,1 1-16,12 0 0,1-14 0,39 14 16,-26-14-16,53-12 15,-53-28-15,0 14 16,0-13-16,13 13 0,0-13 0,0 0 16</inkml:trace>
  <inkml:trace contextRef="#ctx0" brushRef="#br0" timeOffset="-80326.15">7594 10888 0,'39'26'16,"-78"-52"-16,105 65 0,-40-12 0,14-14 16,-14 13-16,14 14 0,0-13 0,-1 12 15,1 27-15,-13-26 0,-14-13 16,-13-1-16,0 0 0,0 14 15,-13 0-15,-1-14 0,1 14 16,-13 0-16,12-14 0,-12 1 0,-1-1 16,14 1-16,0-1 0,-13-13 0,12 0 15,1-13-15,0 14 0,0-14 16</inkml:trace>
  <inkml:trace contextRef="#ctx0" brushRef="#br0" timeOffset="-80007.28">8480 11020 0,'13'79'15,"-13"-52"1,0-14-16,0 13 0,0 1 16,0-14-16,0 14 0,0-1 15,0 0-15,0-12 0,0 12 0,0-13 0,-13 1 16,13-1-16,0 0 0,0 0 15</inkml:trace>
  <inkml:trace contextRef="#ctx0" brushRef="#br0" timeOffset="-79777.98">8255 11271 0,'26'-13'0,"1"13"16,-1 0 0,-12 0-16,12 0 0,1 0 0,12 0 15,-12 0-15,-1-13 0,14 13 0,-27 0 16,13 0-16,1 0 0,-1 0 16,-12 0-16,12 0 0,1 0 15,-14 0-15,0 0 0,0 0 0</inkml:trace>
  <inkml:trace contextRef="#ctx0" brushRef="#br0" timeOffset="-77623.24">9618 11139 0,'-27'13'31,"14"-13"-31,0 13 16,-1-13-16,1 0 16,13 14-16,-13-14 15,0 13 1,26 0-16,-13 0 16,13-13-16,0 14 0,1-1 15,-14 0-15,13 0 0,0 0 0,0 1 16,1-1-16,-14 0 0,13 0 0,0 1 15,-13-1-15,0 0 0,0 0 16,0 1-16,-13-1 0,13 0 16,-13 0-16,-1-13 0,1 0 15,0 13-15,0-13 0,-1 0 16,-12 0-16,26-13 16,-13 0-16,13-13 15,13 26 1,-13-14-16,0 1 0,13 0 0,0 0 15,1-1-15,-1 1 0,-13 0 16,13 0-16,0-1 0,1 1 0,-14 0 16,13 0-16,-13 0 0,0-1 0,0 1 15,0 0-15,0 0 0,0-1 0,0 1 16,-13 13-16,13-13 0,-14 0 16,1 13-16,13-14 0,-13 14 15,0-13-15,-1 13 0,1 0 0,0 0 16,0 13-16,0 1 15</inkml:trace>
  <inkml:trace contextRef="#ctx0" brushRef="#br0" timeOffset="-77422.12">10120 11258 0,'-53'79'16,"40"-65"-1,0 12-15,0 1 0,-14-1 0,1 0 16,-1-12-16,14 12 0,-13-13 16,12 14-16,1-14 0,-13 0 0</inkml:trace>
  <inkml:trace contextRef="#ctx0" brushRef="#br0" timeOffset="-77227.08">9790 11351 0,'13'0'16,"0"0"-16,0 13 15,-13 0-15,13-13 0,1 13 16,-1 1-16,13 12 0,-12-13 0,-1 0 0,0 1 15,0 12-15,14-13 0,-14 1 16,13 12-16,-12-13 0,-1-13 0,0 14 16,0-14-16</inkml:trace>
  <inkml:trace contextRef="#ctx0" brushRef="#br0" timeOffset="-76769.34">10451 11298 0,'13'0'15,"-26"0"-15,40-14 0,-54 41 47,14-27-47,0 13 0,-1-13 0,1 13 16,0-13-16,0 14 16,13-1-1,13 0 16,0-13-31,-13 13 0,13-13 0,-13 14 16,14-14-16,-14 13 0,0 0 0,0 0 16,-14 0-16,14 1 0,-13-1 15,0 0-15,0 0 16,-1 1-16,-12-1 0,13 0 0,-14-13 16,1 13-16,-1 1 0,14-14 0,-13 13 15,-1-13-15,14 0 0,-13 0 16,-1 0-16,1 0 0</inkml:trace>
  <inkml:trace contextRef="#ctx0" brushRef="#br0" timeOffset="-76422.13">9234 11046 0,'-40'40'0,"80"-80"0,-93 120 16,40-54-16,0 14 0,-1 0 0,1 12 0,0-12 15,13 13-15,0-13 0,-13-1 16,26 14-16,-13-13 0,13 0 16,14-1-16,-1 1 0,14-13 0,-1-1 15,1 1-15,0-14 0,13 0 0,-14 0 16,14-13-16,13 0 0,1 0 16,12-13-16,-13 0 0,13 0 0</inkml:trace>
  <inkml:trace contextRef="#ctx0" brushRef="#br0" timeOffset="-76075.11">10716 11126 0,'39'26'0,"-78"-52"0,92 52 0,-40 1 16,13-1-16,-13 1 0,1-1 0,-1 0 15,0 1-15,-13-1 16,0 1-16,0-1 0,0 14 0,-13 0 15,0-14-15,-1 1 0,-12 12 0,13-12 16,-14-1-16,1 1 0,-1-14 16,14 0-16,0 0 0,0 1 0,-1-14 15,1 0-15</inkml:trace>
  <inkml:trace contextRef="#ctx0" brushRef="#br0" timeOffset="-75807.37">11390 11020 0,'-13'53'31,"13"-27"-31,-13 1 0,13-1 0,0 1 16,-13-14-16,13 13 0,0 1 0,-14-1 16,14 1-16,0-1 0,0-13 0,0 14 15,0-14-15,0 0 16,0 1-16,0-1 0,0 0 0,14 0 16</inkml:trace>
  <inkml:trace contextRef="#ctx0" brushRef="#br0" timeOffset="-75582.14">11179 11245 0,'53'0'0,"-106"0"0,132 0 0,-66 0 15,14 0-15,-14 0 0,0 0 16,14 0-16,-1 0 0,-13 0 0,14 0 16,-1 0-16,-13 0 0,1 0 0,12 0 15,-13 0-15</inkml:trace>
  <inkml:trace contextRef="#ctx0" brushRef="#br0" timeOffset="-74613.08">12396 11073 0,'0'-13'0,"13"13"16,0-14-16,0 14 16,1 14-16,-1-14 15,0 0-15,-13 13 0,13 0 16,-26 0-1,13 0-15,-13 1 0,0-1 16,13 0-16,-14-13 16,14 13-16,-13-13 0,40 14 62,39 25-15,-40-25-16,-158 105 47,79-106-62,-66-26-16</inkml:trace>
  <inkml:trace contextRef="#ctx0" brushRef="#br0" timeOffset="-74325.66">12700 11033 0,'40'0'0,"-1"13"16,-25 1-16,-107-41 0,186 67 0,-93-27 15,0 0-15,-14 14 16,1-14-16,0 0 0,-27 40 16,27-40-16,0 1 0,0-1 15,-1 0-15,1-13 0,13 13 0,-13-13 16,13 13-16,-13-13 0,39 14 31,-13-14-15,1 0-16,-1 0 0,0 0 15,13 0-15,-12 0 0,-1 0 0,13 0 16,-12 0-16,12 0 0,-13-14 16,14 14-16,-1 0 0,14 0 15,-27 0-15,0 0 0,14 0 16</inkml:trace>
  <inkml:trace contextRef="#ctx0" brushRef="#br0" timeOffset="-74108.43">13361 11112 0,'-39'40'32,"26"-27"-32,13 1 0,-14 12 15,1-13-15,0 1 0,0 12 16,-14 0-16,14-12 0,0 12 0,-1-13 15,1 1-15,13-1 0,-13 0 0,0 0 16</inkml:trace>
  <inkml:trace contextRef="#ctx0" brushRef="#br0" timeOffset="-73900.14">13004 11205 0,'0'-13'0,"14"26"16,-1-13-16,0 13 16,0 1-16,0-14 0,14 13 15,-14 0-15,14 0 0,-1 0 0,-13-13 16,40 27-16,0-14 16,-40 0-16,14-13 0,12 14 15,-12-14-15,-1 0 0,1 0 0,13 13 16</inkml:trace>
  <inkml:trace contextRef="#ctx0" brushRef="#br0" timeOffset="-73497.39">13745 11020 0,'27'-13'16,"-14"13"-1,0 0-15,0 0 0,0 0 16,1 0-16,-1 0 0,0 13 15,0-13-15,1 0 0,-1 13 16,0-13-16,0 13 0,1 1 0,-14-1 16,13 0-16,-13 0 0,13 0 0,-13 14 15,0-14-15,0 0 0,0 14 16,0-14-16,0 27 0,0-27 16,0 0-16,0 0 0,0 1 0,0-1 15,0 0-15,-13 0 0,13 1 16,0-1-16,0 0 15</inkml:trace>
  <inkml:trace contextRef="#ctx0" brushRef="#br0" timeOffset="-73305.07">13772 11245 0,'132'13'47,"-40"-13"-47,-52 0 16,0 0-16,-14 0 0,1 0 15,26 0-15,-27 0 16,1 13-16</inkml:trace>
  <inkml:trace contextRef="#ctx0" brushRef="#br0" timeOffset="-72879.25">12237 10808 0,'-26'13'0,"12"1"0,-92 211 31,106-173-31,-13-12 0,13 13 16,0-13-16,0 13 0,0-14 0,13 1 16,1 0-16,12-1 0,-13 1 15,14-13-15,-1-1 0,14-13 0,0 14 16,-1-14-16,14-13 0,0 0 0,0 0 15,13-13-15,0 0 0</inkml:trace>
  <inkml:trace contextRef="#ctx0" brushRef="#br0" timeOffset="-72542.96">14354 10769 0,'39'39'16,"-78"-78"-16,92 91 0,-27-25 0,0-1 15,-12 14-15,-1 0 0,13-14 16,-12 14-16,-1 0 0,0-1 0,0 1 16,1 0-16,-14-1 0,0 1 0,0-14 15,-14 14-15,1 0 0,0-14 16,-14 14-16,1-14 0,-14 14 0,1-13 16,-1-1-16,0-13 0,1 14 0,-1-14 15</inkml:trace>
  <inkml:trace contextRef="#ctx0" brushRef="#br0" timeOffset="-70806.91">3889 12052 0,'53'0'0,"-26"0"15,-14-13-15,13 13 0,1 0 0,13 0 16,-1-14-16,1 14 0,13 0 0,0-13 16,0 13-16,0-13 0,13 13 15,-13 0-15,13 0 0,0-13 16,-13 13-16,26 0 0,-13 0 0,14 0 16,-1 0-16,-13-14 0,14 14 0,-14 0 15,0 0-15,-13 0 0,13 0 16,-13 0-16,26-13 0,-13 13 0,14 0 15,-1 0-15,-13 0 0,14 0 16,-14-13-16,13 13 0,-13 0 0,1-13 16,12 13-16,-13 0 0,0-14 0,-13 14 15,13 0-15,-13 0 0,0 0 16,13-13-16,-13 13 0,13 0 0,0 0 16,-13 0-16,14 0 0,-15 0 15,15 0-15,-14 0 0,13 0 0,-13 0 16,-1 0-16,1 0 0,-13 0 0,13 0 15,40 0-15,-40 0 16,-1 0-16,-12 0 0,13 0 16,-13 0-16,13 0 0,0 0 0,-14 0 15,1 0-15,0 0 0,-1 0 0,1-13 16,0 13-16,13 0 0,-27 0 16,14 0-16,13 0 0,26 0 15,-26-13-15,-13 13 0,13 0 16,-14 0-16,-12 0 0,26 0 0,-14 0 15,1 0-15,0 0 0,13-13 0,-14 13 16,14 0-16,-13 0 0,13 0 0,-13 0 16,12-14-16,1 14 0,-13 0 15,13 0-15,0 0 0,-13 0 0,-1 0 16,1 0-16,0 0 0,13-13 16,-14 13-16,14 0 0,0 0 15,0 0-15,0 0 0,0 0 0,-14 0 16,14 0-16,0 0 0,0 0 0,0 0 15,0 0-15,0 0 0,13 0 16,-13 0-16,0 0 0,0 0 0,13 0 16,-13 0-16,0 0 0,0 0 0,0 0 15,0 0-15,13 0 0,-13 0 16,-14 0-16,14 0 0,0 0 16,0 0-16,0 0 0,0-13 0,0 13 15,0 0-15,0 0 0,-14 0 0,14 0 16,0 0-16,0 0 0,-13 0 15,13 0-15,-14 0 0,1 0 0,0 0 16,13 0-16,0 0 0,-14 0 16,1 0-16,13 0 0,0 0 0,-13 0 15,-14 0-15,27 0 0,-13 0 0,-1 0 16,14 0-16,-13 0 0,0 0 16,12 0-16,1 0 0,-13 0 0,13 0 15,0 0-15,-13 0 0,13-13 0,-14 13 16,14 0-16,-13 0 0,13 0 15,-14 0-15,14 0 0,0 0 16,0 0-16,0 0 0,-13 0 0,13 0 0,0 0 16,0 0-16,-14 0 15,14 0-15,0 0 0,-13 0 0,13 0 16,0 0-16,-14 0 0,14-14 0,0 14 16,0 0-16,-13 0 0,13 0 15,-14 0-15,1 0 0,0 0 0,-1 0 16,-12 0-16,13 0 0,-14 0 0,14-13 15,-14 13-15,14 0 0,-14 0 16,1 0-16,-1 0 0,1 0 16,-14 0-16,13 0 0,-12 0 0,-1 0 0,0 0 15,0 0-15,0-13 16</inkml:trace>
  <inkml:trace contextRef="#ctx0" brushRef="#br0" timeOffset="-69986.88">2011 12039 0,'40'0'0,"-27"0"0,13 0 0,-13 0 15,1 0-15,12 0 16,-13 0-16,1 0 0,12 0 0,0 0 0,-12-14 15,12 14-15,1 0 0,-14 0 0,0 0 16,14 0-16</inkml:trace>
  <inkml:trace contextRef="#ctx0" brushRef="#br0" timeOffset="-69806.17">2222 12211 0,'27'-14'0,"-54"28"0,80-28 0,-39 14 0,-1 0 16,0-13-16,0 13 0,14 0 0,-14 0 16</inkml:trace>
  <inkml:trace contextRef="#ctx0" brushRef="#br0" timeOffset="-66477.36">5371 12303 0,'0'-13'0,"13"13"16,1-13-16,-1 13 15,13 13 1,-13-13-16,1 13 0,-1 0 16,0 1-16,-13-1 15,0 0-15,0 0 0,0 0 16,0 1-16,-13 12 0,0-13 0,13 1 15,-14 12-15,1-13 0,0-13 0,0 14 16,0-1-16,-1 0 0,1 0 16,0-13-16,0 0 15,13 13-15,13-13 32,13 0-17,-12 0-15,-1 0 0,0 0 0,0-13 16,0 13-16,1 0 0,-1 0 15,0 0-15,0-13 0,1 13 16,-1 0-16,0-13 0,0 13 0,0-13 16</inkml:trace>
  <inkml:trace contextRef="#ctx0" brushRef="#br0" timeOffset="-66283.1">5808 12250 0,'0'-13'0,"0"39"47,0-12-47,0-1 15,0 13-15,0-12 0,0-1 0,0 13 16,-14-13-16,14 14 0,0-14 16,0 0-16,0 1 0,0-1 0,0 0 15,0 0-15</inkml:trace>
  <inkml:trace contextRef="#ctx0" brushRef="#br0" timeOffset="-66071.32">5636 12356 0,'0'0'0,"26"0"31,-13-13-31,1 13 16,12 0-16,-13 0 0,0 0 16,14-13-16,-1 13 0,-12 0 15,12-14-15,1 14 0,-1 0 0,-13 0 16,14 0-16</inkml:trace>
  <inkml:trace contextRef="#ctx0" brushRef="#br0" timeOffset="-65742.3">6257 12211 0,'-13'26'32,"13"-13"-17,-13 0-15,13 14 0,-13-1 0,13-12 16,-14 12-16,1 0 0,13-12 15,-13-1-15,13 13 0,0-12 0,-13-14 16,13 13-16</inkml:trace>
  <inkml:trace contextRef="#ctx0" brushRef="#br0" timeOffset="-65442.4">6509 12316 0,'-66'27'32,"52"-14"-32,1-13 15,0 13-15,0-13 0,-1 13 0,1-13 16,0 14-16,0-14 0,13 13 16,-13-13-16,13 13 0,-14-13 15,28 13 1,-1 1-16,0-14 0,0 0 15,0 13-15,14-13 0,-14 0 16,0 0-16,14 0 0,-14 0 16,0 0-16,14 13 0,-14-13 0,0 0 15,0-13-15,1 13 16,-1 0-16</inkml:trace>
  <inkml:trace contextRef="#ctx0" brushRef="#br0" timeOffset="-65269.27">6548 12369 0,'-13'13'16,"-13"40"-1,26-39-15,0-1 16,-13 0-16,13 0 0,0 1 16,0 12-16,0-13 0,0 0 0,0 1 15,0-1-15,0 13 0,0-12 0,0-1 16</inkml:trace>
  <inkml:trace contextRef="#ctx0" brushRef="#br0" timeOffset="-65046.58">6853 12290 0,'0'40'47,"0"-27"-47,0 0 0,0 0 0,0 0 15,0 1-15,0 12 0,-14-13 16,14 1-16,0-1 0,0 0 0,0 0 16,0 1-16,0-1 0,0 0 0</inkml:trace>
  <inkml:trace contextRef="#ctx0" brushRef="#br0" timeOffset="-64855">6668 12422 0,'0'-13'0,"52"-14"31,-38 27-16,-1 0-15,13-13 0,-12 13 0,12 0 16,0-13-16,-12 13 0,25 0 16</inkml:trace>
  <inkml:trace contextRef="#ctx0" brushRef="#br0" timeOffset="-64211.03">7461 12263 0,'0'0'0,"-13"0"16,0 0-16,0 0 16,-14-13-16,14 13 15,0 0-15,13 13 16,0 1-1,0-1-15,13-13 16,-13 13-16,13 0 0,-13 1 16,13-1-16,-13 0 0,14 13 15,-14-12-15,0-1 0,0 0 0,0 0 16,-14 1-16,1-1 0,13 0 16,-13-13-16,13 13 0,-13-13 15,-1 0-15,1 0 16,0 0-16,13-13 15,0 0 1,13 13-16,-13-13 0,13-1 16,1 14-16,-1-13 0,-13 0 0,13 0 15,0-1-15,1 1 0,-14 0 16,13 13-16,-13-13 0,0 0 0,13-14 16,-13 14-16,-13 0 15,13-1-15,-13 1 0,-1 0 16,1 13-16,0-13 15,-14 13-15,14 13 16,0-13 0,13 13-16,0 0 0,0 1 15</inkml:trace>
  <inkml:trace contextRef="#ctx0" brushRef="#br0" timeOffset="-64003.3">7792 12237 0,'0'13'16,"0"14"-16,0-14 16,0 0-16,0 0 0,0 1 15,0-1-15,0 13 0,0-13 16,-13 1-16,13 12 0,0-13 0,0 1 15,0-1-15,-13 0 0</inkml:trace>
  <inkml:trace contextRef="#ctx0" brushRef="#br0" timeOffset="-63795.32">7620 12422 0,'0'0'0,"13"-13"31,0 13-31,1 0 0,12 0 16,-13 0-16,14 0 0,-1 0 0,1 0 15,-1 0-15,1-13 0,12 13 0,1 0 16,0 0-16,-1-14 0,1 14 16,-13-13-16,-1 13 0,27 0 0,-27-13 15</inkml:trace>
  <inkml:trace contextRef="#ctx0" brushRef="#br0" timeOffset="-63279.56">8308 12250 0,'13'0'15,"0"0"1,1 0-16,-14 13 0,13-13 15,-13 14-15,13-1 0,-13 0 16,-13-13-16,13 13 16,0 1-16,-13-1 15,26 0 17,0-13-32,0 0 15,1 0-15,-1 13 16,0-13-16,0 13 15,0 1-15,-13-1 16,0 0-16,-13 0 16,13 1-16,-13-14 15,13 13-15,-13-13 0,0 13 16,-1-13-16,14 13 0,-13-13 0,0 14 16,0-14-16,13 13 0,-14-13 15</inkml:trace>
  <inkml:trace contextRef="#ctx0" brushRef="#br0" timeOffset="-62939.87">8692 12263 0,'26'0'15,"-13"0"-15,-13 40 32,0-13-32,-13-14 15,0 0-15,-14 13 0,14 1 0,-13-1 16,12-12-16,1-1 0,0 0 16,13 0-16,-13 1 15,26-14 1,0 0-16,0 0 15,1 0-15,-1 0 0,13 0 16,-12 0-16,-1-14 0,13 14 16,1-13-16,-1 13 0,-13 0 15,1 0-15,12-13 0,-13 13 16,14 0-16,-1 0 0</inkml:trace>
  <inkml:trace contextRef="#ctx0" brushRef="#br0" timeOffset="-62077.08">5040 12237 0,'-26'13'0,"13"-13"0,-1 27 0,1-1 16,-13 1-16,12-1 0,-12 14 15,13-1-15,0 1 0,-1 53 16,14-54-16,0 14 0,0-13 15,0 0-15,14-1 0,12-12 0,0 13 16,14-14-16,13 0 0,0 1 16,13-14-16,0 0 0,0-13 15,1 14-15,-1-28 0,13 14 0,14-13 16</inkml:trace>
  <inkml:trace contextRef="#ctx0" brushRef="#br0" timeOffset="-61603.85">8903 12105 0,'13'39'0,"1"-25"0,-1 78 32,-13-65-32,0-1 0,-13 14 0,13-1 15,-14 1-15,1 0 0,0 0 16,0-1-16,0 1 0,-14-14 0,14 14 15,0-13-15,-1-1 0,1 0 16,0-12-16,0-1 0,13 0 0,-14-13 16</inkml:trace>
  <inkml:trace contextRef="#ctx0" brushRef="#br0" timeOffset="-61011.16">10067 12356 0,'-13'0'32,"13"-13"-17,27 26 126,-14-26-125,0 13-16,0 0 15,1 0 1,-1 0-16,0 13 15</inkml:trace>
  <inkml:trace contextRef="#ctx0" brushRef="#br0" timeOffset="-60847.1">9935 12502 0,'27'0'31,"-1"0"-31,-13 0 16,14-14-16,-14 14 0,13 0 16,1-13-16,-1 13 0</inkml:trace>
  <inkml:trace contextRef="#ctx0" brushRef="#br0" timeOffset="-60383.25">10954 12277 0,'0'-14'15,"-13"28"16,-1-1-15,1 0-16,0-13 0,0 13 0,-14 1 16,14-1-16,0 0 0,-1-13 0,1 13 15,0-13-15,13 13 16,-13-13-16,26 14 31,0-14-31,0 0 0,1 0 16,-1 0-16,0 0 0,0 0 0,1 0 15,-1 0-15,0 0 0,0 0 16,-13 13-16,14 0 16,-28 0-1,1 1-15,0-1 0,0 0 16,-1 0-16,-12-13 0,13 14 16,-14-1-16,14 0 0,0-13 0,0 13 15,-1-13-15,1 13 0,0-13 16</inkml:trace>
  <inkml:trace contextRef="#ctx0" brushRef="#br0" timeOffset="-60080.4">11112 12277 0,'0'13'0,"-26"40"31,13-40-31,13 13 0,0-12 0,-13-1 16,13 13-16,0-12 0,13-1 0,-13 13 16,13-12-16,0-1 0,0 0 0,1 0 15,-1 0-15,0-13 0,0 14 16,1-14-16,-1 0 0,0 0 16,0 0-16,1 0 0,-1 0 0,0-14 15,-13 1 1,-13 13-1,13-13-15,-13 13 0,-1 0 0,1 0 16,-13 0-16,12 0 0,1 0 16,-13 0-16,-1 0 0,14 13 15,0-13-15,0 0 0</inkml:trace>
  <inkml:trace contextRef="#ctx0" brushRef="#br0" timeOffset="-59495.2">14989 11496 0,'-14'0'0,"41"0"47,-1 0-31,-12 0-1,-1 13-15</inkml:trace>
  <inkml:trace contextRef="#ctx0" brushRef="#br0" timeOffset="-59312.28">14870 11708 0,'39'-27'0,"67"14"32,-79 0-17,-14 13-15,13 0 0,-13 0 0,1 0 0,-1 0 16,0-13-16,0 13 16</inkml:trace>
  <inkml:trace contextRef="#ctx0" brushRef="#br0" timeOffset="-57963.94">16431 11073 0,'0'-13'16,"13"-14"-1,0 27 1,0 0-16,1 0 0,-1 0 0,0 0 16,0 13-16,0-13 0,1 14 15,-1-1-15,-13 0 0,0 0 16,0 0-16,0 14 0,-13-14 15,13 0-15,-14 1 0,1 12 16,0-13-16,0 1 0,0-1 0,-14 0 16,14 0-16,0 0 0,-1-13 0,14 14 15,-13-14-15,0 13 0,0-13 16,52 0 15,-25 0-31,12-13 16,-13 13-16,14 0 0,-1 0 15,-13-14-15,14 14 0,-1 0 0,-12-13 0,12 13 16,-13 0-16,1 0 0,-1-13 16,13 13-16,-13 0 0,1 0 15,-1-13-15</inkml:trace>
  <inkml:trace contextRef="#ctx0" brushRef="#br0" timeOffset="-57567.09">17119 10993 0,'-27'-13'0,"54"26"0,-54-39 0,14 26 0,0 0 16,-1 0-16,-25 13 15,25-13-15,-12 13 0,0-13 16,-1 14-16,1-1 0,12-13 0,-12 13 15,13 0-15,0 1 0,-1-14 0,1 13 16,13 0-16,-13-13 0,13 13 0,13-13 16,0 0-1,1 0-15,12 0 0,-13 0 0,14-13 16,-14 13-16,13 0 0,-12-13 0,12 13 16,-13 0-16,0 0 0,1 0 15,-1 0-15,0 13 16,-13 0-16,0 0 15,0 1-15,0-1 0,0 0 16,-13 0-16,13 1 0,0-1 16,-13 0-16,13 0 0,0 1 15,0-1-15,0 0 0</inkml:trace>
  <inkml:trace contextRef="#ctx0" brushRef="#br0" timeOffset="-57223.86">17489 10941 0,'-13'26'0,"-1"-26"16,14 13-16,-13 0 0,-13 1 15,-1 12-15,1-13 0,-1 14 0,14-14 16,-13 0-16,13 0 0,-1 1 0,1-1 15,0 0-15,0-13 0,-1 13 16,14 1-16,-13-14 0,13 13 16,13 0-16,1-13 15,-1 0-15,0 0 16,0 13-16,1-13 0,-1 0 16,13 0-16,-13 0 0,14 0 0,-1 0 15,-12 0-15,12 0 0,0-13 0,-12 13 16,-1 0-16,13 0 0,-12 0 15,-1-13-15,0 13 0,0 0 0,-13-13 16,14 13-16,-14-14 0,13 14 0,-13-13 16</inkml:trace>
  <inkml:trace contextRef="#ctx0" brushRef="#br0" timeOffset="-57026.72">17529 10888 0,'0'0'0,"-27"13"15,27 0-15,-13 0 16,13 1-16,-13 12 0,13 0 0,-14 1 16,1 13-16,13-1 0,-13 1 0,0 0 15,13 13-15,-13-14 0,-1 1 16,1 0-16,13-14 0,-13 1 0,13-1 16,0 0-16,0 1 0,-13-14 0,13 0 15,0 1-15,0-1 16,0 0-16</inkml:trace>
  <inkml:trace contextRef="#ctx0" brushRef="#br0" timeOffset="-56685.33">16047 11734 0,'40'-13'31,"-27"13"-31,27 0 0,12-13 16,15 13-16,-1-13 0,13 13 0,14-14 16,-14 14-16,27-13 0,13 0 0,13 13 15,-26-13-15,26 13 0,-12-14 16,-15 14-16,1 0 0,-13-13 0,13 13 15,-27 0-15,0 0 0,1 0 0,-27 0 16,0 0-16,-27 0 0,1 0 16,-1 0-16,-13 0 0,0 0 0,1 0 15,-41 13 1</inkml:trace>
  <inkml:trace contextRef="#ctx0" brushRef="#br0" timeOffset="-55919.39">16801 12078 0,'13'-13'15,"1"0"1,-1 13 0,0 0-16,-39 13 31,12-13-15,1 0-16,0 13 0,0 0 15,-14-13-15,14 14 0,0-14 0,-1 13 16,1-13-16,0 13 0,0 0 15,0-13 1,13 14-16,13-1 16,0-13-16,0 13 0,0-13 15,1 0-15,-1 13 0,0-13 0,0 14 16,1-14-16,-1 0 0,0 13 16,0-13-16,1 13 0,-1-13 0,-13 13 15,13-13-15,-13 27 16,-13-14-16,0 0 15,-1-13-15,1 13 0,0 1 0,-14-1 16,14-13-16,-13 13 0,12-13 16,-12 13-16,13-13 0,0 13 15,-1-13-15,1 0 0,0 0 0,0 0 16,13-13-16,26-13 16,-26 13-16,27-1 15</inkml:trace>
  <inkml:trace contextRef="#ctx0" brushRef="#br0" timeOffset="-55596.04">17079 12052 0,'-13'26'16,"-1"-13"-16,14 1 16,-13-1-16,13 13 0,-13-12 0,0 12 15,13-13-15,0 14 0,-14-1 16,14-13-16,0 14 0,14-14 0,-14 14 15,13-14-15,0 0 0,0 0 16,1 0-16,-1 1 0,0-14 0,14 13 16,-14-13-16,0 0 0,0 0 0,0 0 15,14-13-15,-14 13 0,0-14 16,1 14-16,-14-13 16,0 0-16,-14 0 15,1 13-15,0 0 16,0 0-16,13-13 0,-14 13 15,-12 0-15,26 13 16,-26-13-16</inkml:trace>
  <inkml:trace contextRef="#ctx0" brushRef="#br0" timeOffset="-55130.34">18561 11576 0,'0'0'0,"39"0"31,-26 0-15,1 0-16,-1 0 0,0 0 0,0 0 15,1 0-15,-1 0 16,13 0-16,-13 0 0,1 13 15</inkml:trace>
  <inkml:trace contextRef="#ctx0" brushRef="#br0" timeOffset="-54974.86">18613 11734 0,'27'-13'16,"-14"13"-16,0 0 15,1 0-15,-1-13 0,0 13 16,0 0-16,0-13 0,1 13 16,-1 0-16,13-14 0</inkml:trace>
  <inkml:trace contextRef="#ctx0" brushRef="#br0" timeOffset="-53747.4">19910 11152 0,'13'13'47,"0"-26"-32,1 13-15,-54 0 31,27 13-15,-1-13-16,-12 14 0,13-14 16,-14 13-16,1 0 0,13-13 15,-1 13-15,1-13 0,0 14 0,0-14 16,-1 0-16,14 13 0,-13-13 0,13 13 16,13-13-1,1 0-15,-1 13 0,0-13 16,0 0-16,1 13 0,-1-13 0,13 14 15,-12-14-15,-1 0 0,0 13 16,0 0-16,0-13 0,-13 13 16,0 1-16,0-1 15,-13 0-15,0-13 0,0 13 16,0 1-16,-1-14 0,1 13 16,-13-13-16,12 0 0,1 13 0,0-13 15,0 0-15,-1 0 0,1 0 16,-13 0-16,26-13 15</inkml:trace>
  <inkml:trace contextRef="#ctx0" brushRef="#br0" timeOffset="-53587.99">20082 11364 0,'13'0'0,"-13"-13"16,13 13 15</inkml:trace>
  <inkml:trace contextRef="#ctx0" brushRef="#br0" timeOffset="-53125.81">20466 11192 0,'13'0'0,"53"13"31,-66 0-31,13-13 0,0 14 0,-13-1 16,14-13-16,-14 13 0,0 0 0,0 0 15,-14 1-15,1-1 0,13 0 0,-13 0 16,0-13-16,-1 14 0,1-1 15,0 0-15,0-13 0,13 13 0,-13-13 16,13 14-16,-14-14 16,41 0 15,-14 0-31,0 0 0,0 0 16,1 0-16,-1-14 0,13 14 0,-12 0 15,-1 0-15,0 0 0,14 0 0,-14-13 16,0 13-16,0 0 0,0 0 15,1 0-15</inkml:trace>
  <inkml:trace contextRef="#ctx0" brushRef="#br0" timeOffset="-52770.92">21008 11218 0,'-79'14'15,"65"-14"1,1 13-16,0-13 0,0 0 16,-1 0-16,1 13 0,0-13 15,13 13-15,13 0 16,0 1-1,1-1-15,-1-13 0,0 26 16,0-12-16,-13-1 16,0 0-1,-13 0-15,0 1 16,0-14-16,-1 13 0,1 0 16,0-13-16,-14 0 15,14 13-15,0-13 0,-13 13 16,-1-13-16,14 14 0</inkml:trace>
  <inkml:trace contextRef="#ctx0" brushRef="#br0" timeOffset="-52546.71">19645 11800 0,'0'0'0,"199"-52"31,-133 38-31,13 14 0,1-13 16,-1 0-16,0 0 0,1-1 0,-1 14 16,1-13-16,-14 13 0,-13-13 15,0 13-15,-1 0 0,-25 0 0,-1 0 16,1 0-16,-14 0 0,0 0 0</inkml:trace>
  <inkml:trace contextRef="#ctx0" brushRef="#br0" timeOffset="-52335.23">19526 11919 0,'-13'0'0,"26"0"0,0 14 16,14-14-16,-1 0 0,27 0 15,0 0-15,13-14 0,14 14 16,-1 0-16,0-13 0,1 13 0,12-13 15,-12 13-15,12-13 0,-12 0 0,-14 13 16,13-14-16,-12 1 0,-15 0 0,-12 0 16,0-1-16,-1 1 0,1 0 15</inkml:trace>
  <inkml:trace contextRef="#ctx0" brushRef="#br0" timeOffset="-52014.88">19434 10821 0,'158'-13'0,"-118"13"0,26 0 15,-13-13-15,27 13 0,-1 0 0,0 0 16,14 0-16,-1 0 0,1 0 0,0 0 16,-1 0-16,1 0 0,-14 0 15,1 0-15,-14 0 0,-13 0 0,0 0 16,-14 13-16,-12-13 0,-14 0 0</inkml:trace>
  <inkml:trace contextRef="#ctx0" brushRef="#br0" timeOffset="-51810.71">19963 10954 0,'92'0'16,"-184"0"-16,237-13 0,-92 13 0,0 0 0,0 0 16,13 0-16,-13 0 0,0 0 15,0 0-15,0-14 0,-13 14 0,-14 0 16,-13 0-16,14 0 0,-14 14 16</inkml:trace>
  <inkml:trace contextRef="#ctx0" brushRef="#br0" timeOffset="-51512">19063 11046 0,'13'40'0,"-26"-80"0,40 106 0,-27-39 16,0 13-16,13-1 0,-13 1 0,13 13 15,-13 13-15,0-13 0,0 13 16,0-13-16,0 13 0,-13-26 0,13 13 16,0-13-16,0 12 0,0-25 0,0-1 15,0 1-15,0-1 0,0-13 16,13 14-16,-13-14 0</inkml:trace>
  <inkml:trace contextRef="#ctx0" brushRef="#br0" timeOffset="-51306.03">19328 11165 0,'-13'53'0,"26"-106"0,-26 146 16,13-67-16,0 14 0,13 0 16,-13 13-16,0-14 0,0 14 15,0 0-15,13 0 0,-13 0 0,13-13 0,-13 13 16,14-27-16,12 14 0,-13-14 0</inkml:trace>
  <inkml:trace contextRef="#ctx0" brushRef="#br0" timeOffset="-50991.19">21378 11086 0,'-13'66'0,"26"-132"0,-39 172 0,13-66 0,13-1 16,-14 14-16,1-13 0,0 13 0,0-14 15,-1 14-15,1-26 0,0 13 16,13-14-16</inkml:trace>
  <inkml:trace contextRef="#ctx0" brushRef="#br0" timeOffset="-50818.76">21577 11073 0,'-53'198'32,"40"-145"-32,-14 0 0,14 13 0,-14-13 15,1 13-15,0-13 0,-1 0 16,14 0-16</inkml:trace>
  <inkml:trace contextRef="#ctx0" brushRef="#br0" timeOffset="-50315.26">21934 11708 0,'-40'40'0,"-13"-1"16,-66 54-1,66-54-15,0 1 0,1 0 0,-1 0 16,-14 12-16,-12-12 0,26 0 0,0 0 16,0-14-16,14 14 15,12-27-15,1 0 0,13 0 0,-1 1 16</inkml:trace>
  <inkml:trace contextRef="#ctx0" brushRef="#br0" timeOffset="-50131.28">22053 11708 0,'0'0'16,"0"26"-16,-13-12 0,0 12 0,-14 0 15,-26 14-15,14 0 0,-28 13 16,1 0-16,-13 13 0,-1 0 0,-12 0 16,-1-13-16,-13 13 0,14 0 15,-1-13-15,14 0 0,-14 0 16,40-13-16,-13-1 0,13 1 0,14-13 15,-1-1-15,13 0 0</inkml:trace>
</inkml:ink>
</file>

<file path=ppt/ink/ink13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3:32.125"/>
    </inkml:context>
    <inkml:brush xml:id="br0">
      <inkml:brushProperty name="width" value="0.05292" units="cm"/>
      <inkml:brushProperty name="height" value="0.05292" units="cm"/>
      <inkml:brushProperty name="color" value="#0070C0"/>
    </inkml:brush>
  </inkml:definitions>
  <inkml:trace contextRef="#ctx0" brushRef="#br0">15915 9300 0,'0'13'0,"0"1"16,0-1 0,0 26-16,0 14 15,26 0-15,-13 40 16,14 13-16,13 39 16,-14 14-16,14 26 0,-14 93 15,1-27-15,12 93 16,1-132-1,-14 13-15,-12 13 16,12-92-16,-13-14 16,1 27-16,-14-27 15,13 0-15,0-39 16,0-14-16,-13-39 16,13-40-16,-13 26 15,0-12-15,-13-14 78,0 0-78,0-14 16</inkml:trace>
  <inkml:trace contextRef="#ctx0" brushRef="#br0" timeOffset="2748.57">15875 9247 0,'13'13'78,"40"27"-78,27-13 16,12-1-16,14-13 16,172 40-16,-53-40 15,79 1-15,-13-14 16,106 0-16,66 0 15,0 0-15,-66 0 16,79-27-16,106 1 16,-106 26-16,-52 0 15,-27 0-15,13-27 16,53 14-16,-159-13 16,-79 12-1,-53-12-15,53 26 0,-14 0 16,-65-13-1,-40 13-15,13 0 16,-13-14-16,39-12 16,-39 13-16,-13-14 15,-27 14-15,-27 0 0,107 0 16,-93 13 0,-13-14-16,-14 14 15,-13-13-15,14 13 16,-14 0-1,0 27 126,0 12-141,1 54 16,12-27-1,-13 13-15,14 40 16,-14-13-16,0-13 16,-13-27-16,0-40 15,27 120-15,12-53 16,-12 39-16,-1-39 0,1-1 15,-14-39 1,0 40-16,14-1 16,-1-12-16,-26-41 15,0 1-15,0-14 16,0 14-16,13 13 16,14 0-16,-14 26 0,27 14 15,-27-53 1,0 26-16,0-13 15,1-14-15,12-12 16,-26 13 0,0-14-16,0-13 0,13 0 15,-13 14-15,0-14 16,0 0-16,0 14 16,0-14-1,0 14-15,0-14 16,-13 26-16,13-25 15,-26 25 1,12-12-16,14-14 16,-13 14-16,0-14 15,13 26-15,-13-25 16,-1 12-16,1 1 16,0 12-16,13-12 0,-13 12 15,13 1 1,0 26-16,0-26 15,0-14-15,0 14 16,0-13-16,0 12 16,0 14-16,0 0 15,13 26-15,0-26 16,0-26-16,1 39 16,-14-26-16,0-27 15,0 0-15,0 0 31,0 1-31,-14-1 125,-12 0-125,-14 0 16,-13 0-16,1 1 16,-28 12-16,-12-13 15,-54 14-15,53-1 16,1-12-16,-40-14 16,-27 13-16,-79-13 15,52 0-15,14 0 16,0 13-16,-92-13 15,79 26-15,66-26 16,13 14-16,-13-14 16,26 0-1,-26 0-15,40 0 0,13 0 16,-14 0-16,14 13 16,-27 0-16,27-13 15,0 13-15,-26-13 16,-14 0-16,13 14 15,-13-14-15,0 0 16,40 0 0,-79 0-16,52 0 0,-26 0 15,-53 0 1,-26 0-16,-107-40 16,80 27-16,-66-1 15,53-25-15,-13 39 16,-133-40-16,120 27 15,-27 13-15,66-13 16,53-14-16,-66 27 16,132-13-16,-26 0 15,39 13-15,40 0 16,-26 0-16,13 0 16,39 0-16,-26 0 15,0 0-15,40 0 16,-27 0-1,14 0-15,-14 0 0,-39 0 16,26 0-16,-40-14 16,27 1-16,13 13 15,-39-13-15,39 13 16,-13 0-16,13 0 16,26 0-1</inkml:trace>
  <inkml:trace contextRef="#ctx0" brushRef="#br0" timeOffset="7580.19">17926 11033 0,'-14'0'63,"-12"0"-63,-1 0 15,-12 0-15,-1 0 16,0 0-16,-26 0 16,0 0-16,-53 0 15,-13 0-15,13 0 16,66 0-16,0 0 15,0 0-15</inkml:trace>
  <inkml:trace contextRef="#ctx0" brushRef="#br0" timeOffset="10111.25">21736 8467 0,'13'0'125,"0"0"-110,0 0 17,27 39-32,-27-25 15,14 12-15,-14 14 16,0-27-16,-13 13 16,0-12-16,0 12 15,0-13-15,0 1 16,-26 12-16,12-13 15,-12 14-15,-14-1 16,14-13-16,-14 1 16,0-1-1,-13 13-15,14-12 0,26-14 16,-1 13-16,28-13 78,12-13-62,14-1-16,13 1 15,-27 13-15,-13 0 16,27 0-16,-14 13 16,1 14-1,-1 26-15,-12 0 16,-1-14-16,-13 14 15,0-26-15,0 12 16,-13 1-16,-1 0 16,-25-27-16,39 0 15,-14 0-15,1-13 16,0 14-16,-13-1 16,12-13-16,1 0 15,0 0 1,0 0-16,-1 0 15,1 0 1,0 0 0,13-13-1</inkml:trace>
  <inkml:trace contextRef="#ctx0" brushRef="#br0" timeOffset="11023.57">21960 8427 0,'14'0'94,"12"0"-78,-13 13-1,27 27-15,-27-14 16,27 14-16,-27-14 15,14 41-15,-27-14 16,0-14-16,0-12 16,0 12-16,-14-25 15,-12 12-15,13-26 16,-1 27 0,1-1-1,-13-13-15,26 14 0,-27-27 16,41 0 62,12 0-78,0-27 16,1 14-16,13-13 15,-1 12 1,-12 14-16,-1-13 15,1 0-15,-14 13 16,0 0 0</inkml:trace>
  <inkml:trace contextRef="#ctx0" brushRef="#br0" timeOffset="15048.56">20545 10292 0,'-13'14'0</inkml:trace>
  <inkml:trace contextRef="#ctx0" brushRef="#br0" timeOffset="15771.57">20770 10279 0,'-27'-13'15,"14"13"1,0 0-16,0 0 0,-1 0 0,1 13 16,0-13-16,0 13 0,0-13 15,-1 14-15,1-14 16,13 13-16,0 0 15,0 0 1,13 0-16,1 1 0,-1-1 16,0 0-16,0 0 0,0 1 15,-13-1-15,14-13 0,-14 13 16,0 0-16,0 1 16,-14-1-16,1 0 15,0-13-15,0 0 16,0 13-16,-1-13 0,1 0 15,0 0-15,0 0 16,13-13-16,-14 0 16,28 0-16,-1-1 15,0 1-15,-13 0 0,13 13 16,1-13-16,-1-1 0,0 1 0,13 0 16,-12 0-16,-1-1 0,0 1 15,0 0-15,-13 0 0,14 0 0,-1 13 16,-13-14-16,0 1 0,0 0 15,-13 0-15,13-1 16,-14 1-16,1 0 16,0 13-16,0 0 0,-1-13 0,1 13 15,-13 0-15,13 0 0,-1 0 0,1 0 16,13 13-16,-13-13 0,0 0 16,-1 13-16,1-13 0</inkml:trace>
  <inkml:trace contextRef="#ctx0" brushRef="#br0" timeOffset="17810.4">18640 9922 0,'-13'-13'15,"26"52"1,-13-25 0,0-1-16,0 0 0,-13 0 15,13 0-15,0 1 0,0-1 16,0 0-16,0 0 0,-14-13 0,14 14 15</inkml:trace>
  <inkml:trace contextRef="#ctx0" brushRef="#br0" timeOffset="18146.56">18984 9882 0,'-27'13'16,"14"-13"-1,0 14-15,0-1 0,-1 0 0,1-13 16,0 13-16,0 1 0,0-1 0,-1-13 16,14 13-16,-13 0 0,0 0 15,0 1 1,26-1-1,0-13 1,0 0-16,1 0 16,78 0 15,-79 0-31,1 0 16,-1-13-16,0 13 0</inkml:trace>
  <inkml:trace contextRef="#ctx0" brushRef="#br0" timeOffset="18854.61">18957 9869 0,'-13'26'0,"-13"41"31,12-41-31,1-13 0,0 14 16,0-1-16,13 1 0,-13-1 0,-1-13 15,1 14-15</inkml:trace>
  <inkml:trace contextRef="#ctx0" brushRef="#br0" timeOffset="19771.28">18058 10755 0,'0'27'15,"0"-14"-15,0 0 16,-13 0-16,13 1 0,0-1 0,-14 13 16,14 1-16,0-14 0,-13 14 0</inkml:trace>
  <inkml:trace contextRef="#ctx0" brushRef="#br0" timeOffset="22259.58">16986 7858 0,'-13'27'31,"0"-14"-31,13 0 0,-13 14 16,-1-14-16,14 13 0,-13 14 0,0 0 16,0-14-16,13 14 0,-14 13 0,1-14 15,13 1-15,-13 13 0,13-13 16,-13-1-16,13 14 0,0-13 0,0 0 16,-13 12-16,13-12 0,0 0 0,0 0 15,0-1-15,0 1 0,0 0 16,0-1-16,13 1 0,-13 0 0,0-1 15,0-12-15,0-1 0,0 1 16,0-1-16,0 14 0,13-14 0,-13 1 0,0-1 16,0 14-16,0-14 15,13 1-15,-13-1 0,0 14 0,0 0 16,13-14-16,-13 1 0,0-1 0,0 1 16,14-1-16,-14 14 0,13-14 15,-13 1-15,0-1 0,0 1 0,13-1 16,-13 0-16,0-12 0,0 12 15,0 1-15,0-14 0,13 13 0,-13-13 16,0 14-16,0-14 0,0 14 0,0-1 16,0-13-16,0 14 0,0-14 0,0 13 15,0-12-15,0 12 0,0-13 16,0 1-16,0 12 0,0-13 0,0 1 16,0-1-16,0 0 0,0 0 15,0 0-15,0 1 0,0-1 0,0 0 16,0 0-16,14 1 0,-14-1 15,0 0-15,0 0 0,0 1 16,0-1-16,0 0 16,0 0-16,13 0 0,-13 1 15,0-1-15,0 0 0,0 0 16,0 1-16,0-1 16,0 0-16,0 0 0,0 1 15,0-1-15,0 0 16,-13 0-16,13 0 0,0 1 15,0-1-15,0 0 16,0 0-16,0 1 0,0-1 0,0 0 16,0 0-16,0 0 0,0 1 15,-14-1-15,14 0 0,0 0 0,0 1 16,0-1-16,0 0 0,0 0 16,0 1-16,0-1 0,0 0 15,0 0-15,0 0 0,0 1 0,0-1 16,0 0-16,0 0 15,0 1-15,0-1 0,0 0 16,0 0-16,-13-13 0,13 14 0,0-1 16,0 0-16,0 0 0,0 0 15,0 1-15,0-1 0,-13 0 0,13 0 16,0 1-16,0-1 0,0 0 16,0 0-16,0 0 15,-13 1-15,13-1 0,0 0 0,0 0 16,0 1-16,0-1 0,0 0 15,0 0-15,0 1 0,0-1 0,0 0 16,0 0-16,-14 0 16,14 1-16,0-1 0,0 13 15,0-12-15,0-1 16,0 0-16,0 0 16,0 1-1,0-1-15,0 0 16,0 0-1,0 0 1,0 1-16,0-1 16,0 0-16,-13 0 15,13 1 1,0-1 0,0 0-16,0 0 15,0 1-15,0-1 16,0 0-16,0 0 15,0 0 1,0-52 47</inkml:trace>
  <inkml:trace contextRef="#ctx0" brushRef="#br0" timeOffset="22732.08">16417 11284 0,'27'0'47,"-14"0"-47,0 0 0,1 0 0,12 0 15,-13 0-15,14 0 0,-1 0 16,1 0-16,12 0 0,-12 0 0,12-13 16,-12 13-16,26 0 0,-13 0 0,-1 0 15,1 0-15,13 0 0,-14-13 16,1 13-16,0 0 0,-14 0 0,14-13 16,-14 13-16,14 0 0,-13-13 15,-1 13-15,1-14 0,-1 14 0,0 0 16,-12-13-16,-1 13 0,13 0 15,-12-13-15,-1 13 0,0 0 16</inkml:trace>
  <inkml:trace contextRef="#ctx0" brushRef="#br0" timeOffset="23472.52">16907 7818 0,'0'0'0,"-13"0"16,-1 14-16,1-14 16,0 13-16,13 13 0,-26-12 15,12-1-15,1 13 0,0 14 0,-14-14 16,14 1-16,0-1 0,-14 1 0,14-14 15,0 13-15,0-12 0,13 12 16,-13-13-16,-1 1 0,14-1 16,-13-13-16,13 13 0,0 0 0</inkml:trace>
  <inkml:trace contextRef="#ctx0" brushRef="#br0" timeOffset="23728.47">16801 7805 0,'40'13'15,"-80"-26"-15,93 26 0,-40-13 0,0 14 0,14-14 16,-1 26-16,14-13 0,0 1 16,-14 12-16,14-13 0,0 1 15,-1-1-15,-12 13 0,12-13 0,-12 1 16,-1-1-16,1-13 0,-14 13 15,13 0-15,-12-13 0,-1 0 0,0 14 16,0-14-16,1 0 0,-14 13 0,13-13 16,0 0-16</inkml:trace>
  <inkml:trace contextRef="#ctx0" brushRef="#br0" timeOffset="24663.66">16417 7117 0,'14'80'15,"-14"-67"-15,0 13 16,0-12-16,13 12 0,-13-13 0,0 14 16,0-1-16,13-13 0,-13 1 15,0-1-15,0 0 0,13 0 0</inkml:trace>
  <inkml:trace contextRef="#ctx0" brushRef="#br0" timeOffset="24908.45">16775 7091 0,'-27'26'31,"14"-12"-31,-14 12 0,1 14 15,0-1-15,-1 1 0,-13 13 0,14-13 16,-1 13-16,-12-14 0,12 1 16,1 13-16,-1-13 0,1-14 15,13 0-15,-14 14 0,14-13 0,0-1 16,0-13-16,-1 1 0,14-1 16,-13 0-16,13 0 0,0 0 15,-13-13-15</inkml:trace>
  <inkml:trace contextRef="#ctx0" brushRef="#br0" timeOffset="25839.37">24937 11589 0,'-13'-13'15,"13"-1"1,-13 28-16,-1-1 0,1 0 16,0 0-16,0 14 0,-14-1 0,14 1 15,-14-1-15,1 1 0,0-1 16,12 14-16,-12-14 0,-1-13 0,14 14 15,0-14-15,-14 0 0,14 0 0,13 1 16,-13-1-16,0-13 0,0 0 16</inkml:trace>
  <inkml:trace contextRef="#ctx0" brushRef="#br0" timeOffset="26056.53">24553 11642 0,'14'-14'15,"25"28"1,-26-1-16,14 0 0,-1 14 16,14-14-16,-13 13 0,12 1 15,1-14-15,-14 13 0,14 1 0,-13-14 16,12 14-16,-12-1 0,-1-13 16,-13 0-16,14 1 0,-14-1 0,0 0 15,-13 0-15,13-13 0,1 14 0,-1-1 16</inkml:trace>
  <inkml:trace contextRef="#ctx0" brushRef="#br0" timeOffset="28087.27">14777 10001 0,'-13'-13'15,"26"39"32,-13-12-47,0-1 0,0 0 0,13 0 16,-13 1-16,0-1 0,13 0 16,-13 0-16,0 1 0,14-14 15,-14 13-15,0 0 0,0-39 47,0 12-47,0 1 16,-14 0-16,14 0 0,0-1 0,0 1 15,0 0-15,0 0 16,-13-1-16,53 28 31,-27-1-15,0-13-16,1 13 15,-1-13-15,0 0 0,0 0 16,14 0-16,-14 0 16,-13-13-16,13 13 15,-13-13-15,0-1 16,0 1-16,0 0 0,0 0 16,0 0-16,0-1 0,0 1 15,-13 0-15,13 0 0,0-1 16,-13 1-16,13 0 15,-14 13-15,1 13 32</inkml:trace>
  <inkml:trace contextRef="#ctx0" brushRef="#br0" timeOffset="28403.34">15028 9816 0,'14'-13'0,"-14"39"16,0-13 0,13 1-16,0-1 15,-13 0-15,13 0 0,0-13 0,-13 14 16,14-14-16,-1 0 0,0 13 16,0-13-16,1 0 0,-1 0 0,0 0 15,0-13-15,1-1 16,-14 1-16,0 0 15,-14 0-15,14-1 0,-13 14 16,13-13-16,0 0 16,-13 13-16,13-13 0,-13 13 0,-1-13 15,1 13 1,0 0-16,0 0 16</inkml:trace>
  <inkml:trace contextRef="#ctx0" brushRef="#br0" timeOffset="29218.13">15412 9366 0,'-13'0'15,"26"0"-15,-39 13 16,12-13-16,14 14 0,-13-1 15,0 0-15,0 0 0,13 1 16,0 12-16,-14-26 0,14 13 16,0 1-16,0 12 0,14-26 15,-14 13-15,13 0 0,0-13 16,0 0-16,14 0 16,-14-13-16,-13 0 0,13 0 15,0 0-15,1-1 0,-14 1 0,0 0 16,13 0-16,-13-1 0,0 1 0,0 0 15,0 0-15,-13 13 0,13-14 16,-14 1-16,1 13 16,0 0-16,0 13 15,0-13-15,-1 0 16,1 14-16,40-28 31,-14 14-31,0-13 16,0 0-16,0 0 0,1 0 15,-1-1-15,13 1 0,-12-13 0,-1 12 16,0 1-16,0-13 0,-13 13 0,14-1 16,-1 1-16,0 0 0,0 13 15,0 0-15,1 0 16,-1 13-16,-13 0 0,13 1 0,-13 12 16,13 14-16,-13 13 15,0-14-15,0 1 0,0 13 0,0-13 16,-13-1-16,13 14 0,-13-13 0,0-14 15,13 1-15,-14-1 0,14 1 16,-13-14-16,13 0 0,-13 0 0,0-26 31,13 0-31,0-14 0,0-12 0,13-14 16,-13 0-16,13 0 0,0-13 16,1 13-16,12 0 0,-13 0 15,14 0-15,-14 14 0,0 12 0,14 1 16,-14-1-16,0 14 0,0 0 15,1 13-15,-14-14 0,13 14 0,0 0 16,-13 14-16,13-1 0,-13 0 0,0 0 16,14 1-16</inkml:trace>
  <inkml:trace contextRef="#ctx0" brushRef="#br0" timeOffset="29953.34">14870 10583 0,'-27'14'32,"27"-1"-32,0 0 15,0 0-15,0 0 16,0 1-16,0-1 0,13-13 0,-13 13 15,0 0-15,14 1 0,-1-14 0,-13 13 16,13-13-16,0 0 0,-13 13 16,13-26-16,1 13 0,-1-13 15,0 13-15,-13-14 16,13 14-16,-13-13 16,14 26-1,-1-13-15,-13 14 16,13-14-16,0 0 0,-13 13 15,14-13 1,-1-13-16,0 13 0,0-14 16,0 1-16,-13 0 0,14 13 15,-14-13-15,0-1 0,0 1 16,0-13-16,0 13 0,0-1 0,0-12 16,-14 13-16,14-1 0,0 1 0,0 0 15,0 0-15,0 0 16,14 26-1,-14 0 1,0 0-16</inkml:trace>
  <inkml:trace contextRef="#ctx0" brushRef="#br0" timeOffset="30736.13">15253 10610 0,'0'0'15,"13"-40"1,-13 27-16,0 0 0,0-1 16,-13 28 31,13-1-47,0 0 0,0 0 15,0 1-15,0-1 16,13-13-16,1 0 15,-1 0-15,0 0 16,0-13-16,1 13 0,-1-14 16,0 1-16,0 0 0,1 0 0,-1-1 15,0 1-15,0 0 0,0 0 0,-13 0 16,14-1-16,-14 1 0,0 0 16,13 13-16,-13-13 0,0 39 62,13-13-62,-13 1 0,13-1 16,1-13-16,-14 13 15,13-13-15,0 0 16,0 0-16,1-13 0,-1 13 16,0-13-16,0 13 0,-13-14 15,0 1-15,13 13 0,-13-13 16,0 0-16,0-1 0,0 1 0,0 0 15,0-14-15,-13 14 0,13-13 0,-13-1 16,13 14-16,0-13 0,-13-1 0,13 14 16,0-14-16,0 14 15,0-13-15,0 13 0,13-1 0,-13 1 16,13 0-16,0 0 0,1-1 0,-1 1 0,0 13 16,0 0-16,1-13 15,-1 13-15,0 0 0,0 13 0,0-13 16,-13 13-16,14 1 0,-14-1 0,-14 0 15,14 14-15,-13-14 0,13 13 0,-13-13 16,0 14-16,0-14 0,-1 14 16,1-14-16,0 0 0,13 0 0,-13 1 15,-1-1-15,14 0 16,0 0-16,14-13 16,-1 0-16,0 0 0,0 0 15,14 0-15,-1 0 0,-13 0 0,14-13 16,-1 13-16,1 0 15,-1-13-15,1 13 0,-1 0 0,-13-13 16,1 13-16,-1 0 0,13 0 0,-12 0 16,-1 0-16,0 0 15,0 0-15</inkml:trace>
  <inkml:trace contextRef="#ctx0" brushRef="#br0" timeOffset="31723.55">19209 13388 0,'66'-27'15,"-40"27"-15,27-13 0,13 13 16,1-13-16,12 13 0,0-13 15,14 0-15,0 13 0,26-14 0,13 1 16,0 0-16,-13 0 0,0 13 0,-13-14 16,13 1-16,-26 0 0,13 13 15,-14-13-15,1 13 0,-1-14 0,-12 1 16,12 13-16,-12-13 0,-14 13 0,13-13 16,-13 13-16,-13 0 0,0-13 15,-13 13-15,-14 0 0,1 0 0,-1-14 16,-12 14-16,-1 0 0,0 0 0,0 0 15,1-13-15,-1 0 16,-26 0 0,-1 13-16,1-14 0</inkml:trace>
  <inkml:trace contextRef="#ctx0" brushRef="#br0" timeOffset="32021.29">21339 12991 0,'66'13'31,"-40"-13"-31,14 14 0,13-1 0,-13-13 16,12 13-16,1 0 0,0-13 0,-13 13 15,0 1-15,-1-1 0,1 0 0,-13-13 16,-1 13-16,-13 1 0,0-14 15,1 13-15,-1 0 0,-13 0 0,0 0 16,0 14-16,-27-14 16,1 0-16,0 14 0,-1-1 0,-13-12 15,1-1-15,-1 13 0,0-13 16,-13 1-16,14-1 0,-14 0 0,13 0 16,-13-13-16,13 14 0</inkml:trace>
  <inkml:trace contextRef="#ctx0" brushRef="#br0" timeOffset="32943.47">19526 13652 0,'-26'27'31,"26"-14"-31,0 0 0,0 1 0,-13-1 16,13 0-16,0 0 0,0 1 15,0 12 1,0-13-16,0 0 16,26-39 15,-26 13-16,13 13-15,0-13 0,-13-1 16,14 14-16,-1-13 16,13 13-1,-26 13-15,14-13 16,-1 14-16,0-1 16,-13 0-16,13-13 15,1 0-15,-14 13 0,13-13 16,0 13-16,13-26 15,-12 13 1,-1-13 0,0 13-1,0 0 1,1 0 0,-1 0-16,-13 13 15,13-13-15,0 0 0,14 0 16,-14 0-16,-13-13 0,13 13 15,0 0-15,1-13 16,-14 0-16,0-1 16,0 1-16,-14 0 15,1 13-15,13-13 0,-13 13 16,0 0-16,-14-14 0,14 14 16,0 0-16,0 0 0,-1 0 0,1 0 15,0 14-15,0-14 0,13 13 16,0 0-1,13-13-15</inkml:trace>
  <inkml:trace contextRef="#ctx0" brushRef="#br0" timeOffset="33532.35">20122 13666 0,'0'13'0,"-14"0"15,28 0-15,-14 1 16,13-1 0,0 0-1,0-13-15,0 0 0,1-13 16,-1 13-16,-13-13 16,0-1-16,0-12 15,-13 26-15,13-13 16,-14-1-1,28 54 17,-14-27-32,13 1 15,0-1-15,0 0 0,1 14 16,-14-14-16,13 13 0,-13 1 0,13-14 16,-13 13-16,0-12 0,0-1 0,-13 13 15,13-12-15,0-1 0,-13 0 16,-1 0-16,1-13 15,0-13 1,0 0-16,13 0 0,0-1 16,0 1-16,0 0 0,0 0 0,13-1 15,-13 1-15,13 0 0,14 0 0,-1-14 16,1 14-16,-1-13 0,0 12 16,1 1-16,-1 13 0,1-13 15,-14 13-15,14-13 0</inkml:trace>
  <inkml:trace contextRef="#ctx0" brushRef="#br0" timeOffset="34806.96">20624 13454 0,'-13'27'31,"13"-14"-31,0 13 16,0-13-16,-13 14 0,13-14 0,0 14 15,0-14-15,0 13 0,13-13 16,-13 1-16,0 12 0,13-13 0,-13 1 15,14-14-15,-1 13 0,-13 0 0,13-13 16,0 0-16,0 0 16,1-13-16,-1 13 0,0-13 15,-13-1-15,13 14 0,1-13 0,-14 0 16,13 0-16,-13-1 0,0 1 16,13 13-16,-13-13 0,13 0 15,-13 26 16,13 0-15,-13 0-16,0 1 16,14-14-16,-14 13 15,13-13-15,0-13 32,0 13-17,1-14 16,-1 28 16,-13-1-15,13 0-1,-13 0-16,13-26 32,-13 0-47,14 13 16,-14-13 0,13 13-1,0 0 1,0 0 15,0 0 0,1 0-15,-14-14-16,13 14 16,-13-13-16,13 13 0,0 0 0,-13-13 15,14 0-15,-1 0 16,-13-1-1,13 14-15,-39 14 47,26-1-47,-14 0 16,14 0-16,14 0 16,-14 1-1,13-1 1,0-13-16,0 0 15,1 0-15,-14-13 16,13 13-16,0-14 0,0 1 0,-13 0 16,13 0-16,1 0 0,-14-1 0,13 1 15,-13 0-15,13 0 0,-13-1 16,0 1-16,13 13 0,-13-13 0,0 0 16,0 0-1,0 39 16,0-13-31,-13-13 0,13 13 16,0 1-16,0-1 0,0 0 16,0 0-16,0 1 0,0-1 0,0 0 15,0 0-15,0 0 16,13 1-16,1-14 16,-1 13-16,0-13 0,0 0 15,0 0-15,1-13 0,12 13 0,-13 0 16,14 0-16,-1 0 0,-12 0 15</inkml:trace>
  <inkml:trace contextRef="#ctx0" brushRef="#br0" timeOffset="36231.44">21762 13705 0,'79'-79'31,"-65"66"-15,-1 0-16,-13-1 0,13-12 0,-13 13 15,0-1-15,0 1 0,0 0 16,0 0-16,-13 13 15,0 0-15,-1 0 16,1 13-16,0 0 16,0-13-16,13 13 0,-14 1 0,14-1 15,0 0-15,0 0 0,0 1 16,0-1-16,14 0 0,-1 0 16,0 0-16,0-13 15,1 14-15,-1-14 0,13 0 16,-12 0-16,-1 0 0,0 0 0,0 0 15,14-14-15,-14 14 0,13 0 16,-12-13-16,-1 13 0,13-13 0,-13 13 16,1-13-16,12 13 0,-13 0 15,1-13-15,-1-1 0,0 14 16,0-13-16,1 0 16,-14 0-16,0-1 15,-14 1 1,1 26-1,0-13 1,0 14-16,-1-1 16,14 0-16,-13-13 0,13 13 15,-13 1-15,13-1 0,0 0 16,0 0 0,0 0-16,13 1 15,0-28 1,1 14-16,-1-13 15,0 0 1,-13 0-16,13 13 0,-13-13 16,14-1-16,-14 1 31,0 0-31,0 39 47,0-12-32,0-1 1,0 0-16,13-13 16,0 0-16,0 0 15,0-13-15,1 13 16,-1-13-16,0 13 0,0-14 16,1 1-16,-1 13 0,-13-13 0,13 13 15,-13-13-15,13 13 0,-13-14 0,14 14 16,-1-13-1,-13 26 17,0 1-32,0-1 15,0 0 1,0 0-16,0 1 16,13-1-16,0 0 15,0-13 1,1 0-16,-1 0 0,0 0 15,0 0-15,1-13 16,-1 13-16,-13-13 0,13-1 0,0 14 16,-13-13-16,0 0 0,13 0 15,-13-1-15,0 1 0,0 0 16,0 0-16,0 0 0,0-1 0,0 1 16,0 0-1,0 0-15,-13 13 16,13-14-1,0 41 17,0-14-32,0 0 0,0 1 15,0-1-15,0 0 0,0 0 0,0 0 16,0 1-16,0-1 0,0 0 16,0 0-1,13-13-15,-13 14 16,14-14-1,-1-14-15,0 14 16,0 0-16,-13-13 0,14 13 0,-1 0 16,0 0-16,0 0 0,1 0 0,12-13 15</inkml:trace>
  <inkml:trace contextRef="#ctx0" brushRef="#br0" timeOffset="36750.01">22953 13467 0,'0'27'47,"0"-14"-31,0 0-16,0 0 16,13-13 15,0 0-16,0-13-15,1 13 16,-1 0-16,0 0 16,0 0-1,0-13 1,1 13 0,-1-13-16,-13 0 15,0-1 1,0 1-16,13 0 15,-13 0 1,0-1-16,13 14 31,1 0-15,-1 0-16</inkml:trace>
  <inkml:trace contextRef="#ctx0" brushRef="#br0" timeOffset="37551.32">23323 13533 0,'13'-39'32,"-13"26"-32,13-1 15,-13 1 1,0 0-16,-13 13 31,0 13-15,13 0-16,-13-13 15,13 14-15,0-1 16,0 0 0,13-13-1,0 0-15,0 0 16,1-13-16,-1 13 15,-13-13-15,13 13 0,0-14 16,1 1-16,-1 0 16,-13 0-16,13 13 0,-13-14 15,0 41 32,0-14-31,0 0-16,0 1 0,13-14 15,-13 13-15,14-13 16,-1 0 0,0 13-16,0-26 0,0 13 15,1 0-15,-14-13 0,13 13 16,-13-14-16,13 1 0,-13 0 16,13 0-16,-13-1 0,0 1 15,0 0-15,0 0 0,0-1 0,0-12 16,0 13-16,0 0 0,14-1 15,-14 1-15,13 0 0,-13 0 16,13-1-16,0 1 16,1 13-1,-1 0-15,-26 27 32,-1-14-32,1 0 15,13 0-15,-13 1 0,0-1 0,13 0 16,-14-13-16,14 13 0,-13 0 0,13 1 15,0-1 1,0 0-16,13-13 16,14 0-1,-14 0-15,0 0 16,1 0-16,-1-13 0,13 13 0,-13 0 16,1-13-16,-1 13 0,0-14 15,0 14-15,1 0 16,-1 0-16,0-13 0</inkml:trace>
  <inkml:trace contextRef="#ctx0" brushRef="#br0" timeOffset="39908.37">6760 6787 0,'27'0'0,"-54"0"0,67 0 0</inkml:trace>
  <inkml:trace contextRef="#ctx0" brushRef="#br0" timeOffset="40141.62">6575 7051 0,'-13'13'31,"52"-26"-31,-39 0 16,27 13-16,13-27 0,-27 14 16,13 13-16,1-26 0,12 13 0,-12-1 15,12 1-15,-12 0 0,13 0 16,-1-1-16,1 14 0,0-13 0,13 0 16,-14 13-16</inkml:trace>
  <inkml:trace contextRef="#ctx0" brushRef="#br0" timeOffset="40615.33">8295 6416 0,'53'-26'16,"-27"26"-16,-13 0 0,14 0 0,-14 0 15,13 0-15,-12 0 0,-1 0 0,0 13 16,0 0-16,-13 0 15,0 1-15,0-1 0,-13 13 0,0 1 16,0-1-16,-14 1 0,1-1 0,13 1 16,-14-1-16,14 1 0,-14-14 0,27 0 15,-13-13-15,0 13 0,13 0 16,-13-13-16,13 14 0,-14-14 0,41 0 31,-14 0-15,0 0-16,1 0 0,-1-14 0,13 14 15,1 0-15,-1-13 0,1 13 0,-1-13 16,1 13-16,-1-13 0,14 13 16,-27-13-16,13 13 0,1-14 0,-14 14 15,14-13-15,-14 13 0,13-13 0</inkml:trace>
  <inkml:trace contextRef="#ctx0" brushRef="#br0" timeOffset="41083.44">9221 6297 0,'-106'0'31,"79"0"-31,14 0 0,-13 13 0,13 1 16,-14-1-16,1 0 0,12 0 0,-12 0 16,13 1-16,-1-1 0,14 0 0,-13 0 15,13 1-15,0-1 16,13-13-16,1 0 15,-1 0-15,0 0 0,14-13 0,-1 13 16,1-14-16,-14 1 0,13 0 16,1 13-16,-14 0 0,0-13 0,0 13 15,1 0-15,-1 0 0,0 0 16,0 13-16,1 0 16,-14 0-16,0 1 15,0-1-15,0 0 0,13 0 0,-13 1 16,0-1-16,0 0 0,0 0 15,0 0-15,0 1 0,0-1 0,13 0 16</inkml:trace>
  <inkml:trace contextRef="#ctx0" brushRef="#br0" timeOffset="45790.32">9763 6297 0,'13'-13'0,"-39"13"15,13 13-15,-1 0 16,1 1-16,0-1 0,-13 0 0,-1 0 16,14 14-16,-14-1 0,14-13 0,-13 1 15,26-1-15,-14 0 0,1 0 16,13 1-16,-13-1 0,13 0 15,0 0-15,13-13 16,0 0-16,1 13 16,-1-13-16,13-13 0,-12 13 0,12 0 15,1 0-15,-1-13 0,0 13 0,1-13 16,-1 13-16,-12-13 0,12 13 0,0-14 16,-12 1-16,12 0 0,-26 0 15,13 13-15,1-14 0,-14 1 0,0 0 16</inkml:trace>
  <inkml:trace contextRef="#ctx0" brushRef="#br0" timeOffset="45947.71">9776 6218 0,'-39'26'15,"78"-52"-15,-78 65 0,25-12 16,14-14-16,0 14 0,-13-1 0,13 14 16,0-14-16,0 14 0,0-14 0,0 1 15,0-1-15,13 1 0,-13 12 16,0-12-16,0-1 0,14-12 0,-14 12 15,0-13-15,0 14 0,0-14 0,0 0 16</inkml:trace>
  <inkml:trace contextRef="#ctx0" brushRef="#br0" timeOffset="46226.51">8083 7329 0,'172'-53'16,"-79"13"-16,26 14 0,-14-1 16,15 1-16,12 0 0,0-1 0,-13-13 15,14 14-15,-14-1 0,0 1 16,-14 0-16,1-1 0,-13 14 15,-27 0-15,13-1 0,-26 1 0,0 0 16,-13 13-16,0-13 0,-14 13 0,-13 0 16,1 13-16</inkml:trace>
  <inkml:trace contextRef="#ctx0" brushRef="#br0" timeOffset="46720.49">9155 7699 0,'0'-13'32,"-14"13"-17,1 0-15,0 0 0,0 0 0,-1 13 16,-12-13-16,26 14 0,-13-14 16,0 13-16,-1-13 0,1 13 0,13 0 15,-13-13-15,13 14 16,13-14-16,-13 13 0,13-13 15,1 13-15,-1-13 0,0 0 16,0 13-16,0-13 0,1 0 0,-1 13 16,0 1-16,0-1 15,-26 13 1,0-12-16,0-1 0,-1 0 0,1 0 16,-13 1-16,-1 12 0,14-13 15,-13 0-15,12-13 0,-12 14 0,13-1 16,-1-13-16,1 13 0,0-13 0,0 0 15,13-13 1,13 0-16,0-14 16,0 1-16</inkml:trace>
  <inkml:trace contextRef="#ctx0" brushRef="#br0" timeOffset="46975.35">9340 7660 0,'13'0'16,"-13"13"-16,-13 66 31,13-65-31,0-1 0,0 0 0,13 0 16,-13 14-16,13-27 0,0 13 15,1 0-15,-1-13 0,0 13 16,0-13-16,1 0 0,-1 0 16,0-13-16,0 13 0,1-13 15,-14 0-15,0-1 16,-14 1-16,-12 0 15,13 0-15,-14-14 0,-13 14 0,1 0 16,12 0-16,-12-1 0,-1 1 16,0 0-16,1 0 0,-14-1 0</inkml:trace>
  <inkml:trace contextRef="#ctx0" brushRef="#br0" timeOffset="47471.43">6469 6892 0,'53'-26'31,"-27"13"-31,14-1 0,-13 1 0,12 0 0,1 0 16,13 0-16,0-14 0,0 14 0,13 0 16,0-1-16</inkml:trace>
  <inkml:trace contextRef="#ctx0" brushRef="#br0" timeOffset="47792.75">11020 6853 0,'26'-27'16,"-12"27"-16,105-26 31</inkml:trace>
  <inkml:trace contextRef="#ctx0" brushRef="#br0" timeOffset="47999.96">11126 7025 0,'0'0'16,"-14"13"-16,54-26 31,-27 13-31,1 0 16,-1-14-16,0 14 0,0 0 15,14-13-15,-14 13 0,0-13 0,14 0 16,-14 13-16</inkml:trace>
  <inkml:trace contextRef="#ctx0" brushRef="#br0" timeOffset="48376.66">12197 6601 0,'-26'0'15,"13"0"-15,-1 0 16,1 14-16,0-14 0,-14 13 15,14-13-15,0 13 0,0 0 0,0-13 16,-1 14-16,1-14 16,13 13-16,0 0 0,0 0 15,13-13-15,-13 13 16,14-13-16,-1 14 0,0-1 16,0-13-16,0 13 0,1 0 15,-1 1-15,-13-1 16,0 0-16,-13 0 15,13 0-15,-14 1 0,1-1 0,-13-13 16,13 13-16,-1 0 0,1 1 16,-13-14-16,12 13 0,1 0 0,0-13 15,0 0-15,13 13 0,-14-13 16</inkml:trace>
  <inkml:trace contextRef="#ctx0" brushRef="#br0" timeOffset="48543.33">12369 6787 0,'0'0'0,"0"-14"32</inkml:trace>
  <inkml:trace contextRef="#ctx0" brushRef="#br0" timeOffset="48863.48">12779 6548 0,'-26'14'31,"13"-14"-31,-1 0 0,1 13 0,0 0 16,0-13-16,0 13 0,-1-13 15,14 14-15,-13-14 0,13 13 0,13 0 16,-13 0 0,14 1-16,-1-1 15,0-13-15,-13 13 0,13 0 0,0 0 16,-13 1-16,0-1 15,-13 0-15,0 0 0,-13 14 16,-14-14-16,13 13 0,-12 1 16,-1-14-16,-13 14 0,13-14 0,-13-13 15,1 13-15,-1-26 0</inkml:trace>
</inkml:ink>
</file>

<file path=ppt/ink/ink13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4:30.139"/>
    </inkml:context>
    <inkml:brush xml:id="br0">
      <inkml:brushProperty name="width" value="0.05292" units="cm"/>
      <inkml:brushProperty name="height" value="0.05292" units="cm"/>
      <inkml:brushProperty name="color" value="#0070C0"/>
    </inkml:brush>
  </inkml:definitions>
  <inkml:trace contextRef="#ctx0" brushRef="#br0">11324 3175 0,'27'0'94,"78"26"-94,1-12 15,40-1-15,-1-13 16,-39 0-16,66 0 15,0 0-15,146 0 16,-54 0-16,133 0 16,13-27-16,238-25 15,-66 38-15,-145-12 16,0-1-16,-133 14 16,53 13-1,-145 0-15,-53 0 0,-67 0 16,-52 0-16</inkml:trace>
  <inkml:trace contextRef="#ctx0" brushRef="#br0" timeOffset="1587.22">966 4008 0,'39'0'31,"67"14"-31,13-14 15,40 13 1,26 0-16,-13 0 16,40-13-16,39 0 15,-92 0-15,-13 0 16,-80 0-16,13 0 0,-26 0 16</inkml:trace>
  <inkml:trace contextRef="#ctx0" brushRef="#br0" timeOffset="3926.54">3360 5411 0,'13'0'62,"54"0"-46,38 0-16,81 0 16,25 0-1,-12 0-15,-1 0 16,-26 0-16,93 0 16,-107 0-16,-25 0 15,-14 0-15,-106 0 16,0 0-16</inkml:trace>
  <inkml:trace contextRef="#ctx0" brushRef="#br0" timeOffset="4906.59">1204 6773 0,'26'27'47,"1"-27"-47,118 13 16,14-13-16,79 0 15,14 0 1,12 13-16,-105-13 16,39 0-16,-12 0 15,-67 0-15,26 0 0,-92 0 16,-27 0-1</inkml:trace>
  <inkml:trace contextRef="#ctx0" brushRef="#br0" timeOffset="6111.11">1058 7924 0,'27'0'31,"26"0"-16,13 0 1,26 27-16,-12-14 16,65 0-16,1 14 15,-1-27-15,14 0 16,-13 0-16,131 26 16,-65-26-16,-27 0 15,80 0-15,26 0 0,132 0 16,-92 0-1,-13 0-15,12 0 16,107 0-16,-120 0 16,14 0-16,-13 0 15,-27 0-15,66 0 16,-26 0-16,-133 0 16,-26 0-16,-53 0 15,-13 0-15,-80 0 16,-12 0-16</inkml:trace>
  <inkml:trace contextRef="#ctx0" brushRef="#br0" timeOffset="7274.5">900 9247 0,'13'0'78,"26"0"-78,14 0 16,66 0-16,-13 0 15,40 0-15,13 0 16,39 0-16,146-13 15,66-27-15,-79 14 16,0 26-16,-133 0 16,67 0-16,-133 0 15,-53 0-15,-39 0 16</inkml:trace>
  <inkml:trace contextRef="#ctx0" brushRef="#br0" timeOffset="9117.25">1230 10570 0,'0'0'0,"14"0"16,-1 0-16,0 0 78,0 0-62,0 0-16,27 0 15,-13 13-15,-1-13 16,27 0-16,40 14 15,52-1-15,-26-13 16,-13 0 0,40 0-16,52 0 15,-39 0-15,105 0 16,-52 0-16,13 0 16,-13 0-16,-41 0 15,-12 0-15,-26 0 0,-28 0 16,-38 0-1,-28 0-15,-12 0 16,-14 0-16,0 0 16,0 0-1,1 0 1,12 0-16,1 0 16,-1 0-1,0 0-15,14 0 16,0 0-16,-1 0 15,1 0-15,26 0 16,0 0-16,1 0 16,-28 0-16,-25 0 15,-1 0-15,0 0 16</inkml:trace>
  <inkml:trace contextRef="#ctx0" brushRef="#br0" timeOffset="12094.11">7990 9737 0,'-13'0'31,"0"13"-15,13 13-16,-13-12 0,0 12 15,-1 0 1,1 27-1,13-26-15,0 13 16,0 12-16,0 68 16,0-68-16,0 1 15,0-26-15,0 26 0,27 26 16,-14-52 0,-13-1-16,0-13 15,0 1 1,0-41 78,-13-39-79,13 13-15,0 0 16,0 0-1,0-39-15,-14 12 16,1 1-16,0 26 16,13 0-16,-13-13 0,-1 13 15,1 13 1,0 27-16,13 0 16,26 13 93,1 0-93,26-27-16,13 27 15,26-26-15,-52 13 16,-27-1-16,27 1 15,-13 0-15,-14 0 16,0 13 0,0 0-16,0 0 109,1 13-93,-1 27-16,13-14 15,1 27-15,-27 0 16,26 0-16,-12 26 16,-1-26-16,0-13 15,0 13-15,-13 0 16,27 92-16,-14-79 15,0-26 1,-13 0-16,13-1 16,-13-12-16,0-1 15,0-12 126,-26-1-141,-27 13 16,13-13-16,27-13 15,-13 27-15,-14-27 16,13 13-16,-25-13 15,12 0-15,27 0 16,-1 0-16</inkml:trace>
  <inkml:trace contextRef="#ctx0" brushRef="#br0" timeOffset="13014.12">12039 9763 0,'0'27'31,"0"39"-16,13 26-15,13 1 16,14 26-16,13 13 16,-27 1-1,1-41-15,-14-26 16,-13-26-16,0-14 0,26 27 16,-26-26-16,0-14 15,14 0-15,-28-52 94,14-28-78,-26-12-16,26 26 15,-40-39-15</inkml:trace>
  <inkml:trace contextRef="#ctx0" brushRef="#br0" timeOffset="13293.14">11933 9816 0</inkml:trace>
  <inkml:trace contextRef="#ctx0" brushRef="#br0" timeOffset="14154.26">11933 9750 0,'13'13'62,"0"-13"-46,14 0-1,-14 0-15,27 0 16,-1 0-16,41 0 16,52-13-16,-26 0 15,13-1-15,26 1 0,1 0 16,-1-13 0,120-14-16,-133 40 15,-79 0-15,-13 0 16,-27 0 78,-13 26-79,0 1-15,0-1 16,0 27-1,13 13-15,27 67 16,-14-28-16,14 14 16,13 1-16,-40-41 0,-13-26 15,13-13-15,1-1 16,-14-26-16,0 1 16,0-1 93,-66-13-93,-27 13-16,-132 0 15,13-13-15,-79 0 16,0 0-16,66 0 15,-171 0-15,144 0 16,54-13-16,105 13 16</inkml:trace>
</inkml:ink>
</file>

<file path=ppt/ink/ink13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4:56.677"/>
    </inkml:context>
    <inkml:brush xml:id="br0">
      <inkml:brushProperty name="width" value="0.05292" units="cm"/>
      <inkml:brushProperty name="height" value="0.05292" units="cm"/>
      <inkml:brushProperty name="color" value="#0070C0"/>
    </inkml:brush>
  </inkml:definitions>
  <inkml:trace contextRef="#ctx0" brushRef="#br0">16801 4842 0,'40'0'31,"-14"0"-15,-13 0-16,1 0 0,-1 0 0,0-13 0,0 13 15,1 0-15,12 0 16,-13-14-16</inkml:trace>
  <inkml:trace contextRef="#ctx0" brushRef="#br0" timeOffset="194.73">16748 4961 0,'-13'0'31,"39"13"0,-12-13-31,-1-13 16,0 13-16,0 0 0,1 0 15,-1 0-15,0-13 16,0 13-16</inkml:trace>
  <inkml:trace contextRef="#ctx0" brushRef="#br0" timeOffset="711.83">17476 4815 0,'13'-13'0,"-40"26"47,14-13-47,0 14 15,0-14-15,0 13 0,-1-13 16,1 13-16,0-13 0,0 13 15,-1 1-15,14-1 16,0 0 0,14 0-1,-1-13-15,-13 13 0,13-13 16,0 0-16,-13 14 0,14-14 0,-1 13 16,0-13-1,-13 13-15,13-13 0,-13 13 16,-13 1-16,0-1 15,0 0 1,-1-13-16,1 13 16,0-13-16,0 0 0,-1 14 0,1-14 15,0 0-15,0 0 32</inkml:trace>
  <inkml:trace contextRef="#ctx0" brushRef="#br0" timeOffset="908.83">17661 4921 0,'-13'-13'31</inkml:trace>
  <inkml:trace contextRef="#ctx0" brushRef="#br0" timeOffset="1276.34">17978 4842 0,'-39'13'32,"26"-13"-32,-1 13 0,-12-13 0,13 14 15,-1-14-15,1 13 0,0-13 0,0 13 16,-1-13-16,1 13 0,26 0 31,1-13-15,-14 14-16,13-14 0,0 0 15,0 13-15,1-13 16,-14 13-16,13-13 0,0 13 16,-13 1-1,-13-1 1,13 0-16,-13-13 0,-1 13 15,14 1-15,-13-14 0,0 13 0,0 0 16,-14 0-16</inkml:trace>
  <inkml:trace contextRef="#ctx0" brushRef="#br0" timeOffset="1503.75">17119 5411 0,'39'0'16,"-26"-13"-16,14 13 0,-1 0 15,14-14-15,0 1 0,13 0 16,-14 13-16,14-13 0,-13-1 0,53 1 16,-54 13-16,1-13 0,0 13 15,-14-13-15,1 13 0,-14 0 0,13 0 16,-13 0-16,1 0 15</inkml:trace>
  <inkml:trace contextRef="#ctx0" brushRef="#br0" timeOffset="1760.86">16986 5530 0,'80'0'15,"-41"-13"1,1 13-16,13-14 0,-13 1 0,13 13 16,-14-13-16,14 0 0,0 13 0,0-14 15,0 1-15,-13 0 0,-1 13 16,1-13-16,0 13 0,-14-13 0,1 13 16,-14-14-16,0 14 0,13 0 0,-12-13 15,-1 13-15,0 0 0</inkml:trace>
</inkml:ink>
</file>

<file path=ppt/ink/ink1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1:38.352"/>
    </inkml:context>
    <inkml:brush xml:id="br0">
      <inkml:brushProperty name="width" value="0.05292" units="cm"/>
      <inkml:brushProperty name="height" value="0.05292" units="cm"/>
      <inkml:brushProperty name="color" value="#FFFFFF"/>
    </inkml:brush>
  </inkml:definitions>
  <inkml:trace contextRef="#ctx0" brushRef="#br0">1363 7369 0,'26'0'94,"53"0"-78,54 0-16,92 26 15,79 14-15,106-1 16,106-12-16,106 52 16,-1-26-16,120 80 15,199-81-15,-41 28 16,80 26-16,66-14 15,-145-39-15,39-53 16,-13 0-16,0 0 16,-66 0-1,-40 0-15,-105 0 16,-213 0-16,1 0 16,-146 0-16,14 0 15,-120 0-15,-39 0 16,-67 0-16,-79 0 15,0 0-15,-52 0 141,-14-66-125,-53-79-16,0-1 15,13-13-15,-26-79 16,-13-13-16,-27-146 16,-40-172-16,1 66 15,-27 1-15,66 65 16,-40 14-16,80 132 15,-40 0 1,27 92-16,0 40 16,39 40-16,0 53 15,40 27-15,-13-1 16,0 27-16,0-1 62,-14 1-30,-52 0-32,-67 0 15,-52-1-15,-53-38 16,-120 25-16,-198 14 16,-26-93-16,-106 27 15,39 13-15,-39-40 16,-26 26-16,-67 54 15,40 26-15,13 0 16,-53 0-16,146 0 16,13 0-16,-53 0 15,40 0-15,158 0 16,-92 0-16,40 0 16,79 0-1,0 0-15,106 0 16,66 0-16,39 0 15,54 0-15,26 0 16,66 0-16,13 0 16,-12 0-16,38 0 15,-12 0-15,13 0 16,13 0-16,-40 0 16,80 0-16,-53 0 15,26 0-15,1 0 16,25 0-16,1 0 15,0 0-15,0 13 63,-1 27-47,-12 26-16,26-13 15,-40 53-15,40-27 16,-39 53-16,25 1 15,14-1 1,0 27-16,-13-1 0,-26 1 16,25-13-1,1 26-15,0 0 16,-40-14-16,40 41 16,13-40-16,0 26 15,0 0-15,0-13 16,0 13-16,0-39 15,-14-1-15,14-12 16,0-1-16,0-13 16,0-27-16,0 28 15,0-15-15,0 1 16,0 27-16,0-28 16,40 1-16,-40 13 15,27-26-15,-27-1 16,26-25-16,-26-54 15,0 0-15,0 0 16,13-13 78,14 0-63,12 27-31,67 12 16,-40-25-16,40 12 15,13 14-15,0-14 16,14 14-16,-28-27 16,-12 40-16,-40-53 15,-27 0-15</inkml:trace>
</inkml:ink>
</file>

<file path=ppt/ink/ink14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5:04.711"/>
    </inkml:context>
    <inkml:brush xml:id="br0">
      <inkml:brushProperty name="width" value="0.05292" units="cm"/>
      <inkml:brushProperty name="height" value="0.05292" units="cm"/>
      <inkml:brushProperty name="color" value="#0070C0"/>
    </inkml:brush>
  </inkml:definitions>
  <inkml:trace contextRef="#ctx0" brushRef="#br0">688 1230 0,'79'14'78,"54"25"-78,91-26 16,173 1-16,357-14 15,-66 0-15,159 0 16,92 0-16,-13 0 15,252 0-15,-213 0 16,1 0 0,-79 0-16,12 0 15,107 66-15,-438-66 16,-171 0-16,-198 13 16,-93 0-16,-40 1 0</inkml:trace>
  <inkml:trace contextRef="#ctx0" brushRef="#br0" timeOffset="1203.56">1442 3029 0,'26'0'62,"54"0"-62,52 0 16,67 14-1,39-14-15,119 0 0,13 0 16,14 0 0,92 0-16,-158 0 15,-93 0-15,-67 0 0,-39 0 16,-92 0-16</inkml:trace>
  <inkml:trace contextRef="#ctx0" brushRef="#br0" timeOffset="9313.36">22953 2606 0,'13'0'16,"-26"13"0,13 1-1,0-1-15,-14 0 16,14 0-16,0 1 0,-13-1 16,13 0-16,0 0 15,0 0-15,-13 1 0,13-1 16,0 0-16,13 0 0,-13 1 15,0-1 1,13-13-16,1 13 0,-14 0 16,13-13-16,0 0 0,0 14 0,1-14 0,-1 0 15,0 0-15,0 0 0,0 0 16,1 0-16,-1 0 16,0 0-16,0 0 0,1 0 0,-14-14 15</inkml:trace>
  <inkml:trace contextRef="#ctx0" brushRef="#br0" timeOffset="9500.71">22992 2805 0,'40'0'31,"-27"-14"-31,0 14 15,1 0-15,-1 0 0,13 0 0,-12-13 16,-1 13-16,-13-13 0,13 13 0,0 0 16</inkml:trace>
  <inkml:trace contextRef="#ctx0" brushRef="#br0" timeOffset="9873.79">23045 2672 0,'-13'-26'31,"26"13"-31,0 13 15,1-14-15,12 14 16,-13 0-16,14 0 0,-14 0 0,0-13 16,14 26-16,-14-13 0,0 0 15,0 0-15,1 0 0,12 14 0,-13-1 16,1 0-16,-1 0 0,-13 1 16,0-1-16,0 0 0,-13 0 15,13 0-15,-14 1 0,14-1 16,-13 0-16,0 0 0,13 1 0,-13-14 15,-1 13-15,1-13 0,13 13 16,-13-13-16,0 0 0,39 0 63,-13-13-63,1 26 0,-1-13 15,0-13-15,0 13 0,1 0 16,12 0-16,-13 0 0,0 0 0,14 0 15,-14 0-15,0 0 0,14-13 16,-14 13-16</inkml:trace>
  <inkml:trace contextRef="#ctx0" brushRef="#br0" timeOffset="10088.92">22847 2527 0,'-27'53'15,"14"-27"-15,-27 133 16,27-119-16,0 13 0,13-14 16,-13 1-16,13 0 0,0-14 0,0 0 15,0 1-15,-14-14 0,28 14 16,-14-14-16,0 0 0</inkml:trace>
  <inkml:trace contextRef="#ctx0" brushRef="#br0" timeOffset="10601.98">22767 2474 0,'53'-13'16,"-106"26"-16,133-40 0,-41 14 0,1 0 0,13 13 16,0-13-16,0-1 0,-13 14 15,13 0-15,-1-13 0,1 13 16,-13 0-16,-14 0 0,14 0 0,-13 0 16,12 13-16,-12-13 0,-1 0 15,-13 14-15,14-14 0,-1 13 0,-12-13 16,-1 13-16,0 0 0,0 1 0,1-1 15,-1 13-15,0-12 0,0 12 16,0-13-16,1 27 0,-1-27 0,0 27 16,0-27-16,1 14 0,-14-1 15,13-13-15,0 14 0,0-1 0,0-13 16,-13 14-16,14-14 0,-14 0 0,13 1 16,-13-1-16,13 13 0,-13-13 0,0 1 15,13-1-15,-13 0 16,0 0-16,-13 1 15,13-1-15,-13-13 0,0 0 16,-1 13-16,-12-13 0,0 13 0,-1-13 16,-13 0-16,-12 13 0,-1-13 15,0 0-15,-13 14 0,-1-14 0,1 0 16,0 13-16,0-13 0,13 13 0,13-13 16,-13 0-16,14 13 0,-1-13 15,14 0-15,12 0 0,-12 0 0,13 0 16,-1 14-16,1-28 15</inkml:trace>
  <inkml:trace contextRef="#ctx0" brushRef="#br0" timeOffset="14093.73">21630 939 0,'0'13'16,"-14"1"-16,14-1 0,0 0 0,-13 0 16,13 1-16,0 12 0,0-13 15,0 1-15,-13 12 0,13-13 0,0 0 16,0 1-16,0 12 0,0-13 0</inkml:trace>
  <inkml:trace contextRef="#ctx0" brushRef="#br0" timeOffset="14601.4">22027 979 0,'26'-13'16,"0"39"15,-26-13-31,0 1 0,-13-1 0,13 0 16,-13 14-16,0-14 0,13 0 0,-13 0 15,-1 0-15,1 1 16,0-1-16,13 0 16,-13-13-16,13 13 15,13-13 1,0 14-16,0-14 16,14-14-16,-14 14 15,0 0-15,0 0 0,1-13 0,12 13 16,-13 0-16,1-13 0,-1 13 15,0 0-15</inkml:trace>
  <inkml:trace contextRef="#ctx0" brushRef="#br0" timeOffset="14957.15">22622 979 0,'0'-13'0,"13"13"32,0 13-17,-13 0 1,0 0-1,0 1-15,0-1 16,0 0-16,0 0 0,0 1 16,0-1-16,0 0 0,0 0 15,0 0 1,-13 1-16,13-1 0,-13-13 16,13 13-16,-13-13 0,-1 13 0,1 1 15</inkml:trace>
  <inkml:trace contextRef="#ctx0" brushRef="#br0" timeOffset="15234.86">22992 952 0,'-26'14'16,"13"-1"-1,-1-13-15,14 13 0,-13-13 0,0 13 16,13 1-16,-13-14 0,13 13 16,-14 0-1,28 0 1,-14 1-16,13-14 0,-13 13 0,13-13 0,0 13 16,1-13-16,-1 0 15,13 0-15,-12 13 0,-1-13 0,13-13 0,-13 13 16,1 0-16,12 0 0,-13 0 0,1-13 15,-1 0-15,0 13 0</inkml:trace>
  <inkml:trace contextRef="#ctx0" brushRef="#br0" timeOffset="15408.77">23151 900 0,'-13'13'15,"0"0"-15,13 0 0,0 0 16,-14-13-16,14 14 0,0-1 0,0 0 15,-13 0-15,13 14 0,0-14 16,0 0-16,0 1 0,-13 12 0,13-13 16,0 0-16,0 1 0,-13-1 0,13 0 15,-14 0-15</inkml:trace>
  <inkml:trace contextRef="#ctx0" brushRef="#br0" timeOffset="15873.9">22397 542 0,'-26'14'16,"12"-1"0,14 0-16,-13 0 0,0 1 0,13 12 15,0-13-15,-13 0 0,13 1 16,0-1-16,0 0 0,0 0 0,0 1 15,13-14-15,-13 13 0,13 0 0,0-13 16,1 13-16,-1-13 16,0 0-16,0 0 0,-13-13 15,27 13-15,-14-13 0,-13 0 0,13 13 16,-13-14-16,0 1 16,0 0-16,0 0 0,0-1 15,0 1-15,0 0 0,-13 0 16,13 0-16,-13-1 15,-1 14-15,1 0 16,0-13-16,0 13 0</inkml:trace>
  <inkml:trace contextRef="#ctx0" brushRef="#br0" timeOffset="16024.18">22595 595 0,'14'0'15</inkml:trace>
  <inkml:trace contextRef="#ctx0" brushRef="#br0" timeOffset="16372.9">22701 450 0,'0'0'16,"13"0"-1,-13 13-15,14-13 16,-14 13-16,0 0 0,0 1 0,13-1 16,-13 0-16,0 0 0,0 14 15,0-14-15,13 0 0,-13 1 0,0 12 16,0-13-16,0 0 0,0 1 0,13-1 15,-13 0-15,0 0 16,0 1-16</inkml:trace>
  <inkml:trace contextRef="#ctx0" brushRef="#br0" timeOffset="16982.79">22900 53 0,'-53'-27'0,"106"54"0,-133-54 0,54 27 16,-1 0-16,-12 0 0,-14 0 15,13 14-15,-13-1 0,0 0 0,0 14 16,0-1-16,1 1 0,-1-1 15,13 14-15,-13-1 0,13 1 0,1 0 16,-1-1-16,13 1 0,14-13 16,-13 12-16,13 1 0,13-14 0,0 14 15,0-13-15,0-1 0,13 0 16,0 14-16,0-13 0,14-1 0,-1 1 16,14-1-16,-14-13 0,27 14 0,0-14 15,0-13-15,0 13 0,0-13 16,0 0-16,0 0 0,-14-13 0,14 13 15,0-13-15,0-14 0,0 14 0,-13-13 16,-1-14-16,-12 13 0,-1 1 16,1-14-16,-1 14 0,-12-14 0,-14 0 15,13 1-15,-13 12 16,0 1-16,-13-14 0,-1-39 0,1 52 16,0-12-16,0 12 0,-1 1 0,1 12 15,-13 1-15,12-13 0,1 26 16,0-13-16,0 13 0,0 0 15,-1 0-15,1 0 0,0 0 0</inkml:trace>
  <inkml:trace contextRef="#ctx0" brushRef="#br0" timeOffset="17333.98">22582 410 0,'13'0'16,"14"0"0,-14 0-16,0-13 15,1 13-15,-1 0 0,0 0 16,0 0-16</inkml:trace>
  <inkml:trace contextRef="#ctx0" brushRef="#br0" timeOffset="17542.18">22688 635 0,'40'-26'16</inkml:trace>
  <inkml:trace contextRef="#ctx0" brushRef="#br0" timeOffset="18422.06">21101 609 0,'0'0'0,"-14"0"0,1 0 16,13 13-1,-13-13-15,13 13 0,0 0 16,0 0-16,0 14 16,0-14-1,13-13-15,-13 13 0,13-13 0,1 14 16,-1-14-16,0 0 0,0 0 0,0 0 16,1 0-16,-1-14 15,0 14-15,0 0 0,-13-13 0,14 0 16,-14 0-16,0-1 15,0 1-15,0 0 16,0 0-16,-14 0 0,14-1 16,-13 14-16,0 0 15,0-13 1,-1 26-16</inkml:trace>
  <inkml:trace contextRef="#ctx0" brushRef="#br0" timeOffset="18550.91">21325 569 0</inkml:trace>
  <inkml:trace contextRef="#ctx0" brushRef="#br0" timeOffset="18757.89">21458 489 0,'-14'27'31,"14"-14"-31,0 0 0,0 1 16,0-1-16,0 0 0,-13 0 15,13 1-15,0-1 0,0 0 0,0 0 16,0 0-16,0 1 0,0-1 0,13-13 16</inkml:trace>
  <inkml:trace contextRef="#ctx0" brushRef="#br0" timeOffset="19237.03">21736 635 0,'-14'26'31,"14"-12"-31,0-1 0,14 0 15,-14 0 1,13 1-16,0-14 16,0 13-16,0-13 15,1-13 1,-1-1 0,-13 1-16,-13 0 15,13 0-15,0-1 16,-14 14-16,14-13 15,-13 13-15,0-13 0</inkml:trace>
  <inkml:trace contextRef="#ctx0" brushRef="#br0" timeOffset="19358">21894 635 0,'0'0'15</inkml:trace>
  <inkml:trace contextRef="#ctx0" brushRef="#br0" timeOffset="19563">22000 529 0,'-13'40'32,"13"-27"-32,0 0 0,-13 1 0,13-1 15,0 0-15,0 0 0,-14 0 16,14 1-16,0-1 0,0 0 0,0 0 16,14 1-16</inkml:trace>
  <inkml:trace contextRef="#ctx0" brushRef="#br0" timeOffset="20146.81">23164 556 0,'-13'-14'0,"0"28"31,13-1-31,0 0 15,0 0-15,13 1 0,0-1 16,1 0 0,-1-13-16,0 0 15,0 13-15,0-26 16,1 13-16,-1 0 16,-13-13-16,13 13 15,-13-13-15,-13-1 0,13 1 16,0 0-16,-13 13 0,13-13 15,-14 13 1,1-14-16,0 14 0,0 0 16,0 0-16</inkml:trace>
  <inkml:trace contextRef="#ctx0" brushRef="#br0" timeOffset="20401.65">23469 529 0,'0'0'0,"0"27"0,-14-14 16,14 0-16,0 0 16,0 1-16,-13-1 0,13 0 0,0 0 15,0 14-15,0-14 0</inkml:trace>
  <inkml:trace contextRef="#ctx0" brushRef="#br0" timeOffset="24060.95">11390 5437 0,'40'0'15,"-14"0"1,1-13-16,79 13 0,-27 0 16,1 0-16,12 0 0,1-13 0,-1 13 15,14 0-15,26 0 0,-26-13 0,27 13 16,-14 0-16,-14-14 0,1 14 0,0 0 16,-13-13-16,-1 13 0,-12 0 0,-1 0 15,-26 0-15,-13-13 16,-1 13-16,14 0 0,-39 0 15,-1 0-15,13 0 0,-13 0 0,1 0 16,-1 0 0,-13-13-16</inkml:trace>
  <inkml:trace contextRef="#ctx0" brushRef="#br0" timeOffset="24628.95">17079 5358 0,'92'0'15,"-65"0"1,26 0-16,0 0 0,13 0 0,13 0 15,1 0-15,12 0 0,-12 0 0,12 0 16,14 0-16,-13 13 0,-1-13 16,14 0-16,-27 13 0,14-13 0,-14 0 15,1 0-15,-1 14 0,-26-14 0,0 0 16,0 0-16,0 0 0,-27 13 16,1-13-16,-1 0 0,1 0 0,-14 0 15,0 0-15,0 0 0,1 0 16,-1 0-1,-40-13 1,14 13-16,-13 0 0,-1-14 16,-12 14-16</inkml:trace>
  <inkml:trace contextRef="#ctx0" brushRef="#br0" timeOffset="25721.77">2302 6456 0,'53'0'31,"-14"0"-31,14 0 0,14 0 16,-1 0-16,26 0 0,-12 0 0,12 0 15,-12 0-15,12 0 0,1 0 0,-1-13 16,1 13-16,0 0 0,-1 0 0,-12-14 15,-1 14-15,0 0 0,1 0 16,-14-13-16,-13 13 0,-13 0 16,-1 0-16,-12 0 0,-1 0 0,1 0 15,-14 0-15,0 0 0,0 0 16,1 0-16,-1 0 0,0 0 16,0 0-16,-13-13 46</inkml:trace>
  <inkml:trace contextRef="#ctx0" brushRef="#br0" timeOffset="26985.74">7673 6482 0,'106'14'16,"-67"-14"-16,14 0 16,14 0-16,12 13 0,0-13 0,14 0 15,-1 0-15,14 0 0,0 0 0,26 0 16,1-13-16,-1 13 0,0 0 15,-13 0-15,-13 0 0,0 0 0,0 0 16,0 0-16,-14 0 0,1-14 0,-14 14 16,1 0-16,25 0 15,-52 0-15,0 0 0,-26 0 0,-1 0 16,1 0-16,-14 0 0,13 0 0,-12 0 16,-1 0-16,0 0 0,-53 0 46,27 0-46</inkml:trace>
  <inkml:trace contextRef="#ctx0" brushRef="#br0" timeOffset="27673.8">8202 6654 0,'40'0'0,"-1"0"16,1-13-16,13 13 0,26 0 0,14 0 16,-14 0-16,27-13 0,-13 13 15,26 0-15,13 0 0,-26 0 0,0 0 16,26-13-16,-26 13 0,-13 0 0,12 0 15,-12 0-15,-14 0 0,14 0 16,-27 0-16,0 0 0,-13 0 0,0 0 16,0 0-16,-26 0 0,12 0 0,-12 0 15,-14 0-15,13 0 0,-12 0 16,-1 0-16,0 0 0,0 0 16,1 0-16,-1 0 15,0 0-15,-26 13 141,26-13-110,0-13 78,-13-1-46</inkml:trace>
  <inkml:trace contextRef="#ctx0" brushRef="#br0" timeOffset="29321.15">2222 7885 0,'53'0'15,"-106"0"-15,146-14 0,-66 14 0,12-13 0,14 0 16,13 13-16,0-13 0,1-1 0,-1 1 16,0 13-16,0-13 0,-13 13 15,0-13-15,-13 13 0,12-13 16,-12 13-16,0 0 0,-14-14 0,1 14 16,-1 0-16,-13 0 0,14 0 15,-14 0-15</inkml:trace>
  <inkml:trace contextRef="#ctx0" brushRef="#br0" timeOffset="29701.12">2421 7938 0,'0'0'0,"40"-14"16,-27 14-16,27 0 15,-1-13-15,1 0 0,13 13 0,13-13 16,-13-1-16,0 1 0,53 0 16,-14-14-16,-52 14 15,0 13-15,-1-13 0,1 13 0,-14-13 16,-12 13-16,-1 0 0,0-13 16,0 13-16,1 0 0,-1 0 0,0 0 15,0-14-15,1 14 16,-1 0 15,-26-13 16,26 0-31,0 0-1,-13-1-15,13 14 0,0-13 0</inkml:trace>
  <inkml:trace contextRef="#ctx0" brushRef="#br0" timeOffset="33217.87">5689 7990 0,'13'0'15,"0"0"-15,13 0 16,14 0-16,0 14 0,26-14 16,-13 0-16,26 0 0,14 0 0,-14 0 15,14-14-15,-1 14 0,14 0 0,-13 0 16,13-13-16,-14 13 0,14 0 15,0-13-15,-13 13 0,-1-13 16,-12 13-16,-1-13 0,-13 13 0,53-14 16,-79 14-16,0 0 15,-14 0-15,-13 0 0,14 0 0,-14-13 16,0 13-16,0 0 0,1 0 0,-41 13 47</inkml:trace>
  <inkml:trace contextRef="#ctx0" brushRef="#br0" timeOffset="34478.03">12263 7885 0,'0'0'16,"14"0"-16,-1-14 15,0 14-15,14 0 0,-1-13 0,0 13 16,1 0-16,-1-13 0,1 13 0,13 0 16,-14-13-16,0 13 0,14 0 15,-27-14-15,14 14 0,-1 0 16,-12 0-16,-1 0 0,0 0 0,0 0 0,0 0 16,1-13-16,12 13 15,-13 0 1,1 0-16,-1 13 0,0-13 0,0 0 15,14 0-15,-1 0 0</inkml:trace>
  <inkml:trace contextRef="#ctx0" brushRef="#br0" timeOffset="35919.01">20016 7871 0,'0'0'0,"26"0"47,-13 0-32,1 0-15,-1 0 0,13 0 16,-12 0-16,-1 0 16,-40 0 30,14 0-46,0 0 16,0 0-16,-1 0 16,1 0-16,53 0 47,-27 0-47,0 0 15,1 0-15,-1 0 0,0 0 16,0 0-16,0 0 15,-39-13 32,13 13-47,-14-13 16</inkml:trace>
  <inkml:trace contextRef="#ctx0" brushRef="#br0" timeOffset="36899.21">1958 9194 0,'40'0'16,"-27"0"-16,27 0 0,-1 0 16,14 0-16,53 0 0,-27 0 15,54 0-15,-54 0 0,-26-13 16,13 13-16,-13 0 0,0 0 15,0 0-15,0-13 0,-14 13 0,14 0 16,-26 0-16,-1-13 0,1 13 0,-1 0 16,-13 0-16,1 0 0,-1-14 0</inkml:trace>
  <inkml:trace contextRef="#ctx0" brushRef="#br0" timeOffset="37189.65">2355 9353 0,'39'-13'16,"-25"13"-16,-1 0 0,13-13 15,1 13-15,26 0 0,-14-14 0,1 14 16,0-13-16,13 13 0,-14-13 0,1 13 15,0-13-15,0 13 0,-14 0 16,0 0-16,1-14 0,-1 14 16,-12 0-16,-1 0 0,13 0 0,-13 0 15,1 0-15,-1 0 16,0 0-16,0 0 16</inkml:trace>
  <inkml:trace contextRef="#ctx0" brushRef="#br0" timeOffset="38157.57">10570 8943 0,'0'0'0,"53"-13"0,-13 13 0,-14-14 0,27 14 15,0-13-15,13 13 0,14 0 16,12 0-16,-13-13 0,14 13 0,0 0 16,-1 0-16,14 0 0,-13 0 0,-1 0 15,14 0-15,-13 13 0,-1-13 16,-12 0-16,12 0 0,-12 0 0,-1 0 15,0 0-15,-12 0 0,-14 0 16,13 0-16,-13 0 0,-14 0 0,14 0 16,-26 0-16,-1-13 0,1 13 15,-14 0-15,0 0 0</inkml:trace>
  <inkml:trace contextRef="#ctx0" brushRef="#br0" timeOffset="38433.83">10835 9009 0,'0'0'0,"39"0"16,54 0-16,-40 0 15,39-13-15,-12 13 0,555-13 31,-529 13-31,-14 0 0,14-14 16,-13 14-16,-14 0 0,14 0 16,-27 0-16,0 0 0,-13 0 0,-13 0 15,-1 0-15,-12 0 0,-1 0 0,-13 0 16,14 0-16,-14 0 0,0 0 16,1 0-16</inkml:trace>
  <inkml:trace contextRef="#ctx0" brushRef="#br0" timeOffset="39082.65">15624 9088 0,'-40'27'31,"40"-14"-31,-13 0 0,0 1 16,-1-1-16,1 13 0,0-12 16,0 12-16,-1-13 0,1 0 0,0 14 15,0-14-15,-1 0 0,14 1 0,-13-1 16,0 0-16,13 0 16,-13-13-16,13 13 0</inkml:trace>
  <inkml:trace contextRef="#ctx0" brushRef="#br0" timeOffset="39898.98">15306 9234 0,'-13'-13'0,"0"26"31,13 0-31,-14 0 16,14 1-16,0-1 0,0 0 15,0 0-15,-13 1 0,13-1 0,0 0 16,0 0-16,0 0 16,13 1-16,-13-1 0,0 0 15,0 0-15,14 1 0,-14-1 16,13-13-16,0 0 0,0 0 15,14 0-15,-14 0 0,0 0 16,14-13-16,-1 13 0,1-14 0,-1 14 16,1 0-16,12-13 0,-12 13 15,-14-13-15,13 13 0,1 0 0,-14 0 16,0-13-16,1 13 0,-1 0 16,0 0-16,0 0 0,0 0 0,-13-14 15,14 14-15,-1 0 16,0 0-16,0 0 15,1 0 1,-1 0 15,0 0 1,-13-13 30</inkml:trace>
  <inkml:trace contextRef="#ctx0" brushRef="#br0" timeOffset="40658.65">15610 9141 0,'14'-13'0,"-28"26"0,28-39 16,-1 13-16,0-1 0,-13 1 16,13 13-16,1-13 15,-1 0 1,-13 0-16,13 13 16,-39 13 15,26 0-16,-14-13-15,1 13 0,0 0 16,-14 1-16,14-1 0,-13 0 0,13 14 16,-14-14-16,1 0 0,-1 14 0,14-14 15,-14 0-15,14 13 0,0-26 0,-13 14 16,12-1-16,1 0 0,0 0 16,0 1-16,-1-1 0,1 0 15,0-13-15,13 13 0,-13-13 16,-1 13-1,1 1 1</inkml:trace>
  <inkml:trace contextRef="#ctx0" brushRef="#br0" timeOffset="41098.97">15333 9128 0,'-14'27'16,"1"-14"0,0 0-16,13 0 0,-13 1 15,13 12-15,-14-13 0,14 0 0,-13 1 16,0-1-16,13 0 0,-13 0 16,13 1-16,0-1 0,0 0 15,0 0-15,-13-13 0,26 13 16,0 1-16,0-14 15,0 0-15,1 0 0,12 0 16,-13 0-16,14 0 0,-14 0 0,14 0 16,-14 0-16,13 0 0,1-14 15,-14 14-15,13 0 0,-12 0 0,-1 0 16,13 0-16,-12-13 0,-1 13 0,0 0 16,0 0-16,0 0 0,1 0 15,-1 0-15,0 0 16</inkml:trace>
</inkml:ink>
</file>

<file path=ppt/ink/ink14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6:07.977"/>
    </inkml:context>
    <inkml:brush xml:id="br0">
      <inkml:brushProperty name="width" value="0.05292" units="cm"/>
      <inkml:brushProperty name="height" value="0.05292" units="cm"/>
      <inkml:brushProperty name="color" value="#FFFFFF"/>
    </inkml:brush>
  </inkml:definitions>
  <inkml:trace contextRef="#ctx0" brushRef="#br0">9512 3188 0,'0'-159'15,"0"93"1,0 53-16,0 0 16,0 0-16,0-1 0,-13 41 31,13 13-31,0 12 0,-14 28 0,14 39 15,-26 159-15,13 52 16,-27 67-16,13-172 16,14-13-16,-40 172 0,27-40 15,-1-14-15,14-171 16,0 0-16,13 119 0,0-146 16,0-13-16,0-40 15,0 14-15,0 52 0,13-12 16,-13-80-16,0-14 0,0 27 15,0-52-15,-13 12 16,13-52 0,-13-14-16,13-13 0,-13-13 0,13-27 15</inkml:trace>
  <inkml:trace contextRef="#ctx0" brushRef="#br0" timeOffset="619.29">9485 4008 0,'-26'14'16,"13"-14"0,39-14-1,-13 1-15,27 0 0,0-13 16,13-14-16,13 13 0,0 1 15,0-14-15,13 1 0,14-1 0,0-13 16,-27 26-16,13-12 0,14-14 0,-27 26 16,0 1-16,0-1 0,-13 1 15,0 0-15,0 12 0,-27 1 16,14 0-16,-13 0 0,-1-1 0,-13 14 16,0-13-16,1 13 0,-1 0 15,0-13-15,0 13 16,-26-13 15,0 0-15,0 13-16</inkml:trace>
  <inkml:trace contextRef="#ctx0" brushRef="#br0" timeOffset="963.22">10583 3188 0,'0'0'0,"27"-13"31,-1 13-31,-13 0 16,1 0-16,12 0 0,1 0 0,-1 0 15,14 0-15,-14 0 0,14 0 16,0 0-16,-14 0 0,14 0 0,-1 0 15,-12 0-15,-1 0 0,14 0 0,-14 0 16,1 13-16,-14-13 0,0 0 16,1 13-16,-1-13 0,0 14 15,-13-1-15,0 13 0,-13-12 16,0 12-16,-1 14 0,-12-1 0,-1 1 16,-12 0-16,12-1 0,1-12 15,13 13-15,-14-14 0,1 1 0,-1-1 16,14 14-16,0-27 0,13 13 0,-13-12 15</inkml:trace>
  <inkml:trace contextRef="#ctx0" brushRef="#br0" timeOffset="7963.27">3731 688 0,'0'13'0,"0"0"0,0 1 15,0-1-15,0 0 0,0 0 0,13 14 16,-13-14-16,0 13 0,0 1 16,0-1-16,0-12 0,13 12 0,-13 0 15,0-12-15,0-1 0,13 13 0,-13-12 16,0-1-16,14 0 0,-14 0 15,0 1-15,13-1 0</inkml:trace>
  <inkml:trace contextRef="#ctx0" brushRef="#br0" timeOffset="8288.54">3717 701 0,'0'0'0,"27"-26"0,-14 12 15,0 14-15,1-13 0,-1 13 16,13 0-16,-13 0 0,14 13 0,-1 1 16,1-1-16,-1 0 0,-12 14 15,12-14-15,-13 13 0,-13 1 16,13-14-16,-13 13 0,0 1 0,0-14 15,-13 14-15,13-1 0,-13 0 16,13-12-16,-13-1 0,0 13 0,-1-12 16,1 12-16,13-13 0,-13 1 15,0-14-15,13 13 0,-14-13 0,14 13 16,-13-13-16</inkml:trace>
  <inkml:trace contextRef="#ctx0" brushRef="#br0" timeOffset="8676.31">4220 939 0,'0'-26'15,"0"52"-15,13-52 0,-13 13 0,0-1 0,0 1 16,0 0 0,-13 0-16,13-1 15,-13 14-15,0-13 0,-1 13 16,1 13 0,0-13-16,13 14 0,-13-14 15,0 13-15,-1 0 0,14 0 16,0 1-16,0-1 15,0 0-15,14-13 16,-14 13-16,13-13 0,0 0 16,0 0-16,0 0 0,14 0 15,-14 0-15,0 0 0,14 0 0,-14-13 16,13 13-16,-12-13 0,12 13 0,-13-13 16,14-1-16,-1 1 0,-12 13 15</inkml:trace>
  <inkml:trace contextRef="#ctx0" brushRef="#br0" timeOffset="8952.03">4564 741 0,'0'0'0,"-13"-13"0,0 13 16,-1 0-16,1 0 0,-13 0 15,12 0 1,1 13-16,0-13 0,13 13 16,0 0-16,0 1 15,13-1-15,-13 0 16,13-13-16,1 13 0,-1 0 0,-13 1 15,13-14-15,0 13 0,1 0 16,-14 0-16,13 1 16,-13-1-16,-13 0 0,13 0 15,-14 0-15,1-13 0,0 0 16,0 14-16,-1-1 0,1-13 16,0 0-16,0 13 0,0-13 0,-1 0 15,1 0-15,0 0 16</inkml:trace>
  <inkml:trace contextRef="#ctx0" brushRef="#br0" timeOffset="9512.21">4815 661 0,'0'0'0,"-13"14"32,0-1-32,13 0 0,0 0 15,0 1-15,0-1 0,0 0 16,0 0-16,0 1 15,0-1-15,0 0 0,13-13 16,-13 13-16,13-13 16,1-13-16,-1 0 15,0 13-15,-13-13 0,13 13 16,1-14-16,-1 14 0,-13-13 16,13 13-16,-13-13 0,13 13 0,0 0 15,1-13-15,-1 13 16,0 0-1,0 0-15,14 0 16,-14 0-16,14 0 16,-14 0-1</inkml:trace>
  <inkml:trace contextRef="#ctx0" brushRef="#br0" timeOffset="10520.28">5173 609 0,'-14'-14'16,"14"1"0,-13 40-1,13-14 1,0 0-1,13 0 1,1-13-16,-1 0 16,0 0-16,0 0 0,1 0 15,-1-13-15,0 13 16</inkml:trace>
  <inkml:trace contextRef="#ctx0" brushRef="#br0" timeOffset="10960.1">5398 357 0,'0'-13'0,"0"0"32,-14 39-1,14-13-16,0 1 1,14-1-16,-14 0 0,0 0 16,0 1-16,0-1 15,13-13-15,-13 13 0,0 0 0,13 0 16,-13 1 0,0-1-1,0 0 1</inkml:trace>
  <inkml:trace contextRef="#ctx0" brushRef="#br0" timeOffset="11419.47">4617 1217 0,'-13'0'0,"26"0"0,-39 0 16,12 13-16,1-13 0,-13 27 15,12-14-15,-12 13 0,-1 1 16,-12 13-16,-1-1 0,14 14 0,-14-13 15,13 0-15,-12 13 0,-1-14 0,14 1 16,-14 0-16,14-14 0,-1 0 16,14 1-16,-14-1 0,14 1 0,0-14 15,0 0-15,-1 1 0,14-1 16,-13-13-16</inkml:trace>
  <inkml:trace contextRef="#ctx0" brushRef="#br0" timeOffset="11781.18">4511 1270 0,'40'-13'31,"0"13"-31,-1 0 0,14-13 0,13 13 0,0-14 16,14 1-16,-1 0 0,14 13 16,-14-13-16,14-1 0,-14 1 0,1 0 15,12 0-15,-13-1 0,-12 1 16,12 0-16,-13 13 0,0-13 15,-13 0-15,-13 13 0,0-14 0,-14 14 16,0 0-16,-12-13 0,12 13 0,-13 0 16,1 0-16,-41 27 31,-13-14-31,1 0 0</inkml:trace>
  <inkml:trace contextRef="#ctx0" brushRef="#br0" timeOffset="13402.99">3347 2461 0,'0'-14'0,"-40"28"16,27-1-1,13 0-15,-13 0 16,13 1-16,-13 12 0,13-13 0,-14 14 16,14-14-16,0 13 0,-13-12 15,13-1-15,0 13 0,0-12 0,0-1 16,13 0-16,-13 0 0,14 0 15,-1 1-15,0-14 0,0 0 16,1-14-16,-1 14 16,0 0-16,0-13 0,0 13 0,-13-13 15,14 0-15,-1 0 0,-13-1 16,13 1-16,-13 0 0,0 0 16,0-1-16,0 1 0,0 0 15,0 0-15,0-1 0,0 1 16,-13 0-1,0 13 17,13 13-17,13 0 1,-13 1-16,13-14 16,-13 13-1,13-13-15,-13 13 16,14-13-16,-1 0 47,0-13-32,-13 0 1,13 13-16,-13-14 16,13 14-16,1-13 15,-1 13 1,0 0-1,-13 13 1,13-13-16,1 0 16,-1 14-1,0-14 1,0-14 15,-13 1-31,14 13 16,-14-13-16,0 0 0,0 0 0,0-1 15,0 1-15,0 0 0,0 0 16,-14-1-16,14 1 0,0 0 16,0 0-16,0-1 0,0 1 31,14 26-15,-14 1-1,13-14-15,-13 13 0,0 0 16,13-13-16,-13 13 0,13 1 0,-13-1 15,0 0-15,13 0 0,-13 1 16,14-1-16,-14 0 16,0 0-1,0-39 32,0 13-31,13 13-16,-13-14 15,0 1-15,13 13 16,0 0 0,1 0-1,-1 0 1,0 0 0,-13-13-1,13 0 1,-13-1-1,0 1 1,0 0-16,14 13 0,-14-13 16,13-1-16,-13 1 15,13 13 1,0 0-16</inkml:trace>
  <inkml:trace contextRef="#ctx0" brushRef="#br0" timeOffset="13897.34">3995 2249 0,'-13'0'15,"-13"13"1,26 0-16,-14-13 16,14 14-16,0-1 0,0 0 15,0 0-15,0 1 16,0-1-1,14-13-15,-1 0 0,-13 13 16,13-26-16,0 13 16,0-13-1,1 13-15,-14-14 16,13 1-16,-13 0 16,13 0-1,0 26 1,1 0-1,-14 0 1,13-13-16,0 0 16,0 0-16,1 0 0,-1-13 15,0 13-15,-13-13 0,13 0 16,-13-1-16,13 1 0,1 0 0,-14 0 16,13-14-16,-13 14 0,0 0 15,13 0-15,-13-1 16,13 1-16,1 26 15,-1 1 1,-13-1-16,13 0 0,-13 0 16,13 0-16,0 1 0,-13-1 0,14 0 15,-1 0-15,13-13 0,-12 14 16,-1-1-16</inkml:trace>
  <inkml:trace contextRef="#ctx0" brushRef="#br0" timeOffset="15032.02">6482 1177 0,'-13'-13'31,"26"40"-31,1-1 0,-1-13 15,-13 14-15,13-14 0,0 13 16,0-12-16,14 12 0,-14-13 16,0 1-16,14 12 0,-14-26 15,-13 13-15,13-13 0,-13 14 16,14-14-16,-1-14 16,-13 1-1,0 0 1,0-14-16,-13 14 0,13-13 0,-14-14 0,1 14 15,13-14-15,-13 13 0,0 1 16,13 13-16,-14-14 0,14 14 16,0 0-16,-13 0 0,13-1 0,0 1 15</inkml:trace>
  <inkml:trace contextRef="#ctx0" brushRef="#br0" timeOffset="15619.26">6773 1124 0,'-26'14'0,"26"-1"0,-13 0 15,13 0-15,0 1 0,0-1 0,0 0 16,-14 0-16,28 67 31,-14-67-31,13-13 16,0 0-1,-13-13 1,0-1-16,13 1 0,-13 0 16,14 0-16,-14 0 15,13-1-15,0 1 0,0 13 16,-13-13-16,13 13 15,1 13-15,-1-13 16,0 0-16,-13 13 0,13 1 0,1-1 16,-14 0-16,0 0 0,0 0 15,13 1-15,-13-1 16,0 0-16,-13 0 16,-1-39 15,14 13-31,0-1 0,0 1 15,0 0-15,14 0 0,-14-14 0,0 14 16,13 0-16,-13 0 0,13-1 16,0 1-16,-13 0 0,14 13 15,-14-13-15,13 13 0,13 0 16,-13 13 0,1-13-16,-1 13 0,0 0 15,-13 1-15,13-1 0,1 0 16,-14 0-16,13 1 0,-13-1 15,13-13-15,-13 13 0,13-13 16,-13 13 0,14-13-16</inkml:trace>
  <inkml:trace contextRef="#ctx0" brushRef="#br0" timeOffset="15761.22">7104 966 0</inkml:trace>
  <inkml:trace contextRef="#ctx0" brushRef="#br0" timeOffset="16791.84">7289 1032 0,'-26'26'0,"26"-12"0,-13-14 15,13 13-15,-14 0 0,14 0 16,0 0-16,-13 1 0,13-1 0,0 0 15,0 0-15,0 1 16,0-1-16,27-26 16,-14-1-1,0 1-15,-13 0 16,13 0-16,-13-1 0,13 14 16,-13-13-16,14 0 0,-14 0 15,13 13 16,0 13-31,0-13 16,1 13-16,-1-13 16,0 0-1,0-13-15,1 13 0,-14-13 0,13 13 16,-13-13-16,13-1 0,-13 1 16,13 0-16,-13 0 15,0-14-15,0 14 0,-13 0 0,13-1 16,0-12-16,-13 0 0,13-1 15,0 14-15,-13 0 0,13-14 0,0 14 16,0 0-16,-14 13 0,14-13 0,0 39 31,0-13-31,0 14 16,0-1-16,14 1 0,-14-14 16,0 13-16,13-13 0,-13 1 15,13 12-15,-13-13 0,13 1 0,0-1 16,1 0-16,-1-13 15,-13 13-15,13-13 0,0 0 16,1 0-16,-1 0 0,0 0 16,0-13-16,1 13 0,-1-13 15,0 13-15,-13-13 16,13 13-16,0-14 16,-26 1 46,0 0 47,26 0-46,0-1-47,1 14-1,-1 0-15,-13-13 16,13 13-16,0-13 15,1 13-15,-1 13 32,-13 0-17,13 1-15,-13-1 16,0 0-16,0 0 16</inkml:trace>
  <inkml:trace contextRef="#ctx0" brushRef="#br0" timeOffset="16961.15">7726 675 0,'0'0'16</inkml:trace>
  <inkml:trace contextRef="#ctx0" brushRef="#br0" timeOffset="17332.14">7871 635 0,'0'13'0,"0"0"0,0 1 0,0-1 15,0 27-15,0-14 16,0 14-16,14-14 16,-14-13-16,0 14 0,0-14 0,0 14 15,13-14-15,-13 0 0,13 0 16,-13 0-16,13-13 0,1 14 16,-14-1-16,13-13 0,0 13 0,0-13 31,0 0-31,1 0 0,-14-13 15,13 13-15,0-13 0,0 13 16,-13-14 0,14 14-16,-1 0 47,-13 14-47,13-14 15,-13 13-15</inkml:trace>
  <inkml:trace contextRef="#ctx0" brushRef="#br0" timeOffset="17617.11">8149 542 0,'13'27'16,"-13"-14"-16,14 27 15,-14-27-15,0 13 16,13-12-16,-13-1 0,0 13 0,0-12 15,0-1-15,13 0 0,-13 0 16,0 14-16,0-14 0,0 0 16</inkml:trace>
  <inkml:trace contextRef="#ctx0" brushRef="#br0" timeOffset="18000.02">7594 1495 0,'-40'40'0,"80"-80"0,-93 106 0,26-39 0,-13 12 15,14 14-15,-14-13 0,1 13 16,-1 0-16,-26 26 15,39-39-15,-26 39 0,27-52 16,13-14-16,0 13 0,13-13 16,-14-13-16,14 14 0</inkml:trace>
  <inkml:trace contextRef="#ctx0" brushRef="#br0" timeOffset="18228.52">7633 1416 0,'-13'52'31,"13"-38"-31,-13 12 16,13 14-16,-13-14 0,-1 14 0,1 0 16,0-1-16,0-12 0,-1 12 0,1-12 15,0 13-15,0-1 16,-1-12-16,14-14 0,-13 13 15,13-12-15,-13-14 0,13 13 16</inkml:trace>
  <inkml:trace contextRef="#ctx0" brushRef="#br0" timeOffset="18632.57">7646 1429 0,'133'13'32,"-107"-13"-32,14 0 0,0 0 15,-14 0-15,14 0 0,-1 0 0,-12 0 16,13 0-16,-14 0 0,14 0 15,-14-13-15,1 13 0,-1 0 0,-13 0 16,1 0-16,12 0 0,-13-13 16,0 13-16,1 0 0,-1 0 15</inkml:trace>
  <inkml:trace contextRef="#ctx0" brushRef="#br0" timeOffset="19225.34">3850 2977 0,'-14'13'15,"28"-26"-15,-41 26 0,14 0 16,0 0-16,-14 27 0,14-14 0,-13 1 0,-1 13 16,-13 26-16,27-27 15,-13 1-15,13 0 0,-1-14 16,1 14-16,0-14 0,13-12 0,-13-1 15,13 0-15,0 0 0,0 0 16</inkml:trace>
  <inkml:trace contextRef="#ctx0" brushRef="#br0" timeOffset="19436.62">3903 2950 0,'-53'146'32,"39"-107"-32,1-12 15,0 12-15,0 1 0,0-13 0,-1 12 16,14 1-16,-13-14 0,13-12 16,-13 12-16,13-13 0,0 1 0,0-1 15,-13 0-15</inkml:trace>
  <inkml:trace contextRef="#ctx0" brushRef="#br0" timeOffset="19680.41">3876 3003 0,'40'13'16,"-80"-26"-16,106 26 0,-39 0 0,-1-13 0,14 0 16,0 0-16,-1 14 0,1-14 0,0 0 15,-14 0-15,27 0 0,-13 0 16,-14 0-16,14 0 0,-14 0 0,14 0 16,-27 0-16,14 0 0,-1 0 15,-13-14-15,14 14 0</inkml:trace>
</inkml:ink>
</file>

<file path=ppt/ink/ink14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47:16.120"/>
    </inkml:context>
    <inkml:brush xml:id="br0">
      <inkml:brushProperty name="width" value="0.05292" units="cm"/>
      <inkml:brushProperty name="height" value="0.05292" units="cm"/>
      <inkml:brushProperty name="color" value="#0070C0"/>
    </inkml:brush>
  </inkml:definitions>
  <inkml:trace contextRef="#ctx0" brushRef="#br0">728 2963 0,'53'-13'0,"171"13"32,-144 0-32,-1 0 15,1 0-15,12-13 0,-12 13 0,-1 0 16,0 0-16,1 0 0,-1 0 0,-13 0 15,0 0-15,-13 0 0,0 0 0,0 13 16,-13-13-16,-1 0 0,-12 0 16,-14 0-16,14 0 0,-14 0 0,0 0 15,0 0-15,0 0 0</inkml:trace>
  <inkml:trace contextRef="#ctx0" brushRef="#br0" timeOffset="281.17">1111 3043 0,'40'0'0,"-80"0"0,80-14 16,0 14-16,-1 0 0,14 0 15,13-13-15,80 13 0,-80-13 16,13 13-16,1 0 0,-14 0 15,13 0-15,-13 0 0,-13 0 16,14 0-16,-15 0 0,1 0 0,-13 0 16,0 0-16,-1 0 0,-12 0 0,-14 0 15,14 0-15,-14 0 0,0 0 16,0 13-16,0-13 0,-13 13 16</inkml:trace>
  <inkml:trace contextRef="#ctx0" brushRef="#br0" timeOffset="1225.08">8255 2937 0,'304'0'16,"-224"0"-1,-1 0-15,14 0 0,-1 13 16,1-13-16,13 0 0,-27 13 0,14-13 16,-14 0-16,14 14 0,-14-14 0,-13 0 15,14 13-15,-28-13 0,1 0 16,-13 13-16,0-13 0,-14 0 0,1 0 16,-14 0-16,0 0 0,0 0 0,14 0 15,-14 0-15,0 0 16,-39 0 31,13 0-47</inkml:trace>
  <inkml:trace contextRef="#ctx0" brushRef="#br0" timeOffset="2169.57">10954 2844 0,'0'0'0,"39"0"16,1 0-1,13 0-15,0 0 0,26 0 0,14 0 16,0 0-16,12 0 0,1 0 0,0 0 16,26 14-16,-26-14 0,0 0 15,0 0-15,-14 0 0,1 0 0,0 0 16,-14 13-16,-26-13 0,13 0 15,-13 0-15,-13 0 0,-14 0 0,1 0 16,-1 0-16,-13 0 0,1 0 16,-1 0-16,0 0 0,0 0 0,0 0 15,1 0-15,-1 13 0,-13 0 47</inkml:trace>
  <inkml:trace contextRef="#ctx0" brushRef="#br0" timeOffset="3237.11">14102 2117 0,'0'0'0,"-13"13"15,13 0-15,0 14 16,-13 12-16,0 1 0,13 26 0,-14-13 16,1 0-16,0 13 0,0-13 0,-1 0 15,14 0-15,-13-13 0,13-1 16,0-12-16,-13-1 0,13 1 0,0-14 15,0 13-15,0-12 0,0-1 0,0 0 16,0 0-16,-13 0 16</inkml:trace>
  <inkml:trace contextRef="#ctx0" brushRef="#br0" timeOffset="3862.08">14063 2103 0,'0'-13'0,"0"26"0,13-39 0,0 26 16,0 0-16,1 0 0,-1-13 15,0 13-15,13 0 0,1 0 16,-1 0-16,14 0 0,-13 0 0,12 0 16,14 0-16,-13 0 0,-1 0 15,1 0-15,0 0 0,-14 0 0,1 0 16,12 0-16,-12-13 0,-14 13 0,14 0 16,-1 0-16,-13 0 0,1 0 0,-1 0 15,0 0-15,13 0 16,-12 0-1,-28 13 1,14 0-16,0 0 16,-13 0-16,13 14 0,0-1 15,-13 1-15,13-1 0,0 14 0,-13 0 16,13-1-16,0 1 0,0 0 0,-13-1 16,13 1-16,0 0 0,0-1 15,0-12-15,0-1 0,0 1 0,0-1 16,0-12-16,0 12 0,13-13 15,-13 14-15,0-14 0,0 0 0,0 0 16,0 1-16,0-1 0,0 0 16,0 0-16,-13 1 0,13-1 15,-14 0 1,1-13-16,13 13 0,-13-13 0,0 0 16,-1 13-16,-12-13 0,-1 0 0,1 14 15,0-14-15,-14 13 0,0-13 16,-13 13-16,14-13 0,-1 13 0,-53 1 15,67-14-15,-1 13 16,1-13-16,13 0 0,-1 0 0,1 0 0,0 13 16</inkml:trace>
  <inkml:trace contextRef="#ctx0" brushRef="#br0" timeOffset="4442.89">16841 2844 0,'106'-13'31,"-54"13"-31,15-13 16,-1 13-16,13-13 0,1 13 0,-1 0 16,13-14-16,-12 14 0,12 0 0,-12-13 15,12 13-15,-12 0 0,-1-13 16,1 13-16,-14 0 0,-13 0 16,0 0-16,-1-13 0,-12 13 0,-13 0 15,-1 0-15,-13 0 0,1 0 0,-1 0 16,0 0-16,0-14 15</inkml:trace>
  <inkml:trace contextRef="#ctx0" brushRef="#br0" timeOffset="4759.75">16748 3003 0,'40'0'0,"238"-26"16,-199 26 0,0-14-16,14 14 0,0-13 0,-1 13 15,-12-13-15,12 13 0,-12-13 16,-1 13-16,0-14 0,-13 14 0,-13 0 16,0-13-16,0 13 0,-13 0 0,0 0 15,-14-13-15,0 13 0,-12 0 16,-1 0-16,0 0 0,0 0 0,1 0 15,-1 0-15,0 0 16,-53 0 15,27 0-15,0 0-16,0 0 0,-14 0 0</inkml:trace>
  <inkml:trace contextRef="#ctx0" brushRef="#br0" timeOffset="-15831.62">6535 10729 0,'40'-13'31,"-27"13"-31,0 0 0,14 0 16,-14 0-16,14-14 0,-14 14 0,0 0 15,13 0-15,-12 0 0,-1 0 0,0-13 16,0 13-16,1 0 0,-1 0 15,0 0-15,0-13 0,0 13 16,1 0-16,-1 0 31,-26 13 1,-1 0-17</inkml:trace>
  <inkml:trace contextRef="#ctx0" brushRef="#br0" timeOffset="-14640.6">3638 11642 0,'-13'0'0,"66"-27"15,-27 27 1,1-13-16,-1 13 0,14-13 0,-14 0 16,1 13-16,-1-14 0,1 14 15,-1 0-15,1-13 0,-14 13 0,13 0 16,-13-13-16,1 13 0,-1 0 16,0 0-16,0 0 0,1-13 15,-1 13-15,0 0 31,0 0 1</inkml:trace>
  <inkml:trace contextRef="#ctx0" brushRef="#br0" timeOffset="-12696.18">5384 10980 0,'-13'-13'0,"0"26"16,0 0 0,13 1-16,0-1 0,0 0 15,0 0-15,0 1 0,0-1 16,0 0-16,0 0 0,0 0 16,0 1-16,0-1 0,0 0 15,0 0-15,-14 1 0,14-1 16,0 0-1,-13-13-15,13 13 0,-13-13 16,0 14-16,-1-14 0,1 13 16,-13-13-16,13 13 0,-1-13 15,-12 13-15,-1-13 0,1 13 0,-1-13 16,1 14-16,-14-1 0,1 0 0,-14 0 16,13 1-16,-26-1 0,0 0 15,13 0-15,-13 14 0,0-14 0,13 0 16,-14 14-16,1-14 0,0 13 0,13-12 15,-13-1-15,13 13 16,14-12-16,-14-14 0,26 13 0,-13 0 16,14-13-16,13 0 0,0 13 0,-1-13 0,1 0 15,0 0-15,0 0 16,13 13-16,-14-13 16,41-13-1,-14 13 1,0 0-16</inkml:trace>
  <inkml:trace contextRef="#ctx0" brushRef="#br0" timeOffset="-12012.53">5173 11086 0,'0'-13'15,"0"0"1,13 13-16,-13-14 0,13 14 16,-13-13-16,13 13 0,1-13 0,-1 13 15,-13-13-15,13 13 0,0-14 0,0 14 16,1-13-16,-1 13 16,0 0-16,0 0 0,1 0 15,-1 0-15,0 0 16,-13 13-16,13-13 15,1 14-15,-14-1 16,13-13-16,-13 13 0,13 0 16,-13 1-16</inkml:trace>
  <inkml:trace contextRef="#ctx0" brushRef="#br0" timeOffset="-11371.36">3810 11470 0,'-26'13'31,"26"0"-31,-14 0 0,1 1 0,0-1 16,13 0-16,-13 0 0,-1 1 16,1-1-16,13 0 0,-13 0 0,0 0 15,13 1-15,-14-1 0,14 0 0,0 0 16,0 1 0,14 12-1,-1-26-15,0 13 0,0-13 16,1 0-16,-1 0 0,0 0 15,0 0-15,1 14 0,-1-14 16,0 0-16,0 0 0,0 0 16,1 0-16,-1 0 15,0 0-15,0 0 0</inkml:trace>
  <inkml:trace contextRef="#ctx0" brushRef="#br0" timeOffset="-10126.59">2328 11880 0,'0'0'0,"0"-13"0,0 52 47,0-26-47,0 1 0,0-1 0,0 13 15,0-12-15,0 12 0,14-13 16,-14 1-16,0 12 0,0-13 0,0 14 16,0-14-16,0 0 0,0 0 0,0 1 15</inkml:trace>
  <inkml:trace contextRef="#ctx0" brushRef="#br0" timeOffset="-9818.94">2249 12091 0,'-13'-13'15,"-1"26"17,14 1-32,14 12 0,-14-13 15,0 1-15,13-1 16,-13 0-16,13 0 0,-13 1 15,13-1-15,1 0 0,-1-13 0,0 13 16,0-13 0,14 0-1,-27-13-15,13 13 0,-13-13 0,13 13 16,0-13-16,-13-1 0,14 1 16,-1 13-16,-13-13 0,13 0 0,0 13 15,1-14-15,-1 14 0</inkml:trace>
  <inkml:trace contextRef="#ctx0" brushRef="#br0" timeOffset="-8806.57">2183 12554 0,'13'14'31,"-13"-1"-15,0 0-16,13 0 0,-13 1 16,13-1-16,-13 0 15,0 0-15,14 1 16,-1-41 15,-13 14-15,0 0-1,13-1-15,0 14 32,1 14-17,-1-14-15,-13 13 0,13-13 16,0 13-16,1-13 15,-1 0-15,0 0 16,0 0-16,0-13 16,1 0-16,-14-1 15,13 14 1,-13-13-16,0 0 16,13 13-1,0 13 1,1-13-1,-1 0-15,-13 13 0,26-13 16,-12 0 0,-1-13-16,0 0 15,-13 0-15,0-1 16,-13 1 0,13 0-16,-13 0 15,-1 13-15,14-13 0,-13 13 0,-13 0 16,12 0-1,1 0-15,13 13 16,-13-13-16,0 13 16,26 0-1,0-13-15,14-13 16,-14 13-16,0-13 0,0 0 16,14-14-16,-14 14 15,0 0-15,0-1 0,-13-12 0,14 13 16,-14-1-16,13 1 0,-13 0 15,13 0-15,-13 0 0,0-1 16,13 14-16,-13-13 16,14 40-1,-1-14-15,-13 0 0,0 13 16,13-12-16,-13-1 0,0 0 16,13 14-16,-13-14 0,0 0 15,14 14-15,-1-14 0,0 0 16,0-13-16</inkml:trace>
  <inkml:trace contextRef="#ctx0" brushRef="#br0" timeOffset="-8623.76">2553 12435 0,'-13'0'16,"26"-26"-1,0 26-15,1-13 0,-1 13 16,0-14-16,0 1 0,14 0 0,-1 13 16,1-13-16,-1 0 15,14-1-15,-14 1 0,1 0 0</inkml:trace>
  <inkml:trace contextRef="#ctx0" brushRef="#br0" timeOffset="-7217.67">2937 12356 0,'-13'0'0,"13"13"16,0 0 0,0 1-16,0-1 15,0 0-15,0 0 16,13-13-16,-13 14 15,13-14-15,0 0 16,1-14 0,-1 1-16,-13 0 15,0 0-15,13-1 0,-13 1 16,0 0-16,13 0 16,-13 0-16,0-1 15,13 41 16,-13-14-15,0 0-16,0 0 16,14 1-16,-14-1 15,13 0-15,-13 0 16,26-26 15,-12 13-15,-14-13-16,13 0 15,0-1 1,0 1 0,-13 40 15,14-27-31,-14 13 0,0 0 16,0 0-1,13-26 32,0 0-47,0 13 16,-13-13-1,13 13 17,1 0-17,-1 0 1,0-14-16,-13 1 0,13 13 15,-13-13-15,14 0 0,-1 0 16,-13-1-16,13 1 0,0 0 0,-13 0 16,14 13-1,-14-14-15,13 28 16,-13-1-16,0 0 16,0 0-16,0 1 0,0 12 15,-13 27-15,13-27 0,-14 14 16,1 13-16,13-27 0,0-12 15,-13-1-15,13 0 0,0 0 16,0 1-16,-13-1 0,13-40 47,0 14-47,0 0 16,13 13-16,-13-13 0,13-14 0,-13 14 15,0 0-15,13 0 0,-13-1 16,14 1-16,-14 0 0,13 0 0,-13-1 15,0 1-15,13 0 0,0 26 47,0 0-31,1-13 0,-1 0-1,0-13 1,0 0-16,-13 0 15,14 13-15,-14-14 16,13 14-16,-13-13 0,13 0 16,13 13 15,-26 13-15,14-13-1,-1 0 1,-13-13-1,13 13 1,0 0 0,-13-13-1,14 13 1,-14-13 0,13 13-16</inkml:trace>
  <inkml:trace contextRef="#ctx0" brushRef="#br0" timeOffset="-4655.55">6469 10583 0,'0'-13'0,"0"0"32,13 39-1,-13-12-16,14-14-15,-14 13 0,13 0 16,-13 0-16,13-13 16,0 13-16,0-13 15,1-13 1,-1 0 0,0 0-16,-13 0 15,13-1-15,-13 1 16,0 0-1,0 0-15,0-1 16,14 28 31,-14-1-31,0 0-1,13 0-15,0 1 16,-13-1-16,13-13 15,1 0 1,-1 0-16,0-13 16,-13-1-1,13 14-15,-13-13 0,13 13 16,-13-13-16,14 13 16,-14-13-16,13 13 15,0 0 16,-13 13-31,0 0 32,0 0-32,0 1 15,0-1 1,13-13 0,1-13-1,-1 13 1,-13-14-16,13 14 0,-13-13 15,0 0-15,13 13 16,-13-13-16,0-1 0,13 14 16,-13-13-16,0 40 62,0-14-62,14 0 31,-1-26-15,0 0 0,-13-1-16,13 1 0,-13 0 15,14 13-15,-14-13 0,0 0 0,13-14 16,-13 14-16,0 0 16,13-1-16,-13 1 0,0 0 15,13 13-15,1 13 31,-14 0-31,0 14 0,13-14 16,-13 14-16,0-1 0,0 0 0,13 1 16,-13-14-16,0 14 0,0-1 15,0-13-15,0 14 0,0-14 16,-13 0-16,13 0 0,0 1 0,0-1 16,0 0-16,26-39 46,-13 12-30,1 1-16,-14 0 16,13 13-16,-13-13 0,13-1 0,-13 1 15,13 13-15,-13-13 0,0 0 0,14 0 16,-14-1-16,13 14 16,-13-13-16,13 26 46,-13 1-30,13-14 0,1 0-1,-1 0 1,-13-14-16,13 14 0,-13-13 16,13 13-16,-13-13 15,13 26 32,1-13-31,-1 0-1,0 0 1,0-13-16,1 0 16,-1-1-16,-13 1 15,0 0-15,13 0 0,-13 0 0,13-1 16,-13 1-16,0 0 0,13 0 15,-13-1-15,0 1 0,0 0 16,0 0-16,14 13 0,-14-14 16,0 41 15,0-14-31,0 0 0,0 1 16,0-1-16,0 0 15,13 0-15,-13 1 16,13-14-16,-13 13 15,27-26 1,-14 13-16</inkml:trace>
  <inkml:trace contextRef="#ctx0" brushRef="#br0" timeOffset="-4524.53">7448 10411 0,'0'0'15,"0"14"-15,0-1 0,0 0 16,0 0-16,0 1 0,0-1 15,0 0-15,0 0 0,13 0 16,-13 1-16</inkml:trace>
  <inkml:trace contextRef="#ctx0" brushRef="#br0" timeOffset="36648.13">15835 622 0,'-13'79'0,"13"-52"0,0-14 0,-13 13 15,13 1-15,0-1 0,0 1 16,0-14-16,0 13 0,0-12 0,0 12 16,0-13-16,0 0 0,0 14 15,0-14-15,0 0 16,0 1-16,13-14 0,-13 13 16</inkml:trace>
  <inkml:trace contextRef="#ctx0" brushRef="#br0" timeOffset="37613.75">16021 728 0,'13'-14'16,"-26"28"-16,39-41 0,-13 27 15,0 0-15,1 13 16,-14 1-16,13-14 15,-13 13-15,0 0 16,0 0-16,-13 14 0,13-14 0,-14 0 16,14 14-16,-13-14 0,13 0 0,-13 0 15,13 1-15,-13-1 0,0 0 16,13 0-16,-14-13 16,14 13-16,14-13 31,12 0-16,-13-13-15,0 13 0,1-13 16,12 0-16,1 0 0,-1-14 16,-13 14-16,14-14 0,-1 14 0,-13-13 15,14-1-15,-14 27 0,0-13 16,1 0-16,-14 0 16,-14 39 30,14-13-46,0 14 16,14-14 0,-1 0-16,0-13 0,0 0 15,0 0-15,1 0 16,-1 0-16,0-13 0,0 13 0,1-26 16,-14 12-16,0 1 15,0 0-15,0 0 0,0-1 16,-14 1-16,1 0 15,0 0-15,0 13 0,-1 0 16,1 13-16,0-13 0,-13 13 16,-1 14-16,1-14 0,-1 13 0,14-12 15</inkml:trace>
  <inkml:trace contextRef="#ctx0" brushRef="#br0" timeOffset="38082.46">15769 1217 0,'27'-13'15,"-1"0"1,14-1-16,-1 1 0,1 0 0,53-14 16,-40 1-16,13 13 0,-27 0 15,1-1-15,13 1 0,-13 0 16,13 0-16,-14-1 0,1 1 0,0 0 15,-14 0-15,1-1 0,-1 14 0,-13 0 16,1-13-16,12 0 0,-13 0 16,1 0-16,-1-14 0,0 1 15,0-14-15,0-26 0,1 26 16,-14 0-16,0 1 0,-14-1 16,1-13-16,0 0 0,-66-39 15,26 65-15,-66-26 0,52 40 16,-91 13-16,78 13 15,-12 1-15,12 12 0,-25 0 0,12 14 16,27-13-16,-27 25 0,14-12 0,13 0 16,-40 52-16,53-52 15,13 13-15,1-13 0,12-1 0,14 1 16,0 0-16,-1-14 0,14-13 16,0 40-16,14-13 0,12-13 15,1-14-15,-1 13 0,14-13 16,52 1-16,-39-1 0,0-13 15,13-13-15,67-1 0</inkml:trace>
  <inkml:trace contextRef="#ctx0" brushRef="#br0" timeOffset="38343.64">16616 873 0,'40'0'16,"-27"-13"0,0 13-16,13 0 0,27-13 15,-13 13-15,-13 0 0,-1-14 0,0 14 16,41-13-16,-54 13 15,26-13-15,-25 13 16,12-13-16,-26 0 0</inkml:trace>
  <inkml:trace contextRef="#ctx0" brushRef="#br0" timeOffset="38545.16">16880 648 0,'0'0'16,"27"13"-16,-1-13 15,-12 14-15,12-14 0,14 13 16,-14 0-16,14 14 0,-14-14 0,14 13 16,-14 1-16,-26-14 15,14 0-15,-14 0 16,-14 14-16,14-14 0,-13 14 0,-13-1 0,13 0 16,-14-26-16,14 27 0,-14-1 15,14-12-15</inkml:trace>
  <inkml:trace contextRef="#ctx0" brushRef="#br0" timeOffset="40102.41">17833 595 0,'-13'0'0,"-1"14"15,1-1-15,-13 0 0,-14 40 16,27-27-16,-14 1 0,14-1 0,0 1 16,0-1-16,-1 1 15,1-14-15,13 0 0,0 0 0,0 1 0,0 12 16,0-13-16,13-13 15,1 0-15,-1 0 16,13 0-16,-12-13 0,-1 13 0,13-13 16,-12 0-16,-1-1 0,13 1 0,-13 0 15,-13 0-15,14 13 0,-1-14 16,0 1-16,0 13 16,-13 13-1,14 1-15,-14-1 16,0 0-16,13-13 0,-13 13 0,13 1 15,-13-1-15,27 0 16,-14 0-16,0-13 16,0 0-16,0 0 15,1-13-15,-14 0 0,0-14 16,0 14 0,0 0-16,-14 13 15,14-13-15,0-1 0,-13 1 16,26 40 31,1-27-47,-1 0 15,-13 13 1,13-13-16,0 0 0,1 13 16,-1-13-1,0 0-15,0 0 16,1 0-1,-1 0-15,0 0 0,0-13 16,0 13-16,1-13 16,-1-1-16,0 14 15,-13-13-15,13 0 0,-13 0 16,0 0-16,-13 26 47,13 0-47,-13-13 15,26 13 1,-13 0-16,13-13 16,1 0-16,-1 0 15,0 0-15,0 0 0,0 0 16,-13-13-16,14 13 0,-1 0 0,0-13 16,0 13-1,1-13-15,-1 26 31,-13 0-31,0 0 16,0 1-16,13-1 16,0 0-1,14-26-15,-14 13 16,0-13-16,14-14 16,-27 14-16,13 0 15,0 0-15,14-27 0,-14-13 16,0 26-16,0 14 15,-13 40 17,0-14-32,0 13 0,-13 1 15,13 13-15,-13-1 0,0-12 0,13 12 16,-14 1-16,14-14 0,-13-26 16,13 14-16,0-1 0,-13 13 0,13-12 15,-13-14-15,13 13 16,-14-40-1,28 14-15,-14-27 16,0 27-16,13-13 0,13-27 16,-26 40-16,27-14 15,-27 14-15,13 0 0,0 13 16,1 13-16,-14 27 31,-14-40-31,14 13 0,-13 13 16,0-26-16,13 14 0,0-1 15,-13-13-15</inkml:trace>
  <inkml:trace contextRef="#ctx0" brushRef="#br0" timeOffset="40368.35">18680 661 0,'0'-39'15,"0"78"-15,0-52 31,0 26-31,0 14 0,0-14 16,0 0-16,-14 14 0,14-1 16,-13-12-16,13-1 0,-13 13 0,13-13 15,0 1-15,0-1 0,0 0 32,13-26-17,-13 0 1,13-1-16,1 1 15,-1 13-15,0-13 16,13 13-16</inkml:trace>
  <inkml:trace contextRef="#ctx0" brushRef="#br0" timeOffset="40714.95">17410 1363 0,'0'0'15,"13"-14"-15,0 1 0,13 0 16,14-14-16,79-12 0,80-27 16,-1-1-1,80 15 16,-238 38-15</inkml:trace>
  <inkml:trace contextRef="#ctx0" brushRef="#br0" timeOffset="40794.94">17727 1336 0,'278'-92'47,"-199"65"-31,-65 27-1,-1 0-15,-397 119 0</inkml:trace>
  <inkml:trace contextRef="#ctx0" brushRef="#br0" timeOffset="41152.19">18045 1323 0,'-40'26'0,"13"-12"0,1 12 15,0-13-15,-1 14 0,-26-1 16,13 14-16,-39 13 0,39-27 16,14 1-16,-1-1 0,-39 14 15,40-27-15,13 0 16,-1 1-16,-12-1 0,13 0 0,-1-13 0,1 13 16,0 0-16</inkml:trace>
  <inkml:trace contextRef="#ctx0" brushRef="#br0" timeOffset="41480.15">17489 1535 0,'-27'39'0,"54"-78"0,-54 92 0,14-40 0,0 0 15,0 13-15,0-12 0,-1 12 16,14-13-16,-13 14 0,0-1 16,13-13-16,0 27 0,0-27 15,13 1-15,-13-1 0,13-13 16,1 0-16,25 13 0,14-26 15,-40 13-15,14 0 0,-1-13 16,40-1-16,-39 1 16,-1 13-16</inkml:trace>
  <inkml:trace contextRef="#ctx0" brushRef="#br0" timeOffset="43238.37">19076 952 0,'0'0'0,"40"0"15,-13 0-15,-14 0 16,40 0-16,-27 0 0,1 0 15,-1 0-15,1 0 0,-1-13 16,1 13-16,-1 0 0,-13-13 16,14 13-16,-14 0 0,13-13 0,-12 13 15</inkml:trace>
  <inkml:trace contextRef="#ctx0" brushRef="#br0" timeOffset="43488.57">19354 741 0,'14'0'0,"-1"0"0,0 13 16,0-13 0,0 13-16,1-13 0,-1 14 0,0-1 15,0 0-15,14 0 0,-14 0 16,-13 14-16,13-14 0,-13 0 15,0 1-15,0-1 0,0 13 0,-13-13 16,0 14-16,13-14 0,-13 0 16,13 1-16,-14-1 0</inkml:trace>
  <inkml:trace contextRef="#ctx0" brushRef="#br0" timeOffset="44078.16">20002 767 0,'-13'40'31,"13"-27"-15,0 0-16,0 14 0,0-14 15,0 0-15,-13 1 0,13-1 0,0 0 16,0 0-16,0 0 0,0 1 15,0-1-15,0 0 16,0 0-16,0-52 31,0 25-15,0-12-16,0 13 0,0-27 16,0 14-16,0-1 0,13-26 15,-13 40-15,0 0 16,0 0-16,0-1 0,13 1 0,-13 0 15,14 0-15,-1 13 16,0 13 0,0-13-16,1 13 0,-14 0 15,0 1-15,0-1 16,0 0-16,0 0 0,0 1 0,0-1 16,-14 0-16,14 0 15,-13 0-15,13 1 0,-13-1 0,0 0 16,13 0-16,-14-13 0,1 14 15</inkml:trace>
  <inkml:trace contextRef="#ctx0" brushRef="#br0" timeOffset="44576.7">20122 873 0,'-14'27'32,"14"-14"-32,0 0 15,0 0 1,14 0-1,-1-26 1,0 13-16,0-13 16,0 0-16,-13 0 15,14-1-15,-14 1 16,13 0 0,0 26 15,-13 0-31,0 1 15,0-1-15,13 0 0,-13 0 16,0 0-16,0 1 0,0-1 16,14 0-16,-28 0 0,14 1 15,0-1-15,0 0 0,0 0 0,-13 1 16,13-1-16,-13 0 0,0 0 16,-1-13-1,14 13-15,-13-13 0,0-13 16,0 13-1</inkml:trace>
  <inkml:trace contextRef="#ctx0" brushRef="#br0" timeOffset="44940.43">20386 648 0,'0'27'31,"0"-14"-31,0 13 16,0-12-16,0-1 0,0 0 15,0 0-15,0 14 0,-13-1 16,13 1-16,0-1 0,-13-13 15,13 1-15,0-1 16,0 0-16,0 0 0,0 0 0,-14-13 16,14 14-1,0-1 1,0 0-16</inkml:trace>
  <inkml:trace contextRef="#ctx0" brushRef="#br0" timeOffset="45314.95">20532 648 0,'-14'27'31,"14"-14"-31,0 0 0,-13 0 0,13 1 16,0 12-16,-13-13 0,13 1 16,-13 25-16,13-26 15,0 1-15,-13-1 0,13 0 16,0 0-1,13-13 1,0 0 0,0 14-1,0-14 1,1 0-16,-14 13 16,13-13-16,0 13 15,0-13-15,1 0 0,-1 0 16</inkml:trace>
  <inkml:trace contextRef="#ctx0" brushRef="#br0" timeOffset="45877.06">20280 860 0,'53'-27'31,"-40"27"-31,14-13 16,-14 13-16,14 0 0,-1-13 0,1 13 15,12-13-15,-12 13 16,-1 0-16,-13-13 0,1 13 16,-1 0-16,0 0 0,14 0 15,-14 0 1,-13 13-16,0 0 31,0 0-31,0 0 16,0 1-16,0-1 15,13-13 1,0 0 0,0 0-16,1-13 15,-1-1-15,-13 1 16,13 13-16,-13-13 0,0 0 15,0 0 1,0-1-16,0 1 16,13 40 46,-13-14-62,14 0 16,-1-13-16,0 13 15,0-13-15,-13 13 16,13-13-16,1 0 0,-1 0 16,-13 14-1</inkml:trace>
  <inkml:trace contextRef="#ctx0" brushRef="#br0" timeOffset="46140.5">19817 1296 0,'53'-13'0,"-40"13"16,14-13-16,52 0 15,27-14-15,66-26 16,-66 40-16,-53 0 15,-13 0-15,12-1 16,-12 14-16,92-39 16,-118 39-1,-1-13-15,0 13 16</inkml:trace>
  <inkml:trace contextRef="#ctx0" brushRef="#br0" timeOffset="58172.08">14962 900 0,'-66'13'16,"132"-26"-16,-158 26 0,65-13 0,14 0 0,-14 0 16,1 0-16,0 0 0,12 0 15,-12 13-15,-14-13 0,14 0 0,-1 0 16,1 13-16,-1-13 0,14 0 0,-13 13 16,12-13-16,-12 0 0,13 0 15,-14 0-15,14 0 0,0 0 0</inkml:trace>
  <inkml:trace contextRef="#ctx0" brushRef="#br0" timeOffset="58441.19">14420 754 0,'-40'27'31,"27"-14"-31,0 0 0,-1 0 0,1 14 16,0-14-16,0 13 0,13-12 16,0 12-16,-13-13 0,13 0 0,0 1 15,0-1-15,13 0 0,-13 0 0,13 14 16,0-14-16,0-13 0,1 13 16,12 1-16,1-14 0,-14 0 15,13 13-15,1-13 0,-1-13 0,1 13 16,-1 0-16,1-14 0,-1 14 0</inkml:trace>
  <inkml:trace contextRef="#ctx0" brushRef="#br0" timeOffset="59237.14">11827 1072 0,'-13'0'15,"13"13"-15,0 0 16,0 13-16,0 1 0,13-1 0,-13 1 0,0-1 16,0 1-16,13 12 15,-13 14-15,0-39 0,13 12 16,-13-13-16,0 14 0,14-1 15,-14-13-15,0 1 0,0-1 16,0 0-16,13-13 0,-13 13 16,-13-52 15,13 25-31,-14-12 0,-39-265 47,53 251-32,14 1-15,78 224 125,-105-185-125,13 13 0,-13 0 16,0-13-16,-1 13 16,1 1-1</inkml:trace>
  <inkml:trace contextRef="#ctx0" brushRef="#br0" timeOffset="59976.59">12105 1164 0,'-14'-13'15,"-12"26"32,26 0-31,0 1-16,-13-1 0,13 0 16,0 0-16,0 1 0,0-1 15,0 0-15,0 0 0,0 14 16,0-14-16,0 0 0,0 0 15,13 1-15,-13-1 0,13 0 16,0-26 15,-13 0-31,14-1 0,-14 1 16,13 0-16,-13 0 16,0-1-16,13 1 15,-13 0-15,13 13 0,-13-13 0,14 13 16,-1 0-1,0 13-15,0-13 16,-13 13-16,14-13 0,-14 13 16,13 1-16,-13-1 15,13 0 1,-13 0-16,13 1 31,-26-54-15,13 27-1,0-1-15,0 1 16,0 0-16,13 0 0,-13 0 16,0-1-16,13 1 15,1 0-15,-14 0 16,13 13-16,0 0 16,0 0-1,1 13 1,-14 0-1,0 0-15,13 1 16</inkml:trace>
  <inkml:trace contextRef="#ctx0" brushRef="#br0" timeOffset="60412.61">12422 926 0,'-13'-13'16,"26"66"15,-13-27-15,13 27-16,1 26 15,-14-26-15,13-13 16,-13-13-16,0-14 0,0 0 15,0 0-15,0 0 0,0 1 16,0-1-16,0 0 0,0 0 16,-13-13-1,13-13 1,-14 0-16,14 0 0,14-1 16,-14 1-16,0 0 0,0 0 0,0-14 15,13 27-15,0-26 16,-13 13-16,13-1 15,1 14-15,12 0 16,-26 14-16,13-14 16,-13 13-1,13-13-15,1 26 0,-14-12 16,0-1-16,13 0 0,-13 0 31</inkml:trace>
  <inkml:trace contextRef="#ctx0" brushRef="#br0" timeOffset="60554.53">12568 1032 0,'-14'0'0,"1"13"15</inkml:trace>
  <inkml:trace contextRef="#ctx0" brushRef="#br0" timeOffset="61008.78">12634 1058 0,'0'14'0,"0"-28"0,-13 41 15,13-14 1,0 0-16,0 0 15,13-13-15,0 14 16,0-14-16,1-14 16,-1 14-1,13 0-15,-13 0 16,1 14 0,-1-14-16,-13 13 15,0 0-15,0 0 16,0 1-16,0-1 15,26-26 17,-12 13-32,-14-14 15,13 1-15,0 0 0,0 13 0,1-13 16,-14-1-16,13 1 0,0 0 0,0 0 16,-13 0-1,13 13-15,1 13 31,-14 0-15,0 0-16,0 14 31,0-14-31,-14 0 16</inkml:trace>
  <inkml:trace contextRef="#ctx0" brushRef="#br0" timeOffset="61215.49">12197 1707 0,'27'-14'15,"26"-25"1,92-41 0,27-12-16,-66 39 15,0 13 1,-40 14-16,-13-1 15,-40 27-15,0 0 16</inkml:trace>
  <inkml:trace contextRef="#ctx0" brushRef="#br0" timeOffset="61576.53">12158 1786 0,'0'0'15,"26"-27"-15,1 27 0,39-26 16,0-14-16,13 14 16,-39-1-16,13 14 0,-14 0 15,41-13-15,-54 12 16,27 1-16,-13 0 16,-14 0-16,-12 13 15,-1 0-15,0-14 16,0 14-16,1-13 15,-1 13 1,0 0 15,-26-13 47,0 13-78</inkml:trace>
  <inkml:trace contextRef="#ctx0" brushRef="#br0" timeOffset="62291.15">11761 1296 0,'-40'0'0,"80"0"0,-106 14 0,52-14 15,-12 0-15,-1 13 0,-12 0 0,-1 0 16,0-13-16,1 14 0,-1-1 16,14 0-16,-1-13 0,-26 13 15,40 1-15,-27-1 0,27-13 16,0 0-16,0 13 0,-1-13 16,-12 13-16,13-13 15</inkml:trace>
  <inkml:trace contextRef="#ctx0" brushRef="#br0" timeOffset="62608.14">11205 1283 0,'0'0'0,"-53"27"16,40-14-16,0 0 16,-1 0-16,-12 27 15,13-13-15,13-14 0,-13 0 16,13 0-16,0 0 0,0 14 16,13-14-16,13 27 31,-13-27-31,1-13 0,-1 13 0,0-13 0,14 0 15,-14 0-15,13 0 16,-12 0-16,12 0 0,-13 0 0,14-13 16,-14 13-16</inkml:trace>
  <inkml:trace contextRef="#ctx0" brushRef="#br0" timeOffset="64380.09">9287 1733 0,'0'40'31,"0"-27"-16,0 0-15,0 14 0,13 12 16,0-25-16,-13 12 0,0-13 0,14 14 16,-14-14-16,0 0 0,0 0 15,13 1-15,-13-1 0,0 0 16</inkml:trace>
  <inkml:trace contextRef="#ctx0" brushRef="#br0" timeOffset="64728.38">9393 1812 0,'0'27'32,"0"-14"-32,0 0 0,0 1 15,13-1-15,0 0 0,-13 0 0,13 0 16,1 1-16,-1-1 0,0 0 15,0-13-15,14 13 16,-14-13-16,13-13 16,-12 13-16,-14-13 0,13 13 15,-13-13-15,0-1 16,0 1-16,0 0 0,-13 0 16,13 0-16,-14-1 0,1 14 15,13-13-15,-13 13 0,0-13 0,0 13 16,-1 0-16,1 0 0,0-13 15,0 26-15,-1-13 0,1 0 0,0 0 16</inkml:trace>
  <inkml:trace contextRef="#ctx0" brushRef="#br0" timeOffset="65008.27">9578 1746 0,'13'27'0,"-26"-54"0,26 67 0,-13-27 0,13 0 16,-13 1-16,0-1 16,14 0-16,-1 0 0,0 1 15,0-14-15,1 0 0,-1 0 0,0 0 16,0 0-16,0 0 16,1-14-16,-1 14 0,0-13 15,-13 0-15,13 13 0,-13-13 0,0-1 16,0-12-1,-13 26-15,13-13 0,-13-1 16,0 14-16,-1 0 0,1-13 16,0 26-16,0-13 15,0 0-15,13 14 0,-14-14 16</inkml:trace>
  <inkml:trace contextRef="#ctx0" brushRef="#br0" timeOffset="65209.13">10014 1535 0,'14'0'15,"-14"13"1,0 0-16,0 0 0,0 1 16,0 12-16,0 0 0,-14 1 15,14-1-15,0 14 0,-13-14 0,13 1 16,-13 13-16,13-14 0,0-13 15,0 1-15,0-1 16</inkml:trace>
  <inkml:trace contextRef="#ctx0" brushRef="#br0" timeOffset="65344.92">9776 1720 0,'-13'-13'0,"40"13"16</inkml:trace>
  <inkml:trace contextRef="#ctx0" brushRef="#br0" timeOffset="65478.63">10213 1733 0,'-40'13'31,"27"-13"-15</inkml:trace>
  <inkml:trace contextRef="#ctx0" brushRef="#br0" timeOffset="66045.07">8903 1826 0,'-53'13'0,"40"-13"16,-13 0-16,-1 0 0,14 13 16,-14-13-16,1 0 0,0 13 0,-1-13 15,14 0-15,-40 14 0,40-14 16,-14 13-16,14-13 0,0 13 16,-14-13-16,14 0 0,-13 13 15</inkml:trace>
  <inkml:trace contextRef="#ctx0" brushRef="#br0" timeOffset="66269.38">8374 1786 0,'-26'26'15,"52"-52"-15,-66 66 0,40-27 0,-13 0 0,13 0 16,-13 14-16,13-14 15,0 0-15,0 0 0,0 1 16,13-1-16,-13 0 0,13-13 0,1 13 16,-1-13-16,0 14 0,0-14 15,1 0-15,-1 0 0,13 0 16,1 0-16,-14-14 0,0 14 16</inkml:trace>
  <inkml:trace contextRef="#ctx0" brushRef="#br0" timeOffset="67056.76">7435 1852 0,'-27'27'16,"14"-14"-16,0-13 0,0 13 0,-1 13 15,1-12-15,0-1 0,-14 0 16,14 0-16,0 1 0,0 12 15,0-13-15,-1 1 0,14-1 16,0 0 0,14 0-16,-1-13 15,0 0-15,27 0 0,-14 0 16,-13 0-16,14-13 0,-14 13 16,14-13-16,-1 0 0,-13 13 15,14-27-15,-14 14 16,0 13-16</inkml:trace>
  <inkml:trace contextRef="#ctx0" brushRef="#br0" timeOffset="67244.74">7461 1839 0,'0'-13'16,"-13"39"0,13-13-16,0 1 0,0 12 15,13-13-15,-13 0 16,0 1-16,0 12 0,0-13 0,13 1 15,-13-1-15,0 0 0,0 0 16,0 14-16,0-14 0,0 0 16,14 0-16,-14 1 0,0-1 15</inkml:trace>
  <inkml:trace contextRef="#ctx0" brushRef="#br0" timeOffset="67620.8">7673 1826 0,'-27'13'16,"14"0"-16,0 0 0,0 1 0,0-1 15,-1 0-15,14 0 16,-13-13-16,13 13 0,0 1 0,0-1 15,13 0 1,1-13-16,-1 0 16,0 0-16,0 0 0,0 0 15,1 0-15,-14 13 0,13-13 0,0 0 16,0 0-16,1 0 16,-1 14-16,-13-1 15,0 0 1,0 0-16,-13 1 15,-1-1-15,1 13 16,0-26-16,0 13 0,-1 1 16,1-14-16,13 13 15</inkml:trace>
  <inkml:trace contextRef="#ctx0" brushRef="#br0" timeOffset="67823.5">7898 1680 0,'-40'265'109</inkml:trace>
  <inkml:trace contextRef="#ctx0" brushRef="#br0" timeOffset="67964.32">7752 1879 0,'-13'-14'16,"40"28"15</inkml:trace>
  <inkml:trace contextRef="#ctx0" brushRef="#br0" timeOffset="68080.54">8070 1852 0,'13'-13'0</inkml:trace>
  <inkml:trace contextRef="#ctx0" brushRef="#br0" timeOffset="68960.6">7832 1416 0,'-53'-40'16,"106"80"-16,-119-93 0,52 53 0,-12-14 0,13 14 15,-14-13-15,1 13 0,-1 0 0,1 0 16,-1 13-16,-26-13 0,27 14 16,-14 12-16,-13 1 0,14-1 0,-1 0 15,13 14-15,-12 0 0,-1 66 16,14-53-16,12-1 0,14 1 15,0 40-15,0-40 16,0-13-16,14-1 0,-1 1 0,13 0 16,1-14-16,-1 1 0,1-1 0,-1 0 15,40 14-15,-39-27 16,-1 1-16,40-14 0,-52 13 16,25-26-16,-12 13 0,12-14 15,-12 1-15,13 0 0,-14 0 0,14-1 16,-14-12-16,1 13 0,-14-14 0,13 1 15,1-1-15,-14 1 0,0-14 16,1 1-16,-1 12 0,-13-13 16,13 1-16,-13 12 0,0 1 0,-13-14 15,0 14-15,-1-14 0,1 14 0,-13-14 16,-1 13-16,1 1 0,-27-14 16,13 14-16,14 13 0,-41-14 15,41 27-15,-40 0 16,39 0-16,1 0 0,-1 0 15,-12 0-15,12 13 0,1-13 0,-1 14 16</inkml:trace>
  <inkml:trace contextRef="#ctx0" brushRef="#br0" timeOffset="69531.41">7170 1945 0,'-79'0'16,"158"0"-16,-185 13 0,80-13 0,13 0 15,-14 0-15,1 0 0,-1 0 0,1 0 16,13 0-16,-14 0 0,1 0 0,-1 0 16,1 0-16,13 0 0,-14 0 15,14 0-15,-14 13 0,14-13 0,-13 0 16,-1 0-16,14 0 16,0 0-16</inkml:trace>
  <inkml:trace contextRef="#ctx0" brushRef="#br0" timeOffset="69816.36">6628 1839 0,'-13'13'16,"-1"-13"-16,14 13 15,-13 1-15,0-1 0,13 0 0,-13 0 16,13 0-16,0 1 0,-14 12 0,14 1 16,0-14-16,0 0 0,0 0 15,14 1-15,-14-1 0,13 0 16,0 0-16,0-13 0,-13 13 16,27-13-16,-14 14 0,0-14 0,1 0 15,-1 0-15,0 0 0,0 0 16,0 0-16,1 0 0,-1 0 0</inkml:trace>
  <inkml:trace contextRef="#ctx0" brushRef="#br0" timeOffset="70473.37">5636 1812 0,'-14'0'16,"1"0"-16,0 14 0,-27-1 15,-39 27 1,66-27-16,-1 0 16,1 0-16,13 0 0,-13-13 0,13 14 15,0 12 1,13-26-16,0 13 0,1-13 0,-1 14 15,0-14-15,0 0 0,14 13 16,-14-13-16,0 0 0,0 13 0,1-13 16,-1 0-16,0 13 0,0-13 15,1 14-15,-1-14 0,-13 13 16,0 0-16,0 0 16,-13-13-16,13 13 0,-14 1 15,1-14-15,0 13 0,0 0 16,-1-13-16,1 0 15,0 13-15,0-13 0,0 0 0,-1-13 16,14 0 0</inkml:trace>
  <inkml:trace contextRef="#ctx0" brushRef="#br0" timeOffset="70702.38">5609 1746 0,'0'-13'31,"13"26"-15,-13 0 0,14 1-16,-14-1 0,13 13 15,-13-12-15,13 12 0,-13-13 0,13 14 16,1-14-16,-14 13 0,13-12 0,-13-1 16,13 0-16,0 0 0,-13 1 15,0-1-15,13 0 0,-13 0 0,14-13 16,-14 14-16,0-1 0,13-13 15</inkml:trace>
  <inkml:trace contextRef="#ctx0" brushRef="#br0" timeOffset="71938.47">5622 2077 0,'0'-13'0,"0"26"0,14-39 0,-1 12 16,-13 1-16,13 13 16,0-13-16,1 0 0,-1 13 15,-13-14-15,13 14 0,0-13 16,0 0-16,1 13 16,-14-13-16,13 13 0,0-14 15,0 14-15,-13-13 16,14 0-1,-1 13 17,0 13-17,0 0-15,1 1 16,-14-1-16,13 0 16,-13 0-16,13-13 15,-13 14-15,13-1 16,-13-40 15,13 27-31,-13-13 16,0 0-16,0 0 15,0-1-15,0 1 0,14 13 0,-14-26 16,13 13 0,-13-1-16,13 28 62,-13-1-62,0 0 0,13-13 16,-13 13-16,14 0 15,-1-13-15,-13 14 16,13-14-16,0-14 16,0 14-1,-13-13-15,0 0 16,0 0-1,-13 0-15,13-1 16,-13 14-16,0 0 16,13-13-16,-13 13 15,-1 0-15,1-13 16,40 13 31,-14 0-32,0 0-15,-13 13 0,13-13 16,0 0-16,-13 13 0,14-13 16,-1 0-16,-13 14 15,13-1-15,0 0 16,1-13 15,-1-13 0,-13 0-15,13 13-16,-13-14 16,13 14-16,-13-13 0,14 13 0,-14-13 15,13 0-15,0-1 16,-13 1-16,13 0 16,-13 0-1,-13-1 1,26 28 31,0-1-32,-13 0-15,0 14 0,14-27 16,-14 39-16,0-25 16,0-1-16,-14 0 0,14 0 0,0 0 15,0 1-15,-13 12 0,13-13 16,-13-13-16,13 14 15,0-41 17,0 14-17,13 0-15,-13-1 0,13 14 16,-13-13-16,0 0 0,14 0 0,-1 0 16,-13-1-16,13 14 15,-13-13-15,0 0 0,13 13 0,-13-13 16,14 13-16</inkml:trace>
  <inkml:trace contextRef="#ctx0" brushRef="#br0" timeOffset="82769.36">8096 1693 0,'93'-53'0,"-1"27"31,-78 13-31,12 13 0,-13-13 16,1 13-16,-1-14 0,0 14 0,0-13 15,1 13-15,-1-13 16,0 13-16,0-13 0</inkml:trace>
  <inkml:trace contextRef="#ctx0" brushRef="#br0" timeOffset="83052.39">8308 1455 0,'13'-13'31,"0"13"-31,14 0 16,-14 13-1,0-13-15,1 13 0,-1-13 16,0 14-16,0-14 0,0 13 0,-13 0 16,14 0-16,-14 1 0,13-14 15,-13 13-15,0 0 0,0 0 0,0 1 16,0-1-16,-13 0 16,13 0-16,0 0 0,-14 1 15</inkml:trace>
  <inkml:trace contextRef="#ctx0" brushRef="#br0" timeOffset="83456.36">8692 1283 0,'-14'27'15,"14"-14"-15,0 13 16,0-12-16,0 12 16,0-13-16,0 14 0,14-1 15,-1-13-15,-13 1 0,13-1 0,-13 0 16,13-13-16,-13 13 0,13-13 15,1 0-15,-1 14 16,0-28-16,-13 1 31,0 0-31,0 0 16,-13-1 0,0 14-1,13-13-15,-14 13 16,1 0-16,0 0 15</inkml:trace>
  <inkml:trace contextRef="#ctx0" brushRef="#br0" timeOffset="85117.44">8639 1402 0,'0'-13'16,"13"0"-16,0 13 0,-13-13 16,13 13-16,1-14 0,-1 1 15,0 13-15,0-13 0,0 0 16,1 13-16,-14-14 15,13 14-15,-26 27 32,13-14-17,-14-13-15,14 13 0,-13 1 16,0-1-16,0 0 0,13 0 16,-13 1-16,13-1 0,-14-13 15,14 13-15,0 0 16,14 0-16,-1-13 15,-13 14-15,13-14 0,0 0 0,0 13 16,1-13-16,-1 13 16,0-13-16,0 0 0,1 13 15,-1-13-15,0 14 16,-13-1 0,-13 0-16,13 0 15,-13 1-15,-1-14 0,1 13 16,0 0-16,0 0 0,-1-13 15,-12 13-15,13 1 0,0-14 16,-1 0-16,1 13 0,0-13 0,0 0 31</inkml:trace>
  <inkml:trace contextRef="#ctx0" brushRef="#br0" timeOffset="85479.39">8877 1323 0,'-13'0'16,"-14"13"0,27 0-16,-13-13 15,13 14-15,0-1 16,0 0-16,0 0 15,13-13-15,0 14 16,1-14-16,-1 0 0,0 13 16,0-13-16,0 13 15,1-13-15,-1 13 16,-13 0 0,0 1-16,-13-1 0,13 0 15,-14 0-15,1 1 0,13-1 16,-13 0-16,0 0 0,0 1 15,13-1-15,-14-13 0,1 13 16</inkml:trace>
  <inkml:trace contextRef="#ctx0" brushRef="#br0" timeOffset="85649.24">9049 1270 0,'0'26'16,"0"-12"-16,0-1 16,-13 0-16,13 14 0,-14-1 15,14 1-15,0-14 0,0 0 16,-13 0-16,13 14 0,0-14 0,0 0 16</inkml:trace>
  <inkml:trace contextRef="#ctx0" brushRef="#br0" timeOffset="85781.43">8903 1416 0</inkml:trace>
  <inkml:trace contextRef="#ctx0" brushRef="#br0" timeOffset="85940.3">9141 1389 0,'0'-13'31</inkml:trace>
  <inkml:trace contextRef="#ctx0" brushRef="#br0" timeOffset="86434.38">8983 1680 0,'39'-26'0,"-25"12"16,-1 14-16,40-39 0,-27 26 15,1-14-15,-14 1 0,13-1 0,14-26 16,-27 40-16,0-27 16,1 14-16,-14 13 0,0-14 0,0 1 15,-14-27-15,-12 13 16,0 14-16,-27-27 0,26 39 16,-13-12-16,1 26 0,-1-13 15,-13 13-15,13 0 0,-12 13 0,-1-13 16,0 26-16,0-12 0,0 12 0,13 14 15,0-14-15,1 14 0,26 0 16,-14-14-16,14 14 0,0 39 16,13-39-16,-14 0 0,28-14 0,-14 1 15,13 12-15,0-12 0,14-1 16,-14 1-16,26-1 0,-25-13 16,12 0-16,1-13 0,-1 0 0,1 0 15,-1 0-15,0 0 0,1-13 16,-1 0-16,14 0 0</inkml:trace>
  <inkml:trace contextRef="#ctx0" brushRef="#br0" timeOffset="86921.05">9366 1363 0,'53'-27'0,"93"-39"32,-107 53-32,1 0 0,0-14 0,-14 14 15,14-14-15,0 14 0,-14-13 16,0 12-16,1-12 0,13-27 15,-27 40-15,0 0 0,0-14 0,1 14 16,-14 0-16,13-1 16,-13 1-16,0 0 0,0 0 15,0 0-15,0-1 0,0 1 0,-13 13 16,13-13-16,-14 0 16,1 13-1,0-14-15</inkml:trace>
  <inkml:trace contextRef="#ctx0" brushRef="#br0" timeOffset="87194.02">9803 833 0,'13'-13'16,"-13"0"-16,13 13 0,0 0 15,1 0-15,-1 0 0,0 0 16,0 0-16,1 0 0,-1 13 0,13-13 16,-12 0-16,-1 13 0,0-13 15,0 14-15,0-14 0,1 13 0,-1 13 16,-13-12-16,0-1 16,0 0-16,0 13 0,-13-26 15,-1 14-15,1 12 0,0-13 0,0 14 16,0-14-16,13 0 0,-14 1 15</inkml:trace>
  <inkml:trace contextRef="#ctx0" brushRef="#br0" timeOffset="98872.32">10306 503 0,'0'26'31,"0"-13"-15,0 1-16,13-1 0,-13 13 0,0-12 15,0 12-15,13-13 0,-13 14 0,0-14 16,0 0-16,13 14 0,-13-14 16,0 0-16,0 0 0,0 1 15,13-1-15,-13 0 0,0 0 0</inkml:trace>
  <inkml:trace contextRef="#ctx0" brushRef="#br0" timeOffset="99420.26">10213 609 0,'26'-53'16,"1"53"-1,-14-14-15,14 14 0,-14-13 16,0 13-16,0 0 0,0 0 15,-13 13-15,14-13 0,-1 14 16,-13-1-16,0 0 16,-13 0-16,13 1 0,-14-14 15,14 13-15,0 0 0,-13-13 0,13 13 16,13 0 0,1 1-16,-1-14 15,0 13-15,14-13 0,-14 0 16,0 13-16,0-13 0,14 13 0,-14 1 15,0-14-15,-13 13 16,13-13-16,-13 13 0,0 0 0,0 14 16,-13-14-16,0 0 15,0 0-15,0 1 16,-1-14-16,1 13 0,0-13 0,13 13 16,-13-13-16,-1 0 15,1 0-15</inkml:trace>
  <inkml:trace contextRef="#ctx0" brushRef="#br0" timeOffset="100136.5">10636 754 0,'27'-40'15,"-27"27"-15,13 0 16,-13 0-16,0-1 16,-13 1-1,13 0-15,-14 13 16,1 13-1,0 0-15,13 1 16,-13-14-16,13 13 0,0 0 0,0 0 16,0 1-16,0-1 15,0 0 1,13-13-16,0 0 16,0-13-16,1 13 15,-1 0-15,0-13 0,0 13 16,1-14-16,-1 14 15,0 0 1,0 0-16,1 0 16,-14 14-16,13-14 15,0 0 1,-13 13 0,13-26 15,0 13-31,1-14 15,-1 14-15,0-13 16,0 13 0,1 0-1,-1 0-15,0 0 0,0 0 16,-13-13-16</inkml:trace>
  <inkml:trace contextRef="#ctx0" brushRef="#br0" timeOffset="100617.25">11152 410 0,'0'27'31,"0"-14"-31,0 0 0,0 0 0,13 0 16,-13 1-16,0-1 0,0 13 16,0-12-16,0-1 0,14 0 15,-14 0-15,0 1 0,0-1 16,0 0-16,0-53 31,0 27-31,-14-13 16,14-1-16,0 1 0,0-1 0,-13 1 15,26-14-15,-13 27 0,0-14 16,0 14-16,0-13 0,0 13 0,14 13 16,-14-14-16,13 14 0,0 0 15,0 14-15,14 12 16,-14-13-16,-13 0 0,13 1 15,0 12-15,-13-13 0,14 1 16,-1 12-16,-13-13 0,13 0 16,-13 1-16,13 12 0,-13-13 15,0 1-15</inkml:trace>
  <inkml:trace contextRef="#ctx0" brushRef="#br0" timeOffset="101177.23">11218 609 0,'-13'0'0,"26"-27"32,1 27-17,12-13-15,-13 0 0,0-1 16,14-12-16,-1 13 0,-12-1 0,-1-12 16,0 13-16,0-14 0,14-12 15,-27 12-15,13 14 0,-13 0 16,0 0-16,13-1 0,-13 1 15,0 0-15,0 0 16,13 39 0,-13-13-16,0 1 0,0 12 15,0 0-15,14 1 0,-14-1 0,0 1 16,0 12-16,0-12 0,0-1 16,0 1-16,0 13 0,0-14 15,0-13-15,0 0 0,0 1 16,-14-1-16,14 0 0,0 0 15,-13-13-15,0 0 16,0-13 15,26 0-31,-13 0 16,13-1-16,-13 1 0,13-13 16,1 13-16,-14-14 0,13 14 0,13-53 15,-12 39-15,-14 1 0,13 13 16,-13-1-16,13-12 0,0 13 15,-13-1-15,0 1 0,14 13 16,-14 13 15,0 1-31,0-1 16,-14 0-16,14 0 0,0 1 0,0-1 16,0 0-16,0 0 0,0 0 15,0 1-15,14-1 0,-14 0 16</inkml:trace>
  <inkml:trace contextRef="#ctx0" brushRef="#br0" timeOffset="101612.33">11748 423 0,'0'-13'16,"-27"26"-1,14 1 1,0-1-16,13 0 0,-14 0 15,1-13-15,13 13 0,-13 1 16,26-14 15,0 0-15,1 0 0,-1 0-1,0-14 1,0 14-1,1-13-15,-1 0 16,0 0-16,-13 0 16,13 13-16,-13-14 0,13 1 15,-13 0-15,0 0 0,0-1 0,14 1 16,-14 0-16,0 0 0,0 0 16,13 13-16,-40 26 31,27-13-16,-13 14-15,13-14 0,-13 13 16,13-12-16,-13 12 0,13-13 16,0 0-16,0 1 0</inkml:trace>
  <inkml:trace contextRef="#ctx0" brushRef="#br0" timeOffset="101865.31">11880 370 0,'26'-52'0,"-52"104"0,65-118 16,-39 53-16,14 0 0,-14 0 0,13-1 15,-13 28 17,-13-1-32,-1 0 0,1 0 15,13 1-15,-13-1 0,0 0 16,13 0-16,0 0 0,0 1 0,-13-14 16,13 13-16,0 0 15,13 0-15,13-13 16,-13 0-16,1-13 15,-1 13-15,13 0 0,-12-13 16,-1 13-16,13 0 0,-12-13 0,-1 13 16,13 0-16,-13 0 0,1 0 15</inkml:trace>
  <inkml:trace contextRef="#ctx0" brushRef="#br0" timeOffset="101996.13">12224 370 0,'-13'0'0,"26"0"0,0 0 15,-39 14 63</inkml:trace>
  <inkml:trace contextRef="#ctx0" brushRef="#br0" timeOffset="104700.2">10597 1098 0,'39'-26'16,"-78"52"-16,91-66 0,-12 14 0,-13 13 0,26-14 16,-14 1-16,14 12 0,0-12 15,0 0-15,0-1 0,0 1 0,0-1 16,0 14-16,-14-13 0,1 12 16,0 1-16,-14 0 0,1 0 0,-1-1 15,-13 14-15,14-13 0,-14 13 16</inkml:trace>
  <inkml:trace contextRef="#ctx0" brushRef="#br0" timeOffset="104920.33">10491 1151 0,'0'13'0,"0"-26"0,26 26 16,-13-26-1,1 13-15,12-13 0,14-1 16,-1 1-16,1 0 0,-13 0 0,12-14 16,1 14-16,0 0 0,-1 0 15,1-1-15,0-12 0,-14 13 0,14 13 16,-27-14-16,14 14 0,-1-13 0,0 13 16,-12-13-16,12 0 0,14-14 15,-14 14-15,14-13 0</inkml:trace>
  <inkml:trace contextRef="#ctx0" brushRef="#br0" timeOffset="105336.43">12224 410 0,'26'-13'0,"-13"13"16,1-13-16,-1 13 15,0 0-15,14 0 0,-14-14 16,0 14-16,13 0 0,-12-13 0,-1 13 15,0 0-15,0-13 0,1 13 0,-1 0 16</inkml:trace>
  <inkml:trace contextRef="#ctx0" brushRef="#br0" timeOffset="105580.44">12409 251 0,'26'-13'16,"1"26"-1,-1 1-15,-12-14 0,-1 13 16,0 0-16,0-13 0,0 13 16,1 1-16,-14-1 0,13 0 15,-13 0-15,0 0 0,0 1 0,0-1 16,-13 0-16,13 0 15,-14 1-15,1-1 0,0 0 0,13 0 0</inkml:trace>
  <inkml:trace contextRef="#ctx0" brushRef="#br0" timeOffset="114078.33">11218 886 0</inkml:trace>
  <inkml:trace contextRef="#ctx0" brushRef="#br0" timeOffset="115392.53">20902 926 0,'27'0'31,"-14"0"-31,0-13 0,13 13 0,1 0 16,-1-13-16,14 13 0,-13 0 15,-1-14-15,0 14 0,14-13 0,-13 13 16,-1 0-16,0-13 0,1 13 0,-1 0 16,-12-13-16,12 13 0,-13 0 15,1 0-15,12-14 0,-13 14 16,0 0-16,-13-13 0</inkml:trace>
  <inkml:trace contextRef="#ctx0" brushRef="#br0" timeOffset="115661.12">21312 714 0,'27'0'31,"-14"14"-31,0-14 0,0 13 16,1-13-16,-1 13 0,0 0 0,0 1 15,0-14-15,1 13 0,-1 0 16,0 0-16,0 0 0,1 1 0,-14-1 16,13 0-16,-13 0 15,0 1-15,-13-1 0,13 0 16,-14 0-16,1 0 0,0-13 16,0 14-16,-1-14 15,1 13-15</inkml:trace>
  <inkml:trace contextRef="#ctx0" brushRef="#br0" timeOffset="116549.32">22490 675 0,'-14'0'0,"-25"-14"15,25 14 1,1 0-16,-13 0 0,13 14 15,-14-14-15,14 0 0,0 13 16,-1 0-16,1 0 16,13 1-16,13-1 15,-13 0-15,14 0 0,-1 1 16,0-1-16,0 0 0,1-13 0,-1 13 16,13 0-16,-13-13 0,1 14 15,-1-1-15,0-13 0,0 13 16,1 0-16,-14 1 15,-14-14 1,14 13-16,-13 0 0,-13-13 0,12 13 16,1-13-16,-13 13 0,-1-13 0,14 0 15,0 0-15,0 0 0,-1 14 16,1-14-16,0 0 0,0 0 0,-1 0 16</inkml:trace>
  <inkml:trace contextRef="#ctx0" brushRef="#br0" timeOffset="117023.2">22635 767 0,'-13'14'47,"13"-1"-47,0 0 16,0 0-16,0 0 15,0 1 1,13-14-16,-13 13 15,13-13-15,1-13 16,-1 13-16,0 0 16,0-14-1,0 14-15,1 14 16,-1-1-16,0 0 16,-13 0-16,13 1 0,-13-1 15,14 13-15,-14-13 0,13-13 16,-13 14-16,0 12 0,0-13 0,0 1 15,0-1-15,0 0 0,0 0 16,-13-13-16,13 14 0,0-1 0,-14 0 16,1-13-16,0 13 0,0-13 15,-1 0-15,1 0 0,0 0 16,0-13-16,0 13 0,-1-13 16</inkml:trace>
  <inkml:trace contextRef="#ctx0" brushRef="#br0" timeOffset="117413.58">22834 807 0,'0'0'15,"13"13"-15,-13 14 16,0-14-16,0 0 15,0 0-15,0 1 16,0-1-16,0 0 0,0 0 16,13 0-1,0-26 17,-13 0-32,13 13 0,-13-13 15,14 0-15,-1-1 0,0 1 16,0 13-16,1 0 15,-1 13 1,-13 1-16,13-1 16,-13 0-16,0 0 15,0 0-15,13 1 16,-13-1-16,14-13 31</inkml:trace>
  <inkml:trace contextRef="#ctx0" brushRef="#br0" timeOffset="117632.2">23204 569 0,'0'26'31,"0"1"-15,0-14-16,-13 13 0,13 1 0,0-1 15,0 1-15,-13-14 0,13 14 16,0-1-16,0 0 0,0-12 16,-14 12-16,14-13 0,0 1 0,0-1 15,0 0-15,0 0 0</inkml:trace>
  <inkml:trace contextRef="#ctx0" brushRef="#br0" timeOffset="117834.98">23032 860 0,'-13'0'15,"39"-27"17,-13 27-32,1 0 0,-1-13 15,13 13-15,-12-13 0,-1 13 0,13 0 16,-12-13-16,12 13 0,0-13 15,-12 13-15,12 0 0,-13 0 0,1-14 16</inkml:trace>
  <inkml:trace contextRef="#ctx0" brushRef="#br0" timeOffset="118333.54">23469 741 0,'-14'0'16,"1"13"-16,0 0 16,13 1-1,-13-1-15,-1 13 0,14-13 16,0 1-16,0-1 16,14 0-1,-1-13-15,0-13 16,0 13-16,1-13 15,-1-1-15,0 1 16,0 0-16,0 13 0,-13-13 0,14 0 16,-1-1-16,-13 1 15,13 13-15,-13 13 16,0 1 0,0-1-1,0 0-15,0 0 0,0 0 0,0 1 16,0-1-16,0 0 0,13 0 0,-13 1 15,0-1-15</inkml:trace>
  <inkml:trace contextRef="#ctx0" brushRef="#br0" timeOffset="118519.75">23892 714 0,'-13'27'16,"-1"-14"-16,14 0 16,-26 14-16,26-14 15,-13 13-15,-1-12 0,-25 25 16,26-25-16</inkml:trace>
  <inkml:trace contextRef="#ctx0" brushRef="#br0" timeOffset="118712.98">23601 767 0,'0'-13'15,"26"40"17,-12-27-32,-1 13 0,13-13 15,-13 13-15,1 0 0,12-13 16,1 13-16,-14 1 0,26-1 15,-25-13-15,-1 13 0,0 0 16,0-13-16</inkml:trace>
  <inkml:trace contextRef="#ctx0" brushRef="#br0" timeOffset="119002.32">22767 1244 0,'0'0'16,"53"-14"-16,-26 1 0,12 0 15,1 0-15,26-1 0,67-12 0,-67 13 16,0-14-16,0 14 0,13 0 15,-12 13-15,-15-13 16,1-1-16,0 14 0,-26-13 0,-1 13 0,1 0 16,-1-13-16,-13 13 0,1 0 15</inkml:trace>
  <inkml:trace contextRef="#ctx0" brushRef="#br0" timeOffset="119225.13">22847 1310 0,'53'-14'0,"-27"14"0,54-26 16,-28 26-16,54-26 15,-53 12-15,0 1 0,0 13 0,-13-13 16,13 0-16,26-1 15,-53 14-15,1-13 0,-1 13 0,-12 0 16,-1-13-16,0 13 0,0 0 16,1 0-16</inkml:trace>
  <inkml:trace contextRef="#ctx0" brushRef="#br0" timeOffset="125549.45">21511 1786 0,'0'26'0,"0"-12"0,-14-1 16,14 0-16,0 14 0,0-14 0,0 0 16,0 13-16,0-12 0,0-1 15,0 13-15,0-12 0,0-1 0,0 0 16,0 0-16,0 14 0,0-14 16,0 0-16,0 0 15,0 1-15</inkml:trace>
  <inkml:trace contextRef="#ctx0" brushRef="#br0" timeOffset="125832.23">21431 1918 0,'0'-39'0,"0"78"0,13-92 0,-13 40 16,0 0-16,14 0 0,-1-1 15,0 1-15,0 13 16,1-13-16,-1 13 0,13 13 16,-12 0-16,-1-13 15,-13 14-15,0-1 0,13 0 16,-13 0-16,0 1 0,0-1 16,0 0-16,0 0 0,0 0 0,0 1 15,-13-1-15,13 0 0,-13 0 16,13 1-16,-14-1 0,1-13 0,13 13 15,-13 0-15,0-13 0,13 14 0,-14-14 16</inkml:trace>
  <inkml:trace contextRef="#ctx0" brushRef="#br0" timeOffset="126305.51">21683 1865 0,'-14'27'31,"14"-14"-31,0 0 0,0 0 16,0 1-16,0-1 0,0 0 16,0 0-16,0 1 15,0-1-15,-13-13 0,13 13 0,0 0 16,0 1-16,-13-1 15,13 0 1,-27-13 62,14 0-47,0 0-31,0 13 16,13 0 0,13 1 15,0-14-15,0 0-16,1 0 15,-1 0-15,0-14 0,0 14 0</inkml:trace>
  <inkml:trace contextRef="#ctx0" brushRef="#br0" timeOffset="126446.51">21815 2051 0,'13'0'16,"-26"0"-16,26-14 16</inkml:trace>
  <inkml:trace contextRef="#ctx0" brushRef="#br0" timeOffset="126749.61">22040 1879 0,'-13'13'15,"-1"-13"-15,1 0 0,-27 39 32,40-25-32,0-1 15,0 0-15,0 0 0,14 1 16,-14-1-16,13 0 16,0 0-1,-13 1-15,0-1 16,0 0-1,-13-13 1,13 13-16,-13-13 16,-1 0-16,14 13 0,-13-13 15,0 14-15</inkml:trace>
  <inkml:trace contextRef="#ctx0" brushRef="#br0" timeOffset="127300.33">22119 2051 0,'0'0'0,"0"-14"0,0 1 16,0 0-16,0 0 31,13 39 32,1-26-48,-1 0 1,-13 13-16,13-13 15,-13 14-15,13-14 16,1 0 15,-1-14 1,0 14-17,-13-13-15,13 13 0,0 0 16,1-13 15,-1 26-15,0-13-1,0 0 17,-13-13-17,14 13 1</inkml:trace>
  <inkml:trace contextRef="#ctx0" brushRef="#br0" timeOffset="127457.06">22384 1892 0,'0'-13'0,"0"39"31,0-13-15,0 0-16,-13 1 15,13-1-15,0 0 16</inkml:trace>
  <inkml:trace contextRef="#ctx0" brushRef="#br0" timeOffset="127876.18">22556 1945 0,'0'-14'0,"13"14"16,0-13 109,-13 26-63,0 1-62,13-14 16,-13 13 0,0 0-1</inkml:trace>
  <inkml:trace contextRef="#ctx0" brushRef="#br0" timeOffset="128164.09">22159 2222 0,'26'-13'0,"-12"0"15,-1 13-15,13-13 0,14 0 16,0-1-16,-1 1 0,14 0 0,-13 13 16,0-13-16,-1-1 0,-12 14 15,-1-13-15,1 13 0,-1 0 0,-13-13 16,1 13-16,-1 0 16</inkml:trace>
  <inkml:trace contextRef="#ctx0" brushRef="#br0" timeOffset="128381.7">22159 2209 0,'-40'13'15,"252"-52"-15,-384 65 0,159-26 16,26 0-16,13-13 16,14 13-16,13-13 0,-13 13 15,13-13-15,-14-1 0,54 1 16,-40 0-16,-27 13 15,1 0-15,-14-13 0,0 13 0,0 0 16,1 0-16,-1 0 0,0-14 0,0 14 16,0 0-16,1-13 15</inkml:trace>
  <inkml:trace contextRef="#ctx0" brushRef="#br0" timeOffset="128744.13">23045 1918 0,'13'0'15,"-26"0"-15,40-13 0,-14 13 16,0 0-16,0 0 15,-13-13 1,14 13 0</inkml:trace>
  <inkml:trace contextRef="#ctx0" brushRef="#br0" timeOffset="129036.52">23085 1799 0,'13'-13'16,"0"13"0,14 0-16,-1 13 15,-12-13-15,-1 0 16,0 0-16,0 13 0,0-13 15,1 0-15,12 14 0,-26-1 16,13-13-16,1 13 0,-14 0 16,0 1-16,13-14 0,-26 13 15,13 0-15,0 0 0,0 0 16,-14 1-16,14-1 16,-13-13-16,13 13 0</inkml:trace>
  <inkml:trace contextRef="#ctx0" brushRef="#br0" timeOffset="129807.54">23601 1640 0,'-13'0'16,"-1"14"-1,1-14-15,13 13 16,0 0-16,0 0 0,0 1 16,0-1-16,13-13 15,-13 13-15,14 0 0,-1 0 16,-13 1-16,13-14 0,-13 13 15,13 0-15,-13 0 16,0 1-16,0-1 0,0 0 16,0 0-16,-13-13 0,13 14 0,-13-1 15,13 0 1,-13-13-16,39-13 31,-13 13-15,-13-13-16,27-1 0,-14 1 0,0 0 15,14 0-15,-14-1 0,-13 1 16,13 13-16,0-13 0,1 0 16,-14-1-1,13 14-15,0 14 32,0-1-17,0-13-15,1-13 31,-1 13-31,0-14 16,0 1-16,1 0 16,-14-13-16,0 12 15,0 1-15,-14 0 16,14 0-16,-13 13 16,0 13-16,0-13 15,-1 0-15,14 13 0,-13 0 16,26 1-1,1-14 1,-1 0 0,0 0-16,0 0 0,-13 13 15,14-13-15,-1 0 0,0 13 16,0-13-16,-13 13 16,14-13-1,-14 13-15,13-13 0,-13 14 0</inkml:trace>
  <inkml:trace contextRef="#ctx0" brushRef="#br0" timeOffset="191912.8">3413 8043 0,'66'0'0,"67"-26"31,-107 26-31,14 0 0,-14 0 0,1-13 15,-1 13-15,-13 0 16,14 0-16,-1-14 0,-13 14 0,1 0 0,-1 0 16,0 0-16,0 0 0,1 0 0,-1 0 15,0-13-15,0 13 16,1 0 0,-14-13-1</inkml:trace>
  <inkml:trace contextRef="#ctx0" brushRef="#br0" timeOffset="192323.61">3850 7858 0,'13'0'31,"0"0"-31,0 13 0,1-13 15,-1 0-15,0 0 0,14 14 0,-14-14 16,0 13-16,13-13 0,-12 0 16,-1 13-16,0-13 0,0 13 0,1-13 15,-1 14-15,0-1 0,-13 0 16,0 0-16,-13 0 0,13 1 16,-13-1-16,-1 13 0,-12-12 15,13 12-15,-1-13 0,-12 14 0,13-1 16,0-13-16,-1 1 0,1 12 15,0-13-15,0 1 0</inkml:trace>
  <inkml:trace contextRef="#ctx0" brushRef="#br0" timeOffset="192729.4">3704 8665 0,'0'0'16,"40"0"15,-27 0-31,14 0 0,-1 0 0,14-13 16,-1 13-16,1 0 0,0-13 0,-1 13 15,-12-14-15,-1 14 0,1 0 16,-1-13-16,1 13 0,-1-13 0,-13 13 15,14 0-15,-14-13 0,0 13 0,1-14 16,-1 14-16,-13-13 16</inkml:trace>
  <inkml:trace contextRef="#ctx0" brushRef="#br0" timeOffset="192969.99">4022 8414 0,'0'0'16,"0"-13"-16,13 13 0,0 0 0,-13-14 0,13 14 16,1 0-16,-1 0 0,13 0 15,-12 0-15,-1 0 0,0 14 0,0-14 16,14 13-16,-14-13 0,0 13 16,0 0-16,1 0 0,-14 1 15,13-1-15,-13 0 0,0 14 0,0-14 16,0 13-16,-13 1 0,-1-1 0,1 1 15,0-1-15,-14 1 0,14-1 16,-13 0-16,13 1 0,-1-14 0</inkml:trace>
  <inkml:trace contextRef="#ctx0" brushRef="#br0" timeOffset="193728.99">6456 9790 0,'40'-14'15,"-27"14"-15,79-39 32,-65 25-32,-14 1 0,0 13 0,1-13 15,12 13-15,-13-13 16,0 13-16,1-13 0,-1 13 0,0-14 15,0 14 1,-13-13 0</inkml:trace>
  <inkml:trace contextRef="#ctx0" brushRef="#br0" timeOffset="194022.44">6694 9578 0,'26'0'0,"-12"0"16,-1 0-16,0 0 0,0 13 0,1-13 16,-1 0-16,0 0 0,66 13 31,-65-13-31,-14 14 0,13-14 0,13 13 15,-26 0-15,0 0 0,14-13 16,-14 14-16,0-1 16,0 0-16,-14 0 0,14 0 15,-13-13-15,13 14 16,-13-14-16</inkml:trace>
  <inkml:trace contextRef="#ctx0" brushRef="#br0" timeOffset="194723.73">6588 7858 0,'27'-13'0,"-54"26"0,67-39 16,-14 26-16,-12-14 0,12 14 0,14-13 16,-1 13-16,1-13 0,0 13 15,-1 0-15,1 0 0,0 0 0,-14 0 16,14 0-16,-14 0 0,27 0 16,-13 13-16,-14-13 0,1 13 0,-1 1 15,1 12-15,-1-13 0,1 14 16,-14-1-16,0 14 0,14-14 0,-14 54 15,0-14-15,0-13 0,1 13 16,-1-13-16,0 13 0,13 40 16,-12-40-16,-1-13 0,13 0 15,-12 0-15,-1 0 0,0 0 16,14 0-16,-14-1 0,13 1 16,-13-13-16,1-13 0,-1 12 0,0 1 0,0-14 15,14 41-15,-14-41 0,-13 0 16,13 1-16,-13-14 0,0 14 15,14-14-15,-14 26 16,0-12-16,0-14 0,-14 14 0,14-14 16,0 13-16,-13-12 0,0 12 15,0-13-15,-1 14 0,1-14 0,-13 13 16,12-12-16,-12 12 0,0-13 0,-14 14 16,13-14-16,-52 27 15,39-27-15,1 13 0,-41 14 16,41-27-16,-1 0 0,13 14 0,1-27 15,0 13-15,12 0 0,-12 1 16,13-1-16,-1 0 0,1-13 0</inkml:trace>
  <inkml:trace contextRef="#ctx0" brushRef="#br0" timeOffset="199471.3">10663 2064 0,'0'13'47,"0"27"-47,0-14 15,0 14-15,0 185 0,13-133 16,-13 41-1,13-28-15,0 15 16,-13-28-16,0-26 16,0-26-16,0 0 15,14-1-15,-14-25 16</inkml:trace>
  <inkml:trace contextRef="#ctx0" brushRef="#br0" timeOffset="201403.41">10583 1945 0,'14'0'94,"25"0"-79,14 0-15,40 0 16,26 0-16,79 0 15,-26 0-15,119 0 16,-39 0-16,12-27 16,1 27-16,-54 0 15,-39 0-15,-39 0 16,-27-13-16,-40 13 16,-13 0-16,0 0 15,-14 0-15,27 0 16,-13 0-16,-13 0 15,26 0 1,-26 0-16,0 0 0,-27 0 16,13 0-16,1 0 15,-1 0-15,14 0 16,13 0-16,-27 0 16,67 0-1,-27 0-15,40 0 16,-27 0-16,-26 0 15,13 0-15,27 0 16,13-13-16,-53 13 16,26 0-16,-53 0 15,27 0-15,0 0 0,-26 0 16,-1 0 0,1 0-16,-1 0 15,-13 0 1,1 0-16,12 0 15,14 0 1,13 0-16,26-13 16,-39 13-16,-1-14 15,1 14-15,-27 0 16,0 0-16,1 0 16,-14-13-16,0 26 109,0 27-93,0 0-16,13-1 15,-13-12-15,0 13 16,0-1-16,0-12 15,0 12-15,0-12 16,0 52-16,0-39 16,0-14-16,0 27 15,0 0-15,0 27 16,0-28-16,0 41 16,0-40-16,0 0 0,0-27 15,0 14 1,0-13-16,0-14 15,0 26-15,0-25 16,0 12 0,0-13-16,-13 27 0,13-14 15,0 14-15,0-13 16,0-14 0,0 0-16,-14-13 15,14 13-15,-13-13 94,-13 0-78,13 0-1,-14 0 1,-39 0-16,-66 0 15,-1-13-15,-39 13 16,0-13-16,-26 13 16,-53-13-16,79 13 0,13 0 15,0 0 1,27-14-16,0 1 16,65 0-16,1 13 15,53 0 1,-13 0-16,12 0 0,-12 0 15,13 0 1,-1 0-16,1 0 16,0 0-16,0 13 15,-14-13-15,1 0 16,-1 0 0,1 0-16,13 0 15,-1 0 16,1 0-15,0 0-16,0 0 16,-14 0-16,14 0 15,-13 0-15,12 0 16,1 0-16,0 0 16</inkml:trace>
  <inkml:trace contextRef="#ctx0" brushRef="#br0" timeOffset="-211361.6">14724 3823 0,'40'-26'141,"52"13"-126,27 13-15,80-14 16,-40 14-1,39-13-15,40 0 16,93 13-16,66 0 16,13 0-16,-13 0 0,-119 0 15,-14 0-15,-105 0 16,-40 13 0,-26-13-16,-41 0 15,-38 0-15,-1 0 16</inkml:trace>
  <inkml:trace contextRef="#ctx0" brushRef="#br0" timeOffset="-206970.53">1680 4670 0,'13'0'78,"27"13"-62,13 0-16,-13-13 16,26 0-16,66 27 15,-26-27-15,26 0 16,-26 0-16,-27 0 15,27 0-15,-40 0 16,-52 0-16,-1-13 16</inkml:trace>
  <inkml:trace contextRef="#ctx0" brushRef="#br0" timeOffset="-200865.43">11972 3797 0,'0'53'15,"0"26"1,14 27-1,-14-40-15,0 0 16,0 0-16,0 0 16,0 27-16,-14-27 0,1-13 15,13-26 1,-13-14-16,13 27 16,0-27-16,0 0 15,0 0-15,0 0 16,-13 1-16</inkml:trace>
  <inkml:trace contextRef="#ctx0" brushRef="#br0" timeOffset="-200185.49">12951 3876 0,'93'0'0,"119"0"31,-173 0-31,-12 0 16,-14 0-1,0 0-15,0 0 63</inkml:trace>
  <inkml:trace contextRef="#ctx0" brushRef="#br0" timeOffset="-198248.74">18322 3744 0,'186'13'0,"-147"0"0,14-13 16,0 14-16,13-14 0,0 13 15,14 0-15,-1 0 0,1 14 16,-1-14-16,27 27 0,0-14 0,-1 1 15,-12-1-15,-14 0 0,27 14 0,-40-13 16,14-1-16,65 27 0,-79-27 16,1-12-16,-1 12 0,0 1 15,-13-1-15,0 0 0,-14-12 0,1 12 16,0 1-16,-14-14 0,1 0 16,-1 0-16,-13 1 0,1-1 0,-1 0 0,0 0 15,0-13-15,-13 13 0,14 1 16,-1-1-1,-13 0 1</inkml:trace>
  <inkml:trace contextRef="#ctx0" brushRef="#br0" timeOffset="-197839.78">20505 4220 0,'0'-13'0,"13"39"32,1-12-17,-1-14-15,-13 13 0,26 13 32,-12-13-32,-1 1 0,0-1 0,-13 0 15,13 0-15,-13 1 0,14-1 0,-14 0 0,13 14 16,-13-14-16,0 0 15,0 0-15,0 0 0,0 1 16,0-1-16,0 0 0,-13 0 0,-1 1 16,1-1-16,0 0 15,0-13-15,-14 13 0,-13 1 16,27-14-16,0 0 0,0 0 0</inkml:trace>
  <inkml:trace contextRef="#ctx0" brushRef="#br0" timeOffset="-196620.78">20981 3664 0,'93'14'16,"-53"-14"-16,13 0 16,13 0-16,-13 0 0,26 0 15,0 0-15,1 0 0,12 0 16,67 0-16,-79 0 0,-14 0 16,0 0-16,13 0 0,-26 0 15,13 0-15,-13-14 0,13 14 0,-13 0 16,-13 0-16,13 0 0,-27-13 0,1 13 15,-1 0-15,-13 0 0,1 0 16,-1 0-16,0-13 16,-53 13-1,14 0-15,-14 0 0</inkml:trace>
  <inkml:trace contextRef="#ctx0" brushRef="#br0" timeOffset="-196102.72">21947 3757 0,'-26'0'31,"-1"0"-31,14 0 16,0 0-16,-14 13 0,-12 1 15,25-1-15,-12-13 0,0 13 0,-41 27 16,41-27-16,-14 0 15,14 14-15,-1-14 0,-12 13 0,-14 14 16,26-14-16,1-12 16,-40 39-16,39-40 0,-26 27 15,27-14-15,-1-13 16,1 14-16,-27-1 0,40 1 16,0-14-16,-27 13 0,27-13 15,-1 1-15,1-1 0,0-13 0,0 13 16,13 0-16,-14-13 0,1 14 15,13-1-15,-13-13 0,13 13 16,-13 0 15</inkml:trace>
  <inkml:trace contextRef="#ctx0" brushRef="#br0" timeOffset="-195752.43">20915 4194 0,'0'0'0,"-26"26"16,26-13-16,-13 1 15,13-1-15,-14 0 0,14 0 16,-13 0-16,13 14 0,-13-14 16,13 0-16,0 1 0,0-1 0,0 0 15,-13 0-15,13 1 0,0-1 16,0 0-16,13 0 0,-13 0 16,13 1-16,0-1 15,1-13-15,-1 0 0,0 13 16,0-13-16,1 0 0,-1 0 0,13 0 15,-13 13-15,14-13 0,-1 0 0,-12 0 16,-1 0-16,13 0 0,-12 0 16,12 0-16,-13 0 0,0 0 0,1 0 15</inkml:trace>
  <inkml:trace contextRef="#ctx0" brushRef="#br0" timeOffset="-194656.28">20122 4617 0,'39'0'15,"-12"0"1,79-13-16,-54 13 0,28 0 0,-14-13 15,13 13-15,1-14 16,-1 1-16,14 13 0,-14-13 0,0 13 16,80-27-16,-79 27 0,-28-13 15,1 13-15,0 0 0,-13 0 16,0-13-16,13 13 0,-40 0 16,0 0-16,14 0 0,-14 0 0,0 0 15,0 0-15,0 13 16,1-13-16,-14 13 0,0 1 15,13 12-15,-13-13 0,0 14 16,0-14-16,13 13 0,-13 1 16,0-1-16,0 14 0,13-14 15,-13 41-15,0-41 0,14 1 16,-14-1-16,13 0 0,-13 1 0,13-14 16,-13 14-16,13-14 0,1 40 15,-14-27 1,0-13-16,0 1 0,-14-1 15,-12 13 1,-14-12-16,27-1 0,-53 0 16,26-13-16,-13 0 15,-132 13-15,39 1 16,80-14-16,-92 13 16,-94 0-16,160 0 15,-67-13-15,27 13 16,52 1-16,27-14 15,0 0-15,-26 0 0,39 0 16,14 0-16,-14 0 16,14 0-16,-14 0 0,27-14 15,0 14-15,-14-13 0,14-13 16,0 13-16,13-1 16,-14-12-16,14-27 0,0 26 15,-13-12-15,13-1 0,0-39 16,0 39-16,0 0 0,0-26 15,0 40-15,0 12 16,0-12-16,0-14 0,0 27 16,0 0-16,0-14 0,0 14 15,13 0-15,-13 0 16,14 0-16,-1 13 0,0-14 16,27 14-16,-27-13 15,40 13-15,-27 0 16,-12 13-16,52-13 15,-27 0-15,-12 0 0,-1 14 0,1-14 16,-1 13-16</inkml:trace>
  <inkml:trace contextRef="#ctx0" brushRef="#br0" timeOffset="-193962.53">19989 4855 0,'-13'-13'0,"13"39"31,0-12-31,0-1 0,0 0 15,13-13-15,-13 13 0,0 0 16,0 1-16,0-1 0,13 0 16,-13 0-16,0 1 0,14-14 15,-14 13-15,13-13 0,-13 13 16,13-13-16,0-13 16,1 0-1,-14-1-15,0 1 16,13 0-16,-13 0 0,0-1 15,0 1-15,0 0 0,13-13 16,-13-1-16,0 14 16,0 0 15,27 26-15</inkml:trace>
  <inkml:trace contextRef="#ctx0" brushRef="#br0" timeOffset="-193271.79">20188 4934 0,'13'-13'0,"-13"0"16,0 0 15,0 0-16,-13 39 1,-1-13 0,14 0-16,0 1 15,0-1 1,14-13 0,12 0-1,-13 0-15,1 0 16,-1-13-16,0 13 15,0 0-15,1 13 16,-1-13-16,-13 13 0,13-13 16,-13 13-16,13 1 15,-13-1 1,13-13 0,1-13-1,-1 13-15,-13-14 16,13 14-16,-13-13 0,13 13 15,1-13-15,-1 0 0,0-1 16,0 1-16,1 13 16,-14-13-16,13 13 15,0 0 1,0 0 0,0 13-1,1 0 1,-14 1-1,13-14-15,-13 13 0,0 0 16,0 0 0,0 1-16,0-1 15,-13 0 1,26-39 31,-13 12-32,13 14-15,0-13 0,1 13 16,-1 0-16,-13-13 0,13 13 16</inkml:trace>
  <inkml:trace contextRef="#ctx0" brushRef="#br0" timeOffset="-192087.4">20889 4855 0,'-13'-13'0,"-1"13"16,14 13 0,-13-13-16,0 13 15,13 1-15,-13-1 16,13 0 0,13 0-1,0 0-15,0-13 16,-13 14-16,14-14 15,-1 13-15,0 0 16,-13 0-16,0 1 16,0-1-16,0 0 15,-13 0-15,0 1 0,13-1 16,-14-13 0,14 13-16,14-39 31,-1 26-31,0-14 15,0 1-15,1 0 0,-1 13 16,0-27-16,0 27 16,0-13-16,1 13 15,-14-13-15,13 13 0,0-13 16,-26 39 31,13-13-47,13-13 15,0 0 1,14 0 0,-14-13-16,0 13 15,-13-13-15,14 13 0,-1 0 16,-13-13-16,13 13 0,-13-14 16,-13 1-1,13 0 1,-13 13-1,39 0 32,-13 0-31,0 0-16,1 0 0,-1 0 16,0 0-1,0 0 1,-13 13-1,0 0 1,0 1 0,14-1-1,-1-13 1,0-13 0,0 13-16,0-14 15,1 14-15,-1-13 16,0 0-16,0 0 15,-13 0 1,14-1 0,-28 41 31,1-14-47,13 0 15,0 0 1,13 1-16,1-1 15,-1-13 1,0-13 0,0 13-16,1-14 15,-1 1-15,0 0 0,-13 0 16,26-14-16,-26 1 0,14 13 16,-1-1-16,-13 1 0,13 0 15,-13 0-15,13 13 0,-13 26 31,0-13-15,0 1-16,0-1 16,0 0-16,0 0 0,0 14 0,14-14 15,-14 0-15,0 0 0,13 1 16,0-1-16,0 0 16,1-13-16,-1 0 0</inkml:trace>
  <inkml:trace contextRef="#ctx0" brushRef="#br0" timeOffset="-191404.04">21722 4855 0,'40'-13'15,"-27"13"1,0 0-16,14-13 0,-1 13 0,1 0 16,13-14-16,-14 14 0,14 0 15,-14 0-15,14-13 0,-1 13 0,1 0 16,-13 0-16,-1-13 0,1 13 0,-1 0 16,-13 0-16,0 0 15,27 0-15,-27-13 0,1 13 16,-1 0-16,0-14 15,-26 1 1</inkml:trace>
  <inkml:trace contextRef="#ctx0" brushRef="#br0" timeOffset="-191130.52">22199 4657 0,'52'26'16,"-25"-26"-1,-14 13-15,14-13 0,-1 14 16,-13-14-16,14 13 0,-1 0 16,-13 0-16,14-13 0,-14 13 0,0 1 15,1-1-15,-1-13 0,-13 13 16,0 0-16,0 1 0,0-1 0,0 0 15,-13 0-15,-14 1 0,1-1 0,-1 13 16,1-13-16,-14 14 0,14-14 16,-14 0-16,13 1 0,-25-1 15</inkml:trace>
  <inkml:trace contextRef="#ctx0" brushRef="#br0" timeOffset="-190012.02">22886 4683 0,'-13'27'16,"0"-14"-1,13 0-15,0 0 0,-13 14 0,13-14 16,0 13-16,0-12 0,-13-1 15,13 0-15,0 0 0,0 14 16,0-14-16,0 0 0,0 0 0,0 1 16,0-1-16,0 0 15,0-39 17,0 12-17,0-12-15,13 13 0,-13-14 0,13 1 16,-13-14-16,13 14 0,-13-1 0,13 1 15,-13-1-15,14 14 0,-1-13 16,-13 12-16,13 1 0,-13 0 0,13 0 16,1 0-16,-1-1 0,13 28 15,-12-1 1,-1-13-16,-13 13 0,13 0 16,0 14-16,-13-14 0,13 13 0,-13-12 15,14 12-15,-14-13 0,13 0 16,-13 14-16,13-1 0,-13 1 15,13-27-15,-13 26 16,0-12-16,0-1 0,0 0 0</inkml:trace>
  <inkml:trace contextRef="#ctx0" brushRef="#br0" timeOffset="-189156.31">22754 4855 0,'0'0'0,"13"-13"16,1 13-16,-1-13 15,0 13-15,0 0 16,14 0-16,-14-14 0,13 14 0,-12-13 16,12 13-16,1 0 0,-1-13 15,14 13-15,-14-13 0,27-1 16,-13 14-16,-14-13 0,1 13 0,-1-13 15,1 13-15,-14-13 0,0 13 16,14 0-16,-14-13 0,0 13 16,0-14-16,0 14 15,-39 0 17,13 14-17,0-1-15,13 0 16,-14 0-16,14 0 15,0 1-15,0-1 0,14 0 16,-14 0-16,13-13 16,0 0-16,-13 14 0,13-14 15,0 0-15,1 0 0,-1 0 0,0-14 16,0 14-16,14-13 16,-14 0-16,0 0 0,1-1 15,-1-12-15,0 13 0,0-27 0,0 0 16,-13 14-16,14-14 15,-1 14-15,-13 13 0,0-1 0,13-12 16,-13 13 0,0-1-16,0 1 0,13 40 31,-26-14-31,26 0 16,-13 0-16,0 14 0,0-1 15,0-12-15,0 12 0,0 0 0,0-12 16,0 25-16,14-12 15,-14-1-15,-14-13 0,14 14 16,0-14-16,-13 0 16,0 1-16,0-14 0,-1 0 15,1 13-15,0-13 16,0 0-16,0 0 16,13-13-16,-14 13 15,28-14 1,-14 1-16,13 13 0,0-13 15,0 13-15,0-13 0,14-1 16,-14 14-16,0-13 0,27 0 16,-27 13-16,1 0 0,-1 0 15,0-13-15,0 26 0,0-13 16,1 0-16,-14 13 16,13-13-16,-13 13 15,0 1-15,0-1 0,0 0 16,0 0-16,0 1 15,13-14 1,-13 13-16</inkml:trace>
  <inkml:trace contextRef="#ctx0" brushRef="#br0" timeOffset="-189006.52">23720 4604 0,'0'0'0,"-13"-13"16</inkml:trace>
  <inkml:trace contextRef="#ctx0" brushRef="#br0" timeOffset="-188571.68">23984 4657 0,'-26'13'0,"13"-13"16,13 13-16,-13-13 0,-1 13 15,1 1-15,13-1 0,-13 0 16,13 0-16,0 0 16,0 1-1,13-14-15,0 0 16,-13-14-1,14 14-15,-14-13 0,0 0 16,0 0-16,0 0 16,0-1-16,0 1 0,0 0 0,-14 13 15,14-13-15,0-1 16,-13 28 15,13-1-31,0 0 16,13-13-16,-13 13 0,14-13 15,-14 14-15,13-1 0,0-13 0,-13 13 16,13-13-16,0 13 0,1-13 16,-1 13-16,0-13 0,0 0 15,-13 14-15,14-14 16,-1-14 0,-26 1-1</inkml:trace>
  <inkml:trace contextRef="#ctx0" brushRef="#br0" timeOffset="-182195.81">2500 7673 0,'0'-13'0,"0"-1"0,-26-12 16,26 13 0,-13 13-16,-1-13 0,1-1 15,-13 1-15,12 13 0,-25-26 16,12 12-16,-12 14 0,-1-13 0,0 0 0,1 0 16,-14 13-16,13-14 15,0 1-15,1 13 0,-54-13 16,40 13-16,0 0 0,13 0 0,-26 0 15,13 0-15,1 13 0,-1-13 0,0 13 16,0-13-16,0 14 0,13-1 16,-13-13-16,0 13 0,14 0 0,-1 1 15,0-14-15,1 13 0,-1 0 0,0 0 16,0 14-16,-65 12 16,78-12-16,1-14 15,-1 0-15,1 14 0,-1-1 0,1-12 16,13 12-16,-14 0 0,14 1 0,0-1 15,0-12-15,-1 12 0,14 1 16,-13-1-16,13 0 0,0 1 0,0-1 16,0 1-16,13 39 0,1-26 15,-14-1-15,13 1 0,0-14 16,0 14-16,14-13 0,-14-1 0,13 1 16,1-1-16,-1 0 0,14-12 0,0-1 15,-14 13-15,14-26 0,13 14 0,0-1 16,0 0-16,13-13 15,0 0-15,0 13 0,0-13 0,0 0 16,-13 0-16,13 0 0,1 0 0,-15 0 16,15 0-16,12 0 0,-13 0 0,0 0 15,-13-13-15,13 13 0,-13-13 16,13 0-16,-13-1 0,0-12 0,0 13 16,0-14-16,-13 1 0,-1-14 15,41-26-15,-14 13 16,-13-13-16,-27 39 0,1-12 15,-14-1-15,13 0 0,-12 14 0,-1-14 16,-13 1-16,0-1 0,0 13 16,0-12-16,-13-1 0,-1 0 0,-12 1 15,-14-1-15,1 13 0,-1-12 16,-13 26-16,13-14 0,1 27 0,-14-13 16,0 13-16,-13 0 0,13 13 15,0 0-15,-13 1 16</inkml:trace>
  <inkml:trace contextRef="#ctx0" brushRef="#br0" timeOffset="-181343.81">1111 8493 0,'-39'-79'0,"-147"13"31,147 79-15,-1-13-16,0 13 0,-13 14 15,0-1-15,1 0 0,-1 14 0,13 0 16,-13-1-16,13 14 0,1-13 16,-1 26-16,0-13 0,14 13 0,-1-13 15,14 13-15,-13 40 16,39-13-16,0-40 0,14-14 15,-1 14-15,1-13 0,12 0 16,1-1-16,0-12 0,79 13 16,-53-14-16,0-13 0,13-13 0,80 13 15,145-52 1,-198 26-16,0-1 0,119-39 16,-106 40-16,-13-27 15,53 1-15,-80 12 0,-13 1 16,0-1-16,0 1 0,-13-14 15,0 14-15,0-14 0,0 14 0,-13-14 16,-1 0-16,28-26 0,-41 40 16,14-40-16,-14 26 15,14-66-15,-27 66 16,-13 1-16,13-1 0,-13 0 0,0 1 16,-13-1-16,0 0 0,0 1 15,-14-14-15,1 13 0,-14 0 16,0 14-16,-13-1 0,-52-26 0,25 27 15,14 13-15,-13 13 16,-1-14-16,1 14 0,13 0 0,-27 14 16,14-1-16,-1 0 0,-12 14 0,-345 145 31,371-133-31,-53 41 16,66-41-16,0 1 0</inkml:trace>
  <inkml:trace contextRef="#ctx0" brushRef="#br0" timeOffset="-180571.6">582 9300 0,'-93'-13'15,"80"13"-15,0 13 0,0-13 16,-14 13-16,1-13 0,-1 27 16,14-1-16,-13 1 0,-1-1 0,14 14 15,-27 39-15,14-39 0,13 0 16,-14 65-16,14-65 15,13 0-15,0 52 0,0-52 16,13 39-16,0-39 16,1 0-16,-1 0 0,0-14 0,27 40 15,-14-53-15,1 14 0,-1-1 16,14-12-16,39 12 0,-39-26 16,92 26-16,120-26 31,-200-13-31,15 13 15,-14 0-15,13 0 0,-13 0 0,13 0 16,-13 0-16,66 0 16,-66 13-16,13-26 0,53 13 15,-40 0-15,-13 0 0,14-13 0,-1 13 16,-13-13-16,14 0 0,-14-1 16,13 1-16,-13 0 0,0 0 0,1-14 15,-14 14-15,-1 0 0,1-1 16</inkml:trace>
  <inkml:trace contextRef="#ctx0" brushRef="#br0" timeOffset="-172788.31">16841 8427 0,'53'0'109,"13"0"-93,26 0-1,80 0-15,-66 0 16,66-26-16,53 12 16,40 1-16,171-13 0,-277 26 15,-66 0-15,-67-14 16</inkml:trace>
  <inkml:trace contextRef="#ctx0" brushRef="#br0" timeOffset="-171795.99">20333 8427 0,'13'0'78,"27"0"-62,40 0-16,25 0 15,14 0-15,80-26 16,52 12-16,212-12 16,-53 13-16,-13-14 15,0 27-15,-40 0 16,-26 0-16,-185-13 16,-67 13-16,-39-13 15</inkml:trace>
  <inkml:trace contextRef="#ctx0" brushRef="#br0" timeOffset="-168880.96">9247 9181 0,'13'0'78,"40"0"-78,0 0 16,27 0-16,65 0 15,27 13-15,-53-13 16,53 0-16,13 0 15,1 0-15,12 0 16,-79 0-16,-40 0 16,-52 0-16,-14 0 15</inkml:trace>
  <inkml:trace contextRef="#ctx0" brushRef="#br0" timeOffset="-167841.38">12700 9247 0,'13'0'110,"27"0"-110,13 0 15,185 0-15,27 0 16,52 0-16,146 0 15,225 0-15,-119 0 16,13 13-16,66-13 16,-39 0-16,171 0 15,-132 0-15,-105 0 16,-80 0-16,-66 0 16,-119-26-16,-159 13 15,-14 13-15,-91 0 16</inkml:trace>
  <inkml:trace contextRef="#ctx0" brushRef="#br0" timeOffset="-165846.44">20267 8943 0,'53'0'0,"66"0"15,-66-13 1,0 13-16,0 0 0,13 0 0,-13 0 16,0 0-16,13 0 0,-13 0 15,13 13-15,-13-13 0,0 0 0,-13 0 16,-1 0-16,1 0 0,-14 0 0,1 0 15,-14 13-15,13-13 0,-12 0 16,-1 0-16,0 0 0,0 0 16,1 0-1,-41-13 17,27 0-32</inkml:trace>
  <inkml:trace contextRef="#ctx0" brushRef="#br0" timeOffset="-165593.12">21087 8771 0,'27'0'0,"-14"0"16,159 79 15,-146-65-31,1-1 0,-1 0 0,1 0 15,-14 0-15,0 1 0,0-1 0,1 13 16,-14-12-16,0-1 0,0 0 16,0 0-16,-14 1 0,1 12 0,0-13 15,0 0-15,0 14 0,-1-27 0,1 13 16,0 0-16,13 1 0,-13-1 16,-1-13-16</inkml:trace>
  <inkml:trace contextRef="#ctx0" brushRef="#br0" timeOffset="-165183.84">22199 8930 0,'-27'13'31,"27"0"-31,-13-13 0,0 13 16,13 1-16,-14-14 0,1 13 0,0-13 15,13 13-15,-13 0 0,-1 1 16,14-1-1,14 0-15,-1-13 16,0 13-16,14-13 0,-14 0 16,13 0-16,1 0 0,12 0 0,-12 0 15,13 0-15,-14 0 0,1 0 16,-1 0-16,0-13 0,1 13 0,-14 0 16,0 0-16,1 0 0,-1-13 15,-13 0 1,0-1-16</inkml:trace>
  <inkml:trace contextRef="#ctx0" brushRef="#br0" timeOffset="-164996.14">22371 8903 0,'-14'0'0,"1"0"0,0 0 16,13 13-16,-13-13 16,13 14-16,-14-1 0,14 0 15,-13 0-15,13 14 0,0-14 0,-13 0 16,13 1-16,0 12 0,0-13 15,-13 0-15,13 1 0,0-1 0,0 0 16,-14 0-16,14 1 16,0-1-16,14-13 15</inkml:trace>
  <inkml:trace contextRef="#ctx0" brushRef="#br0" timeOffset="-164480.57">22251 8639 0,'-39'-27'0,"78"54"0,-105-54 0,40 14 16,-1 13-16,1 0 0,-14 13 15,-13-13-15,14 13 0,-1 1 0,0 12 16,14-13-16,-14 27 0,0 0 0,27-14 16,-13 14-16,13 0 0,-1-1 15,1 1-15,13 0 0,-13-1 16,13 1-16,13 0 0,-13-1 0,27 1 15,-14 0-15,26-1 0,-12-12 0,13 13 16,-1-14-16,-12-13 0,12 0 0,1 1 16,0-1-16,-1-13 0,-12 13 15,13-26-15,-1 13 0,14-13 0,-13-1 16,0 14-16,13-26 0,-14 13 16,1 0-16,0-1 0,-14 1 15,0 0-15,14-14 0,-13 14 0,-14 0 16,0 0-16,0 0 0,1-14 0,-1 1 15,0-1-15,0 1 0,-13-14 16,0 14-16,0-1 0,13 1 0,-26-1 16,13 1-16,0-1 0,-13 1 0,13-1 15,-13 1-15,0-1 0,-14 14 0,1-13 16,-1 12-16,1-12 0,-1 13 16,-12 0-16,12 13 0,1-14 0,-1 1 15,1 13-15,-14 0 0,14 0 0,-1-13 16,1 13-16,-1 0 0,1 0 15,-1 0-15,1 0 0,13 0 16,-14 0-16,1 0 0,-1 0 0,14 0 16,-13 0-16,12 13 0,1-13 15,0 13-15,-14-13 0,27 14 16,-13-1-16,0-13 0,0 13 0</inkml:trace>
  <inkml:trace contextRef="#ctx0" brushRef="#br0" timeOffset="-162792.65">23429 9075 0,'-13'66'32,"13"-52"-32,-14-1 0,14 13 15,-13 1-15,13-1 0,-13-13 0,13 14 16,-13-1-16,13-12 0,-14 12 0,14-13 15,-13 14-15</inkml:trace>
  <inkml:trace contextRef="#ctx0" brushRef="#br0" timeOffset="-162484.77">23521 9234 0,'-13'53'16,"13"-40"0,13 0-16,-13 1 0,0-1 0,14 0 15,-1-13-15,0 13 0,0-13 16,1 0-16,-1 0 0,0 0 16,0 0-16,1-13 0,-1 0 15,0 0-15,-13-1 0,0 1 16,0 0-16,0 0 15,-13-1-15,0 1 0,13 0 16,-14 13-16,14-13 0,-13 13 0,0 0 16,-14 0-1,14 0-15,0 13 0,0 0 0,13 0 16,-14-13-16,14 14 0</inkml:trace>
  <inkml:trace contextRef="#ctx0" brushRef="#br0" timeOffset="-161992.51">23283 9366 0,'-13'-13'15,"13"0"-15,-13 13 0,-27-27 31,27 27-31,0 0 0,0 0 16,-1 0-16,1-13 0,0 13 16,0 0-16,-1 0 0,1 0 0,0-13 15,0 13 1</inkml:trace>
  <inkml:trace contextRef="#ctx0" brushRef="#br0" timeOffset="-161731.71">23032 9181 0,'-53'40'16,"106"-80"-16,-119 80 0,53-27 0,-1 0 0,-12 14 15,13-14-15,-1 0 0,1 14 16,13-14-16,-13 0 0,13 0 0,-13 0 15,13 1-15,0-1 0,13 0 0,-13 0 16,13 14-16,0-14 16,1 0-16,12 1 0,-13-14 15,1 0-15,-1 13 0,13-13 0,-12 0 16,12 0-16,-13 0 0</inkml:trace>
  <inkml:trace contextRef="#ctx0" brushRef="#br0" timeOffset="-161160.52">23178 8877 0,'-53'13'0,"106"-26"0,-133 39 0,40 1 16,14-14-16,-14 27 0,1-1 0,12-12 15,1 12-15,-14 14 16,27-13-16,-14 0 0,1 66 0,26-54 15,0-12-15,0 13 0,13-13 16,0 13-16,14 0 0,12-14 16,-12 14-16,26-13 0,-13-14 0,65 40 15,-52-52-15,0 12 0,0-26 16,-13 13-16,13-13 0,0 0 16,0 0-16,13-13 0,-13 0 0,13 0 15,-13-14-15,0 1 0,-1 13 0,-12-27 16,0 13-16,0-12 0,-14 12 15,40-65-15,-53 52 0,14 0 16,-14 1-16,-13-1 0,0-13 16,-13 13-16,0-13 0,-14 14 0,-13-14 15,1 13-15,-67-26 16,-26 13-16,-14 13 16,80 14-16,0 13 0,0 13 15,0-14-15,13 14 0,-40 0 16,67 0-16,-14 0 0,13 0 15,1 14-15,13-14 0,-14 13 0,14-13 16</inkml:trace>
  <inkml:trace contextRef="#ctx0" brushRef="#br0" timeOffset="-159292.43">9327 10200 0,'582'0'0,"-503"0"0</inkml:trace>
</inkml:ink>
</file>

<file path=ppt/ink/ink14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1:59:02.293"/>
    </inkml:context>
    <inkml:brush xml:id="br0">
      <inkml:brushProperty name="width" value="0.05292" units="cm"/>
      <inkml:brushProperty name="height" value="0.05292" units="cm"/>
      <inkml:brushProperty name="color" value="#0070C0"/>
    </inkml:brush>
  </inkml:definitions>
  <inkml:trace contextRef="#ctx0" brushRef="#br0">4710 2871 0,'105'-27'0,"-65"27"0,211-26 15,-158 13 1,0-1-16,26 1 0,13 0 0,0 0 16,-13-1-16,14 1 0,-14 0 0,-27 13 0,1 0 15,0-13-15,-1 0 16,-12 13-16,-1-14 0,-13 14 0,-13 0 16,13-13-16,-26 13 0,-1 0 15,-12 0-15,-1 0 0,-12 0 0</inkml:trace>
  <inkml:trace contextRef="#ctx0" brushRef="#br0" timeOffset="263.66">5001 3056 0,'39'0'0,"41"0"0,65-13 15,-65-1-15,25 1 16,14 0-16,14 0 0,-1 0 0,0-1 16,450-39-1,-489 40-15,-14 0 16,1 13-16,-1-13 0,-13 13 0,-13-13 16,0 13-16,-26 0 0,-1 0 0,1-14 15,-1 14-15,-13 0 0,0 0 16</inkml:trace>
  <inkml:trace contextRef="#ctx0" brushRef="#br0" timeOffset="1999.53">13838 886 0,'66'-13'0,"-26"13"0,-14 0 0,14-13 16,13 13-16,0 0 0,13-13 15,0 13-15,40-14 0,-40 14 16,-13-13-16,0 13 0,0 0 0,-14-13 16,1 13-16,0 0 0,-14-13 15,1 13-15,-14 0 0,13 0 0,-13-13 16</inkml:trace>
  <inkml:trace contextRef="#ctx0" brushRef="#br0" timeOffset="2241.67">14486 675 0,'66'13'31,"-39"-13"-31,-1 13 15,0 0-15,14 1 0,-13-1 0,-14 0 16,13 0-16,-12 14 0,-1-14 16,0 0-16,0 14 0,-13-14 0,0 0 15,0 14-15,0-14 0,0 13 0,0-13 16,-13 1-16,13-1 0,-13 13 16,13-12-16,0-1 0,0 0 15</inkml:trace>
  <inkml:trace contextRef="#ctx0" brushRef="#br0" timeOffset="2497.92">15280 635 0,'0'-13'16,"-14"39"-1,14 1 1,-13-14-16,13 13 0,0-12 16,-13 12-16,13 1 0,0-1 15,0 0-15,-13-12 0,13 12 0,0 1 16,0-14-16,0 13 0,-13-13 16,13 1-16,0-1 0,0 0 15,0 0-15</inkml:trace>
  <inkml:trace contextRef="#ctx0" brushRef="#br0" timeOffset="3011.73">15174 741 0,'13'-13'0,"-13"-1"16,13 1-16,1 13 0,-1-13 15,0 0-15,0 13 0,0 0 16,1 0-16,-1 13 16,0-13-16,-13 13 0,0 0 15,0 1-15,0-1 0,0 0 16,-13-13-16,13 13 0,0 1 16,0-1-16,13-13 15,-13 13-15,13-13 0,-13 13 16,14-13-16,-1 13 0,0-13 15,-13 14-15,13-14 0,1 13 0,-14 0 16,0 0 0,0 1-16,-14-1 15,14 0-15,-26 0 0,13 0 0,-1-13 16,-12 0-16,13 14 0,-1-14 16,1 13-16,0-13 0,0 13 15</inkml:trace>
  <inkml:trace contextRef="#ctx0" brushRef="#br0" timeOffset="4199.35">15465 847 0,'-13'13'16,"13"0"-16,-14 0 15,14 1-15,0-1 16,0 0-16,-13 0 0,13 0 0,13-13 15,-13 14-15,14-14 16,-14 13-16,13-13 0,0 0 16,0 0-16,1-13 0,-1 13 0,0 0 15,0-14-15,1 14 0,-1 0 16,0-13-16,-13 0 0,13 0 16,-13 0-16,0-1 0,0 1 0,0 0 15,-13 0-15,13-1 0,-13 14 0,13-13 16,-13 13-16,-1 0 15,1 0-15,-13 0 0,12 0 16,1 13-16,0-13 0,13 14 16,-13-14-16,-1 13 0,14 0 15,-13-13-15,13 13 16,13 1-16,1-14 16,12 0-1,-13 0-15,1-14 0,-1 14 16,0 0-16,0 0 0,-13-13 0,14 13 15,-1-13-15,0 13 0,0 0 16,0-13-16,1 13 16,-1 0 15,-13 13-15,13 0-1,-13 0-15,13 1 16,1-1-1,-1-13 1,0 0-16,0-13 16,0 13-1,1 0 1,-1 0-16,-13 13 16,13-13-16,0 0 0,1 0 15,-1 13-15,0-13 16,0 0-16,1 0 0,-1 0 15,-13-13-15,13 13 0,0 0 0,0-13 16,1 13-16,-14-14 0,13 1 16,0 0-16,0 0 0,-13-1 15,14 1-15,-14 0 0,0 0 0,13 0 16,-13-1-16,13 14 16,-13 14-1,-13 12 1,13-13-1,0 0-15,0 1 0,13-14 16,-13 13-16,0 0 0,13-13 16,1 0-16,-1 0 15,0-13-15,0 13 0,0-13 16,1-1-16,-1 1 0,0-13 16,0 13-16,-13-14 0,14 1 15,-14-1-15,13 14 0,0-40 16,-13 27-16,0-14 15,13 13-15,-13-12 0,0 25 0,0-12 0,0 13 16,0 0-16,13-1 16,-26 1-16,26 0 0,-13 39 31,14-12-15,-14-1-16,0 0 0,0 13 0,0 1 15,0-1-15,0 14 0,0-13 16,13-1-16,-13 0 0,0 1 0,0-1 15,13-12-15,-13-1 0,13 27 16,-13-27-16,14 0 16,-1-13-16,-13 13 0,13-26 15,0 13-15,1 0 0,-14-13 16,13 0-16,0 13 0,-13-14 16,13 14-16,-13-13 0,13 13 0,-13-13 15,14 26 1,-1 0-16,-13 1 15,0-1-15,13 0 16,-13 0-16,0 0 16,13 1-16,1-1 15</inkml:trace>
  <inkml:trace contextRef="#ctx0" brushRef="#br0" timeOffset="4339.97">16417 622 0,'-13'0'0,"0"0"15,-14 0 1</inkml:trace>
  <inkml:trace contextRef="#ctx0" brushRef="#br0" timeOffset="4669.7">16523 661 0,'0'14'16,"0"-28"-16,0 41 0,0-14 16,13-13-16,-13 13 0,0 1 0,0-1 15,0 0-15,0 0 0,0 1 16,0-1-16,14-13 15,-14 13-15,13-13 47,0-13-31,0 13-16,1 0 16,-1 0-1,0 0-15,0 0 16,-13 13-16,14-13 0,-1 0 0,0 0 15,0 0-15,0 0 0,-13-13 16,14 13-16,-1 0 0</inkml:trace>
  <inkml:trace contextRef="#ctx0" brushRef="#br0" timeOffset="4915.47">16775 741 0,'13'-13'0,"-26"39"16,13-39-16,13-14 0,0 41 31,0-1-31,-13 0 16,14 0-16,-14 14 15,0-14-15,13 0 0,-13 14 0,0-14 16,0 13-16,0-12 0,-13 12 0,13 0 16,-14-12-16,1-1 0,0 13 15,0-12-15,-1-1 0,14 0 0,-26 0 16,13-13 0,13-13-1,0 0-15,0-14 0,13 14 0,0-13 16,0 12-16,14-25 0,-1 12 0,27-26 15,-40 27-15,40-14 16</inkml:trace>
  <inkml:trace contextRef="#ctx0" brushRef="#br0" timeOffset="5058.07">17132 701 0,'13'0'0,"0"0"31</inkml:trace>
  <inkml:trace contextRef="#ctx0" brushRef="#br0" timeOffset="7614.68">820 7541 0,'53'0'0,"-26"0"0,25-14 0,81 1 16,-54 13-16,1 0 16,-1-13-16,14 13 0,-1 0 0,-12-13 15,12 13-15,14 0 0,-27-14 0,14 14 16,-14 0-16,1 0 0,-1 0 15,-26 0-15,13 0 0,-13 0 0,-13 0 16,-14 0-16,1 0 0,-1 0 0,-13 0 16,14 0-16,-14 0 0,0 0 15,0 0-15,1 0 0,-14 14 16,-14-14 0,1 13-1,0-13-15</inkml:trace>
  <inkml:trace contextRef="#ctx0" brushRef="#br0" timeOffset="8088.4">1138 8480 0,'0'0'0,"66"13"0,-26-13 0,12 13 0,15-13 16,12 0-16,0 0 0,1 0 16,26 0-16,-14 0 0,14 0 15,-13 0-15,-1 0 0,1-13 0,-1 13 16,1 0-16,-27 0 0,14 0 0,-28 0 15,15 0-15,-28 0 0,1 0 16,0 0-16,-14 0 0,1 0 0,-14 0 16,0 0-16,0 0 0,1 0 0,-14 13 15,-14 14 1,1-14-16</inkml:trace>
  <inkml:trace contextRef="#ctx0" brushRef="#br0" timeOffset="8507.99">807 9538 0,'13'13'0,"-26"-26"0,53 26 15,-27 1-15,13-14 16,27 0-16,0 0 0,27 0 0,12-14 16,1 14-16,-1-13 0,1 13 0,39-13 15,-13 0-15,14 0 0,-28-1 0,15 1 16,-28 13-16,14-13 16,-13 13-16,-1-13 0,1 13 0,-1-14 15,-25 14-15,-1 0 0,-13 0 0,0 0 0,-14 0 16,1 0-16,-27 0 15,14 14-15,-1-14 0,-13 0 0,0 0 0,1 0 16,-1 0-16,0 0 0,0 0 0,-13 13 16,14-13-16,-14 13 15,-14 0 1,1-13 0,0 0-16,0 0 15,-1 0-15,1 0 16,0-13-16</inkml:trace>
  <inkml:trace contextRef="#ctx0" brushRef="#br0" timeOffset="10222.9">17092 3651 0,'53'0'15,"-27"0"-15,1 0 0,26 0 16,0 0-16,26 0 0,0 0 0,1 0 15,-14 0-15,0 0 0,0 0 16,-13 0-16,0 0 0,-13 0 0,0 0 16,-14 0-16,0-13 0,-12 13 0,12 0 15,-13 13-15,1-13 0,-1 0 16,0 0-16,0 0 0,1 0 0,-14 13 16,13-13-16</inkml:trace>
  <inkml:trace contextRef="#ctx0" brushRef="#br0" timeOffset="10935.4">16550 7779 0,'-14'26'16,"14"-13"0,0 1-16,0-1 0,0 0 15,0 0-15,14 1 0,-14 12 16,0-13-16,0 1 0,13-1 0,-13 0 15,0 0-15,13 0 0,-13 1 0,0-1 16,0 0-16,13-13 0,-13 13 16,0 1-16</inkml:trace>
  <inkml:trace contextRef="#ctx0" brushRef="#br0" timeOffset="11244.55">16470 8004 0,'0'0'0,"-13"13"16,13 0 0,0 0-16,13 1 15,-13-1-15,14 0 16,-1-13-1,0 0-15,13 0 16,-12-13-16,-1 13 16,0-13-16,0-1 15,1 1-15,-1 13 0,-13-13 16,13 0-16,0 13 0,-13-14 0,14 1 16,-14 0-16,13 0 0,0 0 15,-13-1-15</inkml:trace>
  <inkml:trace contextRef="#ctx0" brushRef="#br0" timeOffset="11803.93">16510 7250 0,'-13'26'31,"0"-13"-31,13 0 0,0 1 0,0-1 16,0 0-16,0 0 0,0 1 15,-14-1-15,14 0 0,0 0 16,0 1-16,0-41 47,14 14-47,-14 0 15,0-1-15,0-12 0,0 13 0,13-14 16,-13 14-16,0-13 0,13 12 0,-13 1 16,13 0-16,-13 0 0,13-1 15,1 1-15,-1 13 0,0 0 16,0 0-16,1 13 16,-1 1-16,0-1 15,-13 0-15,13 0 0,1 1 0,-14-1 16,13 0-16,-13 0 0,13-13 0,-13 13 15,0 1-15,13-1 16,-13 0-16,0 0 16</inkml:trace>
  <inkml:trace contextRef="#ctx0" brushRef="#br0" timeOffset="11995.91">16351 7382 0,'-13'0'32,"39"-13"-32,-12 13 0,12-14 15,1 14-15,-1-13 0,1 0 0,12 0 16,1 13-16,-14-14 0,14 1 16,0 0-16,-1 0 0,-12 0 15,13 13-15,-1-14 0,1 1 0</inkml:trace>
  <inkml:trace contextRef="#ctx0" brushRef="#br0" timeOffset="12603.85">18997 6773 0,'27'0'31,"-14"0"-31,-13 14 0,13-14 15,0 0-15,0 13 0,1-13 16,-1 13-16,0-13 0,0 0 0,1 13 16,-1-13-16,0 13 0,0-13 15,1 0-15,-1 14 0,0-14 16,-13 13-16,13-13 0</inkml:trace>
  <inkml:trace contextRef="#ctx0" brushRef="#br0" timeOffset="12887.71">19248 6800 0,'0'0'16,"27"26"15,-14-13-16,-13 1-15,13-14 0,-13 13 16,14-13-16,-14 13 0,13 0 0,0 1 16,-13-1-1,-13 0 1,0-13-16,13 13 16,-14-13-16,1 0 0,0 0 15,0 0-15,-1 0 0,-12 0 16,13 0-16,0 0 0,-1 0 0</inkml:trace>
  <inkml:trace contextRef="#ctx0" brushRef="#br0" timeOffset="13215.49">18508 6522 0,'0'26'16,"0"-12"-1,13-14-15,-13 13 0,0 0 16,0 0-16,0 1 0,0-1 15,0 13-15,0-12 0,0-1 0,0 0 16,0 0-16,0 0 0,0 1 16,0-1-16,0 0 15,-13 0-15,13 1 16</inkml:trace>
  <inkml:trace contextRef="#ctx0" brushRef="#br0" timeOffset="13790.6">18534 6522 0,'13'13'31,"-13"0"-15,0 1-16,0-1 15,0 0 1,14 0-16,-14 1 0,13-1 16,-13 0-16,13 0 0,0-13 0,0 14 15,1-1-15,-14 0 0,13 0 16,0 0-16,-13 1 0,-13-1 16,13 0-16,-13-13 15,-1 13-15,1 1 0,-13-14 16,13 0-16,-1 13 0,-12-13 0,13 0 15,-1 0-15,-12 0 0,13 0 16,-1 0-16</inkml:trace>
  <inkml:trace contextRef="#ctx0" brushRef="#br0" timeOffset="14497.88">19725 4961 0,'-14'0'0,"41"0"31,-14 0-15,0 0-16,14 0 0,-14 0 0,0 0 0,14 0 15,-14 0-15,0 0 0,0 0 16,1 0-16,-1 0 0,0 0 16,0 0-16,1 0 0,-1 0 0,0-13 15,0 13-15</inkml:trace>
  <inkml:trace contextRef="#ctx0" brushRef="#br0" timeOffset="14753.66">19910 4868 0,'26'14'31,"-12"-1"-31,-14 0 16,13 0-16,-13 0 0,13 1 15,-13-1-15,0 0 16,-13 0-16,13 1 0,-13-1 16,13 0-16,-14-13 0,14 13 0,-13-13 15,13 14-15,-13-14 0,0 0 16</inkml:trace>
  <inkml:trace contextRef="#ctx0" brushRef="#br0" timeOffset="15152.57">19315 4815 0,'-27'0'16,"14"14"-16,0-14 0,-1 13 0,-65 40 16,66-40-1,13 13-15,-13-12 0,13-1 16,0 0-16,0 0 0,13 1 16,0-14-16,0 13 0,1-13 15,12 13-15,-13-13 0,14 0 16,-1 0-16,1 0 0,-1 0 0,-13 0 15,27 0-15,-14 0 0</inkml:trace>
  <inkml:trace contextRef="#ctx0" brushRef="#br0" timeOffset="22780.77">4339 7527 0,'-13'0'0,"53"0"31,-14 0-31,14 0 0,13 0 0,0 0 15,79 0-15,-53 0 0,1 0 16,-1 0-16,0-13 0,14 13 16,-14 0-16,1 0 0,-1 0 0,-13-13 15,-13 13-15,13 0 0,-13 0 0,0-13 16,0 13-16,0 0 0,-13 0 16,-1-14-16,-12 14 0,-1 0 0,1 0 15,-14 0-15,13 0 0,-12 0 0</inkml:trace>
  <inkml:trace contextRef="#ctx0" brushRef="#br0" timeOffset="23082.85">4789 7660 0,'0'0'0,"26"0"16,-12 0-16,12 0 0,14 0 16,13 0-16,13 0 0,13 0 0,1 0 15,-1 0-15,0 0 0,1 0 0,12-14 16,-12 14-16,-1 0 0,0 0 16,1 0-16,-27-13 0,0 13 0,0 0 15,-14 0-15,1 0 0,-14 0 16,1 0-16,-1 0 0,-12 0 0,-1 0 15,0 0-15,0 0 0,0 0 0,1 0 16,-14-13-16,13 13 31,0 0-15</inkml:trace>
  <inkml:trace contextRef="#ctx0" brushRef="#br0" timeOffset="23955.67">4762 8612 0,'53'0'31,"-26"0"-31,13 0 0,26-13 0,0 13 16,13 0-16,1-13 0,-1 13 15,14-14-15,-14 14 0,0-13 0,14 13 16,-14-13-16,1 13 0,-1-13 0,53 13 15,-92-13-15,13 13 16,-13 0-16,-14 0 0,-13 0 0,14-14 16,-14 14-16,0 0 0,-13 14 15,-26-14 1</inkml:trace>
  <inkml:trace contextRef="#ctx0" brushRef="#br0" timeOffset="24237.64">5027 8652 0,'-26'0'16,"52"0"-16,-13 0 15,14 0-15,26 0 16,0 0-16,13 0 0,0 0 0,93-13 16,-67 13-16,1 0 0,-14 0 15,14-14-15,-14 14 0,1 0 16,-1 0-16,0-13 0,-26 13 0,0 0 15,0 0-15,-13 0 0,-1 0 16,-12 0-16,-1 0 0,1 0 0,-14 0 16,0-13-16,1 13 0,-1 13 0,0-13 15,-26 13 17,0-13-32,-1 14 15</inkml:trace>
  <inkml:trace contextRef="#ctx0" brushRef="#br0" timeOffset="25183.64">4895 9578 0,'-27'0'16,"54"0"-16,-67 0 0,40-13 15,13-1 1,14 14-16,12 0 16,1-13-16,13 0 0,26 13 0,1-13 15,-14 0-15,13 13 0,1-14 16,12 14-16,1-13 0,0 0 0,-1 13 16,-12 0-16,12-13 0,1 13 0,-27 0 15,13 0-15,-26-14 0,0 14 16,-13 0-16,-14 0 0,1 0 0,-1 0 15,1 0-15,-14 0 0,0 0 0,-13 14 16,13-14-16,-39 13 16,-1 0-16</inkml:trace>
  <inkml:trace contextRef="#ctx0" brushRef="#br0" timeOffset="25541.46">4524 9856 0,'80'-14'0,"-41"14"16,1-13-16,26 13 0,0-13 0,120 0 16,-94 0-16,1 13 0,39-14 15,-13 1-15,-13 0 0,106 0 16,-120 13-16,1-14 15,79 1-15,-93 0 0,-13 13 0,-13-13 16,-13 13-16,13 0 16,-13-13-16,-14 13 0,1 0 0,-1 0 15,-13 0-15,0-14 0,1 14 0,-1 0 16,0 0-16,0 0 0,1 0 16,-1 0-16,0 0 31,0 0 0</inkml:trace>
  <inkml:trace contextRef="#ctx0" brushRef="#br0" timeOffset="26540.42">8811 8903 0,'13'27'16,"-13"-1"-1,0 14-15,0 0 0,0-1 16,0 14-16,0 13 0,13 0 16,-13 1-16,0-1 0,0-27 0,13 14 15,-13 0-15,14-13 0,-14 0 0,13-1 16,-13 1-16,13-14 0,-13-12 15,0 12-15,13-13 0,-13 1 16,13-14-16</inkml:trace>
  <inkml:trace contextRef="#ctx0" brushRef="#br0" timeOffset="27244.97">8559 8916 0,'13'-13'15,"14"0"-15,13 13 0,158-40 32,-119 40-32,1-13 0,12 13 0,1-13 15,0 13-15,-1-13 0,41 13 16,-1-14-16,0 1 0,14 13 15,-14-13-15,13 13 0,1-13 0,0-1 16,-1 14-16,-13-13 0,146 0 16,-159 0-16,-13 13 0,0-13 15,-14 13-15,1 0 0,0-14 0,-1 14 16,-12-13-16,-1 13 0,40-13 16,-66 13-16,-13 0 0,-1 0 15,-12 0-15,-1 0 0,-12 0 0,12-13 16,-13 13-16,0 0 15,1 0-15,-1 13 0,0-13 16,-13 13-16,0 0 0,0 1 16,0 12-16,13 0 0,-13 1 15,0 52-15,0-39 0,0 13 0,14-13 16,-14-1-16,13 1 16,0 39-16,0-39 0,0 0 15,1-1-15,-1 1 0,0-13 0,0 12 16,1-12-16,12-1 0,-13 1 15,1-1-15,12 14 0,-26-27 16,13 0-16,-13 0 0,13 1 0,-13-1 16,0 0-16,14 0 0,-28-13 0,14 14 15,-13 12 1,-13-13-16,13-13 0,-27 14 0,0-1 16,0-13-16,-26 13 0,-13 0 0,0-13 15,-14 13-15,0-13 0,-145 14 16,93-14-16,-1 0 0,-145 13 15,132 0-15,14-13 0,-159 13 16,158 1-16,1-1 0,12 0 16,14 0-16,0 0 0,27 1 15,-1-1-15,0 0 0,14-13 0,0 13 16,-40 1-16,79-14 0,0 13 16,1-13-16,25 0 0,-12 0 15,13 0-15,-1 0 0</inkml:trace>
  <inkml:trace contextRef="#ctx0" brushRef="#br0" timeOffset="32284.47">19857 8969 0,'0'-13'0,"0"26"0,-13-26 16,13 0-16,-13 39 31,13 1-31,0-14 16,-14 0-16,14 14 0,-13-14 16,13 13-16,-13 1 0,13-14 0,0 0 15,0 14-15,-13-14 0,13 0 16,0 1-16,0-1 0,0 0 0,-14 0 15,14 0-15,14-13 0</inkml:trace>
  <inkml:trace contextRef="#ctx0" brushRef="#br0" timeOffset="32837.64">19857 8903 0,'26'0'16,"120"0"-1,-93-13 1,0 13-16,0 0 0,0 0 16,13 0-16,-13 0 0,26-13 0,-26 13 15,0 0-15,0 0 0,0 0 0,0-13 16,-14 13-16,-12 0 0,12 0 15,-25 0-15,12 0 0,-13 0 16,14 0-16,-14 0 0,0-14 0,1 14 0,-1 0 16,0 14-16,0-14 15,0 0-15,-13 13 0,14-13 16,-14 13-16,13 0 0,-13 0 0,13 1 16,-13-1-16,13 0 0,-13 14 15,14-14-15,-14 13 0,13 1 0,-13-14 16,13 13-16,-13-12 0,13 12 15,-13-13-15,14 14 0,-14-14 16,0 0-16,13 1 0,-13-1 0,13 0 16,-13 0-16,0 0 0,0 1 0,0-1 15,0 0-15,0 0 0,-13 1 16,0-1-16,-14 0 0,14 0 16,-27 0-16,0-13 0,-12 14 0,-15-1 15,1 0-15,-13-13 0,0 13 0,-1-13 16,1 14-16,-1-14 15,-12 0-15,12 0 0,-12 0 0,12 0 0,1 0 16,0 0-16,26 0 0,0 0 16,0 0-16,13 0 0,1 0 15,12-14-15,1 14 0,-1 0 0,1 0 16,12 0-16,1 0 0</inkml:trace>
  <inkml:trace contextRef="#ctx0" brushRef="#br0" timeOffset="37266.91">20307 4538 0,'-13'13'32,"13"0"-17,0 0-15,0 1 0,-14-1 16,14 0-16,0 0 0,0 0 16,-13 14-16,13-14 0,0 14 0,0-14 15,0 0-15,-13 13 0,13-12 16,0 12-16,0-13 0,0 14 0,0-14 15</inkml:trace>
  <inkml:trace contextRef="#ctx0" brushRef="#br0" timeOffset="37552.51">20307 5067 0,'0'13'0,"0"0"16,-13 0-16,13 1 15,0-1-15,0 0 16,0 0-16,0 1 0,0-1 0,0 0 15,0 0-15,0 1 0,0-1 16,0 0-16,0 0 0,0 0 0,0 1 16,0-1-16</inkml:trace>
  <inkml:trace contextRef="#ctx0" brushRef="#br0" timeOffset="39427.81">20346 5490 0,'0'0'16,"0"13"-16,14 1 31,-14-1-15,0 0 0,0 0-16,-14 0 15,14 1-15,0-1 0,0 0 16,0 0-16,0 1 15,0-1-15,0 13 16,0-12-16,-13-14 16,13 13-1,0 0-15,0 0 16,0 0 0,0 1-16,0-1 15,0 0-15,-13 0 16,13 1-16,0-1 15,0 0 1,0 0-16,0 1 16,-13-1-16,13 0 0,0 0 15,0 0 1,0 1-16,0-1 31,0 0-15,0 0-1,13 1-15,-13-1 16,0 0 0,0 0-16,0 0 0,0 1 15,0-1-15,0 0 0,0 0 16,13-13-16,-13 14 16,0-1-16,0 0 15,0 0 1,0 1-16,0-1 15,0 0 1,0 0 0,0 0-1,0 1-15,0-1 0,0 0 16,0 0 0,0 1-16,0-1 15,0 0-15,0 0 16,0 1-16,0-1 15,0 0-15,0 13 16,13-26-16,-13 14 16,0-1-16,-13 0 31,13 0-31,0 1 0,0-1 16,0 0-1,0 0-15,0 1 16,0-1-1,0 0-15,0 0 16,0 0-16,0 1 16,0-1-16,0 0 0,0 14 15,0-14 1,0 0 0,0 0-16,0 1 15,0-1-15,0 0 16,-13 0-1,13 0-15,0 1 0,0-1 0,0 0 16,0 0-16,0 1 0,0-1 16,0 0-16,0 0 15,0 0-15,0 1 0,0-1 16,0 0-16,0 0 0,0 1 16,0-1-1,0 0 1,0 0-16,0 1 15,0-1-15,0 0 16,0 0 0,-13-13-16,13 13 0,0 1 15,0-1-15,0 0 16,0 0 0,0 1-16,0-1 31,0 0-31,0 0 15,0 1 1,0-1-16,0 13 16,-13-13-1,13 1-15,0-1 0,0 0 0,0 0 16,0 1-16,0-1 0,0 0 16,0 0-16,0 0 0,0 1 0,0-1 15,0 0-15,0 0 0,0 1 0,0-1 16,0 13-16,0-12 15,0-1-15,0 0 16,0 0-16,0 0 0,0 14 16,0-14-1,0 0-15,0 1 16,13-1 0,-13 0-16,0 0 0,0 1 15,0-1-15,13 0 16,-13 0-16,0 0 0,0 1 0,0-1 15,13 0-15,-13 0 0,0 1 16,0-1-16,13 0 0,-13 0 16,0 1-16,0-1 0,0 0 0,0 0 15,0 0-15,0 1 0,14-1 16,-14 0-16,0 0 0,0 14 16,0-14-16,0 0 0,0 1 15,0-1-15,0 0 16,13-13-16,-13 13 0,0 0 15,0 1-15,0-1 16,0 0-16,0 0 16,0 1-16,0-1 15,0 0 1,0 0-16,0 0 0,0 1 16,-13-1-1,13 0-15,0 0 16,0 1-16,0-1 15,-14 0-15,14 0 16,0 1 0,0-1-16,0 0 0,0 0 15,-13-13-15,13 13 16,0 1-16,0-1 16,0 0-1,13-39 32,-13 12-47,0 1 16,0-13-16,14 13 0</inkml:trace>
  <inkml:trace contextRef="#ctx0" brushRef="#br0" timeOffset="40647.73">20571 4286 0,'0'-13'0,"-13"39"46,26-12-46,-13-1 0,0 0 16,0 0-16,0 1 16,0-1-16,14 0 15,-14 0-15,0 1 16,0-41 31,0 14-32,0 0-15,0-1 0,0 1 0,0 0 16,0 0-16,0-1 0,0 1 16,0 0-16,0 0 15,0 0-15,0-1 16,0 1-16,26 26 47,-26 1-47,0-1 0,13-13 15,-13 13 1,14-13-16,-14 13 0,13-13 16,0-13-1,-13 0 1,13 13 0,-13-13-16,0-1 0,13 14 0,-13-13 15,14 0-15,-14 0 16,13 13-16,-13-14 15,13 14-15,0 14 16,1-1 0,-14 0-16,13-13 15,-13 13-15,0 1 0,13-14 0,-13 13 16,13 0-16,-13 0 16,13 0-16,-13 1 15,14-14-15,-14 13 0,13-13 16,0 13-1,0-13-15</inkml:trace>
  <inkml:trace contextRef="#ctx0" brushRef="#br0" timeOffset="41464.81">20942 4313 0,'0'-40'16,"13"27"0,-13 0-16,-13-1 15,13 1-15,0 0 16,-13 13 0,-1 0-16,1 13 15,13 0-15,-13 1 16,13-1-16,0 0 15,0 0-15,0 0 16,13 1-16,0-14 16,1 13-16,-1-13 0,0 0 15,0 0-15,0 0 0,1 0 16,-1 0-16,0 0 0,0 0 0,14-13 16,-14 13-16,0 0 0,1-14 15,-1 14-15,13-13 16,-26 0-16,13 0 0,1 0 15,-28-1 17,14 1-32,-13 13 15,0 13 1,0-13-16,13 14 0,-13-14 16,13 13-16,-14-13 0,14 13 15,0 0-15,0 0 31,0 1-31,14-14 32,-1 0-17,0-14-15,0 14 16,-13-13-16,13 13 0,1-13 16,-1 0-1,0 13-15,0 0 16,1 0-1,-14 13-15,13-13 16,0 13 0,0-13 15,0 0-15,1-13-16,-1 13 15,0 0 1,-13-13-16,13 13 15,1 0 1,12 0 0,-13 0-16,1 0 15,-1 0 1,0 0-16,0 0 0</inkml:trace>
  <inkml:trace contextRef="#ctx0" brushRef="#br0" timeOffset="41699.68">21656 4128 0,'0'0'15,"13"-14"1,1 14-16,-1 0 0,0-13 16,0 13-16,1 0 0,-1 0 15,0 13-15</inkml:trace>
  <inkml:trace contextRef="#ctx0" brushRef="#br0" timeOffset="41876.49">21643 4233 0,'0'14'0,"26"-28"47,-12 14-47,-1-13 0,0 13 0,0 0 16,1-13-16,12 13 0,-13 0 0,0 0 15,1-13-15,-1 13 0,0 0 16</inkml:trace>
  <inkml:trace contextRef="#ctx0" brushRef="#br0" timeOffset="42503.53">22172 4022 0,'-13'13'32,"13"0"-32,0 0 15,0 1-15,0-1 16,0 0-16,0 0 16,0 1-16,0-1 15,13-40 32,-13 14-47,0 0 16,0 0-16,0-1 0,0-12 0,0 13 15,0-1-15,0 1 0,0 0 16,13 0-16,-13 0 0,0-1 16,14 28 15,-14-1-16,13-13-15,-13 13 16,13 0-16,13-13 31,-26-13-15,14 0-16,-1 0 16,0 13-16,-13-14 15,13 1-15,1 13 16,-1 0-1,-13 13 1,13 1-16,-13-1 16,0 0-16,0 0 15,13 0-15,-13 1 16,14-1-16,-1 0 16,0 0-1,0-13 1</inkml:trace>
  <inkml:trace contextRef="#ctx0" brushRef="#br0" timeOffset="43308.47">22582 4035 0,'0'-13'0,"0"-14"31,-13 14-15,-14 13-1,27 13 1,-13-13-16,13 13 0,-13-13 16,13 14-16,0-1 15,0 0-15,0 0 16,13-13-16,0 0 15,1 0-15,-1 0 0,0 0 16,0 0-16,1 0 0,-1 0 0,0 0 16,0 0-16,1 0 0,-1-13 15,0 13-15,0 0 0,-13-13 0,13 13 16,1-13-16,-41 26 62,14-13-62,13 13 16,-13 0 0,26-13-16,-13 14 15,13-14 1,0-14 0,1 14-1,-1-13-15,-13 0 0,13 13 16,-13-13-16,0-1 0,13 1 0,-13 0 15,14 0-15,-14 0 0,0-14 0,13 14 16,-13 0-16,0-1 0,0 1 16,0 0-16,13 0 0,-13-1 15,0 1-15,0 0 16,-13 39 15,13-12-31,-13-1 16,13 0-16,0 14 0,-14-27 15,14 26-15,0-13 16,0 1-16,0 12 0,14-13 16,-1-13-1,0 0-15,0 0 16,1 0 0,-14 13-16,13 1 15,-13-1 16,13-13-31,-13 13 0,0 0 16,13-13-16,-13 14 16,13-14-16</inkml:trace>
  <inkml:trace contextRef="#ctx0" brushRef="#br0" timeOffset="43419.92">22992 3889 0,'0'0'0</inkml:trace>
  <inkml:trace contextRef="#ctx0" brushRef="#br0" timeOffset="43860.23">23085 3876 0,'-27'0'31,"14"13"-31,13 1 16,-13-14-16,26 66 62,0-66-46,1 0-16,-14-13 16,13 13-16,0-14 0,0 14 15,-13-13-15,14 13 0,-1-13 16,0 13 0,-13 13-1,13 0 1,1-13-1,-14 14 1,13-14-16,0 0 16,0 0-1,0 0 1,1-14-16,-1 14 16,0-13-16</inkml:trace>
  <inkml:trace contextRef="#ctx0" brushRef="#br0" timeOffset="50028.62">20743 5054 0,'-13'0'15,"53"0"1,-27-14-16,27 14 16,-14-13-16,1 13 0,12 0 15,14-13-15,-13 13 0,0 0 16,-14-13-16,1 13 0,12 0 0,-12 0 16,-1 0-16,1 0 0,-14 0 0,0 0 15,0 0-15,0 0 0,1 0 16,-1 0-16,0 0 15</inkml:trace>
  <inkml:trace contextRef="#ctx0" brushRef="#br0" timeOffset="50391.76">20876 4908 0,'-67'26'31,"54"-12"-31,0-14 0,0 13 16,-14 0-16,14 0 0,0 1 15,0 12-15,-1-13 0,1 1 0,0-1 16,0 0-16,13 0 0,-13 0 0,13 1 15,0-1-15,0 0 16,0 0-16,0 1 16,13-1-16,0-13 0,-13 13 0,13-13 15,0 13-15,14-13 0,-14 0 16,0 0-16,14 14 0,-14-14 0,13 0 16,-12 0-16,-1 0 0,13 0 0,1 0 15,-14 0-15,14-14 0,-14 14 16,13 0-16,1 0 0,-14 0 0,0-13 15</inkml:trace>
  <inkml:trace contextRef="#ctx0" brushRef="#br0" timeOffset="52002.49">21868 4934 0,'26'-26'31,"-12"26"-16,-1 0-15,0 0 0,0 0 16,0 0-16,1 0 0,-1 13 0,0-13 16,0 0-16,-13 13 0,14 1 0,-14-1 15,0 0-15,0 0 16,0 1-16,-14-1 0,14 0 0,-13 0 16,0 1-16,0-1 0,-1 0 15,1 0-15,13 0 16,-13-13-16,13 14 15,13-14 17,0 0-32,1-14 15,-1 14-15,0 0 0,0 0 0,1 0 0,-1 0 16,0-13-16,13 13 16,-12 0-16,-1-13 0,13 13 0,-12 0 15,12-13-15,-13 13 0,1-13 0,-1 13 16</inkml:trace>
  <inkml:trace contextRef="#ctx0" brushRef="#br0" timeOffset="52579.52">22344 4908 0,'-13'-26'0,"0"12"15,-1 14 1,1 0-16,13 14 16,-13-14-16,13 13 15,-13-13-15,-1 13 0,14 0 0,0 0 16,-13-13-16,13 14 0,0-1 0,13 0 15,-13 0-15,14-13 0,-14 14 16,13-1-16,0-13 0,14 0 0,-14 13 16,0-13-16,0 0 0,1 0 0,-1 0 15,13-13-15,-13 0 16,1 13-16,-14-14 0,0 1 16,13 0-16,-26 13 0,13-13 0,0-1 15,0 1-15,-14 13 0,14-13 16,-13 0-16,0 0 0,0 13 15,13-14-15,-13 14 16,26-13 15,0 13-31,0-13 0,0 13 16,1 0-16,-1-13 0,0 13 0,0 0 16,1 0-16,-1-14 15,0 28-15,0-1 16,-13 0 15,0 0-31,13 1 0,-13-1 16,14-13-16,-14 13 0,13-13 0,0 0 15,0 13-15,1-13 16,-1 0-16,0 0 0,0 0 16,1-13-16,-1 13 0,-13-13 0,13 13 15,-13-13-15,13-1 0,-13 1 16,0 0-16,-13 0 0,13-1 15,-13 1-15,0 0 0,-1 13 16,1-13-16,0 13 0,0 0 0,-1 0 16,1 0-16,-13 13 0,12-13 15,-12 13-15,0 14 0,-1-14 0,1 13 16</inkml:trace>
  <inkml:trace contextRef="#ctx0" brushRef="#br0" timeOffset="53673.19">21749 6324 0,'-13'13'16,"-1"0"-1,1-13-15,0 13 0,-14 0 0,1 1 16,-1-1-16,1 0 0,0 0 16,-1 1-16,-26-1 0,40 0 15,-14 0-15,14-13 0,0 14 0,-13-1 16,12-13-16,1 13 0,0-13 16,0 13-16,-1-13 0,-12 13 15,13-13-15,13 14 16,-14-14-16,1 0 0,13 13 15,-13-13 1</inkml:trace>
  <inkml:trace contextRef="#ctx0" brushRef="#br0" timeOffset="54136.56">21392 6403 0,'-40'26'16,"40"-12"-1,-13-14-15,-1 13 0,1 0 16,0 0-16,0 1 0,-14-1 16,27 0-16,-13 0 0,0 0 0,0 1 15,13-1 1,-14 0-16,14 0 16,0 1-16,14-14 15,-14 13-15,13-13 16,0 0-16,0 0 0,0 0 15,1 13-15,-1-13 0,0 0 16,0 0-16,1 0 0,-1 0 16,0 0-16,0 0 15,1 0-15,-1 0 16,0 0 0,0 0-1,0 0-15,1-13 16,-1 13-16</inkml:trace>
  <inkml:trace contextRef="#ctx0" brushRef="#br0" timeOffset="55043.68">22132 6244 0,'0'-13'0,"0"26"0,0-39 15,14 26-15,-1 0 0,0-14 16,0 14 0,1 14-16,-14-1 15,13-13-15,-13 13 0,-13 0 0,13 1 16,0-1-16,-27 13 0,14-12 15,13-1-15,-13 0 0,-1 0 16,1 0-16,0 1 0,0-1 16,13 0-16,-14-13 15,14 13 1,27-13 0,-14-13-1,0 13-15,1 0 0,-1 0 16,0-13-16,0 13 0,14 0 0,-14 0 15,0-13-15,0 13 0,1 0 0,-1-14 16,0 14-16,0 0 0</inkml:trace>
  <inkml:trace contextRef="#ctx0" brushRef="#br0" timeOffset="55374.66">22410 6244 0,'-39'13'31,"25"1"-31,1-14 16,13 13-16,0 0 0,-13 0 15,13 1-15,13-1 0,0 0 16,1-13 0,-1 0-16,0 0 0,0 0 15,0 0-15,1 0 0,-1 0 0,0-13 16,0 13-16,-13-13 0,14 13 15,-14-14-15,13 14 0,-13-13 0,0 0 16,0 0-16,0-1 16,-13 14-16,-1-13 15,1 13 1,0 0-16,0 0 0,-1 0 16,1 0-16</inkml:trace>
  <inkml:trace contextRef="#ctx0" brushRef="#br0" timeOffset="55673.81">22582 6218 0,'-13'39'0,"13"-25"0,0-1 15,0 0-15,0 0 16,0 1-16,13-14 0,0 13 0,1-13 15,-1 0-15,0 0 0,0 0 16,14 0-16,-14 0 0,0 0 16,0-13-16,1 13 0,-1-14 15,0 14-15,-13-13 0,13 0 0,-13 0 0,14-1 16,-14 1 0,0 0-16,-14 0 0,14-1 0,-13 1 15,0 0-15,13 0 0,-13 13 0,-1-13 16,1 13-16,-13 0 0,13 0 15,-14 13-15,14 0 0,-14-13 0,1 26 16,-1-12-16,14-1 0,-13 13 0</inkml:trace>
  <inkml:trace contextRef="#ctx0" brushRef="#br0" timeOffset="57723.48">21431 7898 0,'40'-27'0,"-80"54"0,93-54 0,-26 14 15,-14 0-15,27-14 0,-1 14 16,14-13-16,0-14 0,0 14 16,66-41-16,-53 28 0,0 12 15,93-52-15,-93 52 0,14-12 16,-14 12-16,0 1 0,-13 13 16,13-14-16,-13 14 0,-13 0 0,-1-1 15,-12 1-15,-1 0 0,1 0 0,-1 13 16,-13-13-16,1 13 0,-1 0 15,0-14-15,0 14 0,0 0 0,1-13 16,-54 13 31,40 13-47,-26-13 0,12 14 16</inkml:trace>
  <inkml:trace contextRef="#ctx0" brushRef="#br0" timeOffset="60172.04">21934 7501 0,'0'-13'16</inkml:trace>
  <inkml:trace contextRef="#ctx0" brushRef="#br0" timeOffset="60579.55">22079 7355 0,'0'-13'16,"0"40"31,0-14-47,-13 0 0,13 0 0,0 1 15,0-1-15,-13-13 0,13 13 0,0 0 16,0 0-16,-13 1 16,13-1-16,0 13 15,13-12-15,-13-1 16,13-13 0,0 13-16,1-13 0,-1 0 15,0 0-15,0 13 0,1-13 16,-1 0-16,0 0 0,0 0 15,1 0-15,-1 0 0,0 0 0,0 0 16,-13 14-16,13-14 0,1 0 0,-1 0 16,0 0-16,-13-14 0,13 14 15,1 0-15,-1 0 0,0-13 16</inkml:trace>
  <inkml:trace contextRef="#ctx0" brushRef="#br0" timeOffset="61067.85">22953 6932 0,'26'0'0,"-52"0"0,65 0 15,-25 0-15,-1 0 16,-13 13-16,13-13 0,-13 14 0,0-1 15,-13 0-15,13 0 0,-13 0 16,13 14-16,-14-14 0,1 14 16,0-14-16,0 0 0,13 0 15,-14-13-15,14 14 0,0-1 0,-13-13 16,13 13-16,0 0 16,13 0-1,1-13-15,-1 0 16,0 0-16,0 0 15,1-13-15,12 13 0,-13 0 0,0 0 16,14-13-16,-14 13 0,0 0 0,14 0 16,-14-13-16,0 13 0,1-13 15,-1 13-15</inkml:trace>
  <inkml:trace contextRef="#ctx0" brushRef="#br0" timeOffset="61676.56">23310 6972 0,'-13'-27'0,"26"54"0,-40-54 0,27 14 15,-13 13-15,0 0 16,-14 0-16,27 13 16,-13-13-16,0 14 0,13-1 0,-13-13 15,13 13-15,-13 0 0,13 0 16,0 1-16,13-1 0,-13 0 16,13 0-16,0-13 15,0 14-15,1-14 0,-1 0 0,0 0 16,0 0-16,1 0 0,12 0 15,-13-14-15,0 14 0,-13-13 16,14 13-16,-14-13 0,13 0 16,-13-1-16,0 1 0,-13 0 15,13 0-15,-14 0 16,1 13-16,13-14 16,-13 14-16,0 0 0,13-13 0,-13 13 15,26-13 16,0 13-31,0 0 16,0 0-16,1-13 16,-1 26-1,0 0 1,-13 0-16,0 1 16,13-14-16,-13 13 15,14 0-15,-1-13 0,-13 13 16,13-13-16,0 0 0,1 0 0,-1 0 15,0 0-15,0 0 0,0 0 16,14 0-16,-14 0 0,0-13 0,1 13 16,-14-13-16,13 13 0,0-13 0,-13-1 15,13 14-15,-13-13 0,0 0 16,-13 0-16,0-1 16,13 1-16,-13 0 0,-1 13 0,1-13 15,0 13-15,0 0 0,-1-14 0,1 14 16,0 0-16,0 0 0,0 0 15,-1 0-15,1 14 0,0-14 0,0 0 16,-1 13-16</inkml:trace>
  <inkml:trace contextRef="#ctx0" brushRef="#br0" timeOffset="91384.56">16232 8202 0,'-13'-13'32,"13"39"61,-13-26-93,13 14 0,-14-1 0,1 0 16,13 0-16,-13 14 16,0-14-16,0 0 0,-1 14 0,14-14 15,-13 0-15,0 14 0,0-14 0,-1 0 16,1 13-16,0-12 0,13-1 15,-13 0-15,0-13 0,13 13 0,-14 1 16,1-1-16,13 0 16,-13-13-1,13 13-15,-13 0 16,13 1 15</inkml:trace>
  <inkml:trace contextRef="#ctx0" brushRef="#br0" timeOffset="91935.44">15624 8612 0,'0'0'0,"-27"13"0,27 1 16,-13-14-16,13 13 0,0 0 15,-13 0-15,13 1 0,0-1 16,0 0-16,0 0 0,0 0 16,13 1-16,-13-1 0,13 0 15,-13 0-15,13-13 0,1 14 16,-1-14-16,0 0 0,-13 13 0,13-13 15,1-13-15,-1 13 0,0 0 0,0 0 16,-13-14-16,13 14 16,1-13-16,-1 0 0,-13 0 15,0-1-15,0 1 0,0 0 16,-13 0-16,-1 13 0,14-13 0,-13-1 16,0 1-16,0 0 15,0 13-15,-1-13 0,1 13 16,0-14-16,0 14 0,-1 0 15,1 0-15,0 0 16,0 0-16</inkml:trace>
  <inkml:trace contextRef="#ctx0" brushRef="#br0" timeOffset="96568.54">24474 8202 0,'0'-13'110,"0"39"-79,13-12-16,-13-1-15,0 0 0,0 0 16,0 14-16,0-14 0,0 13 16,0-12-16,0 25 15,0-12-15,0-14 0,0 13 0,0-12 16,0 12-16,0-13 0,0 1 0,0-1 16,0 0-16,0 0 0,0 0 15,0 1-15,0-1 0,0 0 16,0 0-16,0 1 15</inkml:trace>
  <inkml:trace contextRef="#ctx0" brushRef="#br0" timeOffset="97000.54">24342 8533 0,'0'13'16,"0"0"-16,0 0 16,0 1-16,0-1 0,13 0 15,-13 0-15,0 1 0,13-1 16,-13 0-16,13-13 0,-13 13 16,14 1-16,-14-1 0,13-13 15,-13 13-15,13-13 0,0 0 16,14 0-1,-14 0-15,0-13 0,0 0 16,1 13-16,-14-14 0,13 1 16,0 13-16,-13-13 15,13 13-15,-13-13 0,14-1 16,-14 1-16,13 13 16</inkml:trace>
  <inkml:trace contextRef="#ctx0" brushRef="#br0" timeOffset="97936.38">24328 8956 0,'14'-13'0,"12"13"16,-13 0-16,1 0 15,-1 0-15,0 13 0,0 0 16,-26 1 0,13-1-16,-13 0 0,0 0 15,13 1-15,-14-14 0,14 13 16,-13-13-16,0 13 15,13 0-15,13-13 16,0 13 0,1-13-16,-14 14 0,13-14 0,0 13 15,0-13 1,-13 13-16,0 0 0,0 1 16,-13-14-1,13 13-15,-13-13 0,0 13 0,-1-13 16,1 13-16,0-13 0,0 0 0,-1 14 15,1-14-15,0 0 0,0 13 16,0-13-16,-1 0 0,1 0 16,0 0-16</inkml:trace>
  <inkml:trace contextRef="#ctx0" brushRef="#br0" timeOffset="98349.37">24606 8956 0,'-53'0'31,"40"13"-31,0-13 16,13 14 0,0-1-16,13-13 15,-13 13-15,13 0 0,1 1 0,-1-1 16,0-13-16,-13 13 0,13 0 16,0-13-16,-13 13 0,14-13 0,-14 14 15,13-14-15,-13 13 0,13-13 16,-13 13-16,-13 0 15,0 1 1,-1-14-16,14 13 0,-13-13 16,0 0-16,0 0 0,0 13 15,-1-13-15,1 0 16</inkml:trace>
  <inkml:trace contextRef="#ctx0" brushRef="#br0" timeOffset="98656.56">24805 8956 0,'-40'40'32,"40"-27"-32,0 0 15,-13 1-15,26-1 16,-13 0-16,0 0 0,13-13 15,-13 13-15,13-13 0,1 0 16,12 0 0,-26-13-16,13 0 0,-13 0 15,0 0 1,-13-1-16,13 1 0,-13 0 16,0 13-16,13-13 0,-14-1 15,1 14-15,0-13 0,0 13 16,0 0-16,-1 0 0,1 0 15,0 0-15,0 0 0,-1 13 0</inkml:trace>
  <inkml:trace contextRef="#ctx0" brushRef="#br0" timeOffset="102053.39">15610 8652 0,'-13'0'47,"0"0"-32,0 0 1,0 13 0,13 0-16,-14-13 0,14 14 15,-13-1-15,0 0 16,13 0-16,-13 0 0,13 1 15,0-1-15,0 0 0,0 0 16,0 1-16,0-1 0,0 0 16,0 0-16,13-13 0,-13 14 15,13-14-15,-13 13 0,13-13 16,1 13-16,-1-13 16,0 0-16,0 0 0,0 0 15,1 0-15,-1 0 0,0 0 16,0-13-16,1 13 15,-1 0-15,-13-13 0,13 13 0,-13-14 16,13 14-16,0-13 0,-13 0 16,14 13-1,-14-13-15,0-1 16,-14 1-16,14 0 16,-13 0-16,0 13 15,13-14 1,-13 14-16,13-13 0,-13 13 0,-1-13 15,1 13 1,0-13-16,0 13 16,-1-13-16,1 13 15,0 0 1,0 0 0,0 0-1,-1 0 1,1 0 15,13 13-15,-13-13-1,13 13 1,-13-13 0,13 13-1,0 0 1,0 1-1,0-1 1,0 0-16,0 0 16,0 1-16,0-1 0,0 0 15,13-13-15,-13 13 16,0 1-16,13-14 16,0 13-16,1-13 15,-1 0-15,0 0 0,0 0 16,0 0-16,1 0 15,-1-13-15,0 13 0,0 0 16,1-14-16,-1 14 0,-13-13 0,13 13 16,-13-13-16,13 13 15,-13-13-15,0-1 0,0 1 16,0 0 0,-13 13-16,13-13 15,-13 13-15,0 0 0,13-14 0,-14 14 16,1 0-16,0 0 0,0 0 0,-1 0 15,1 0-15,0 0 0,0 0 16,0 0-16,13 14 0,-14-14 16,1 13-16,0 0 15,13 0-15,-13-13 0,13 14 0,0-1 0,0 0 16,0 0 0,13 1-16,-13-1 0,13-13 15,0 13-15,1-13 16,-1 0-16,0 0 0,13 0 15,-12 0 1,-1-13-16,0 0 0,0 13 16,-13-14-16,14 1 15,-14 0-15,0 0 16,0-1-16,0 1 0,-14 13 16,1-13-16,0 13 15,0 0-15,-1-13 16,-12 26-16,13-13 0,0 0 15,-1 0-15,14 13 0,-13-13 16,13 13-16,-13-13 0,13 14 16,0-1-16,0 0 0,0 0 15,0 1-15,0-1 16,13-13 0,0 0-1,1 0-15,-1 0 16,0 0-16,-13-13 15,13 13-15,0-14 16</inkml:trace>
  <inkml:trace contextRef="#ctx0" brushRef="#br0" timeOffset="106704.99">24791 8996 0,'-13'13'0,"13"0"16,-13 1-1,13-1 1,0 0 0,13 0-16,-13 0 15,13-13 1,1 14-16,-1-14 15,0 13-15,0-13 16,1 0 0,12 0-16,-13-13 15,1 13-15,-1-14 16,0 14 0,-13-13-16,13 13 0,0-13 15,-13 0 1,14 0-1,-14-1-15,0 1 16,0 0 0,0 0-1,0-1 1,0 1 0,-14 0-1,14 0 1,-13 13-1,13-14 1,-13 14 0,0 0-1,0-13 32,-1 13-31,1 0-1,0 0 1,0 0 15,-1 0-15,1 13 0,0-13 15,0 0-16,13 14 1,-14-14 0,14 13-1,-13-13-15,13 13 16,0 0-16,-13-13 16,13 14-16,0-1 15,-13 0 1,13 0-1,0 1 17</inkml:trace>
  <inkml:trace contextRef="#ctx0" brushRef="#br0" timeOffset="111076.52">20571 8401 0,'-39'13'47,"25"-26"-32,1 13 1,0-14-16,0 14 0,0 0 15,13-13-15,-14 13 0,1 0 16,0 0-16,0-13 0,-1 13 0,1 0 16,0 0-16,0 0 0,-1-13 0,1 13 15,0 0-15,0 0 0,0 0 16,-1 0-16,1 0 0,-13 0 0,12 13 16,1-13-16,-13 0 0,12 13 0,-12-13 15,13 13-15,-14 1 16,14-1-16,-13-13 0,12 13 0,1 0 15,0 0-15,0 1 0,-1-1 0,1 0 16,13 14-16,-13-14 0,13 0 16,-13 0-16,13 0 0,0 1 0,0-1 15,13 0-15,-13 14 0,13-14 0,-13 0 16,13 0-16,1 1 0,-1-1 16,13 0-16,-12 0 0,12-13 0,-13 13 15,14 1-15,-1-14 0,1 0 0,-1 13 16,-13-13-16,14 0 0,-1 0 15,1 0-15,-1 0 0,-13-13 0,14 13 16,-1 0-16,-12-14 0,12 14 0,-13 0 16,14-13-16,-14 13 15,0-13-15,14 13 0,-14-13 0,0 13 16,0-13-16,1-1 0,-1 1 16,0 0-16,0 0 0,1-1 15,-14 1-15,13 0 16,-13 0-16,13-1 0,-13 1 15,0 0-15,0-13 16,-13 26-16,13-14 16,0 1-16,-13 0 0,-1 0 15,1-1-15,13 1 0,-13 13 16,0-13-16,-1 0 16,1 13-16,0 0 0,13-13 15,-13 13-15,-1 0 0,1-14 0,0 14 16,0 0-16,0 0 15,-1 0-15,1 0 0,0 0 0,0 0 16,-1 0-16,1 0 0,0 0 16,0 0-16,-1 0 15,1 14-15,0-14 0</inkml:trace>
  <inkml:trace contextRef="#ctx0" brushRef="#br0" timeOffset="112352.7">11523 6998 0,'26'0'16,"-13"0"-16,1 0 0,-1 0 16,0 0-16,0 0 15,14 0-15,-14 0 0,0 0 0,14 0 16,-14 0-16,0 0 0,0 0 0,1 0 16,-1 0-16</inkml:trace>
  <inkml:trace contextRef="#ctx0" brushRef="#br0" timeOffset="112604.61">11549 7144 0,'-13'0'0,"39"13"47,-12-13-32,-1 0-15,0 0 0,0 0 0,0 0 16,1 0-16,-14-13 0,13 13 16,0 0-16,0 0 0,1 0 0,12 0 15,-13 0 1,1 0-16,-1-13 0,0 13 16,0 0-1</inkml:trace>
  <inkml:trace contextRef="#ctx0" brushRef="#br0" timeOffset="113567.69">12250 7064 0,'-13'0'0,"26"0"0,-39 14 15,26-41 32,0 14-47,0 0 0,0-1 16,0 1-16,0 0 0,13 0 16,-13 0-16,0-1 0,0 1 0,0 0 15,0 0-15,0-1 16,0 54 15,13-27-31,-13 1 16,0-1-16,0 0 0,0 0 15,13 0-15,-13 1 0,14-1 16,-14 0-16,13-13 16,0 0-16,0-13 15,1 0-15,-14-1 16,13 1-16,-13 0 0,0 0 0,13 0 15,-13-14-15,13 14 0,-13 0 16,0-1-16,13 14 0,-13-13 0,0 0 16,14 13-16,-14-13 15,13 26 1,0 0 0,-13 0-16,0 1 15,0-1-15,0 0 0,0 0 0,13 1 16,-13-1-16,0 0 15,0 13-15,0-12 16,0-1-16,14 0 0,-14 0 16,13-13-16,0 14 15</inkml:trace>
  <inkml:trace contextRef="#ctx0" brushRef="#br0" timeOffset="114391.72">12687 7064 0,'0'-26'0,"-13"13"32,13-1-32,-14 14 15,14-13-15,-26 26 16,13 1-1,13-1 1,-14-13-16,14 13 0,0 0 0,0 1 16,0-1-1,0 0-15,14-13 0,-1 13 16,0-13-16,0 0 0,1 0 16,-1 0-16,0 0 0,0 0 15,0 0-15,1 0 0,-1-13 0,0 13 16,0 0-16,1-13 0,-1 13 0,0 0 15,0-13-15,1-1 16,-1 1-16,-13 0 16,13 13-16,-13-13 0,0-1 15,0 1 17,-26 26-1,26 1-31,-14-14 0,14 13 15,0 0 1,0 0-16,0 1 16,14-14-1,-1 0 1,0 0 0,0-14-1,0 14-15,-13-13 16,14 13-16,-1-13 15,0 0 1,0 26 15,1 0-15,-14 0 0,13 1 15,0-28 0,0 14-15,1 0 15,-1 0-15,0 0-1,13 0 1,-12 0-16,-1 0 15</inkml:trace>
  <inkml:trace contextRef="#ctx0" brushRef="#br0" timeOffset="114583.03">13256 6998 0,'0'-13'0,"39"0"16,-12 13-1,-14 0-15</inkml:trace>
  <inkml:trace contextRef="#ctx0" brushRef="#br0" timeOffset="114744.16">13229 7078 0,'-13'13'0,"53"-26"31,-27 13-15,0-14-16,0 14 0,1 0 0,-1-13 15,0 13-15</inkml:trace>
  <inkml:trace contextRef="#ctx0" brushRef="#br0" timeOffset="115635.42">13652 6892 0,'14'0'0,"-1"0"16,0 0 0,0 0-16,-13 14 0,14-14 0,-14 13 15,0 13 1,0-12-16,-14-14 0,1 13 15,13 0-15,-13 0 0,0 0 0,13 1 16,-14-14-16,14 13 0,-13-13 16,13 13-16,-13 0 15,39-13 17,-12 0-32,-1 0 0,0-13 15,0 13-15,1 0 0,12-13 0,-13 0 16,14 13-16,-1-14 0,-13 1 15,1 13-15,-1-13 0,0 13 16,0-13-16,1 0 0,-1-1 16,-26 41 31,-1-27-47,14 13 0,14 0 15,-1 0 1,0-13-16,0 0 15,1 0-15,12 0 16,-13-13-16,0 13 16,-13-13-16,0 0 15,0 0 1,-13-1-16,0 1 16,0 0-1,0 13-15,-1 13 31,28 0-15,-1-13-16,0 0 16,0 14-1,0-14-15,-13 13 0,14-13 16,-1 0-16,-13 13 16,13-13-16,0 0 0,1 0 0,-1 0 15,0 0-15,0 0 0,1 0 16,-1 0-16,0-13 15,0 13-15,0 0 0,-13-13 0,14 13 16,-14-14-16,13 14 0,-13-13 16,0 0-16,0 0 0,0-1 15,-13 1-15,-1 0 16,1 13-16,13-13 0,-13 13 16,0 0-16,0 0 0,-1 0 15,1 0-15,0 0 0,-14 13 0,14-13 16,0 13-16,-14-13 0</inkml:trace>
  <inkml:trace contextRef="#ctx0" brushRef="#br0" timeOffset="116433.22">10927 8083 0,'27'-13'0,"-14"13"16,0-13-16,0 13 0,1 0 15,-1 0-15,0 0 0,14 0 0,-14 0 16,0 0-16,0 0 0,0 0 0,1 0 16,-1 0-16</inkml:trace>
  <inkml:trace contextRef="#ctx0" brushRef="#br0" timeOffset="116611.63">10914 8176 0,'27'0'16,"-14"0"-1,0 0-15,27 0 0,-27 0 0,13-14 16,14 14-16,-14 0 16,-12 0-16,-1-13 0,13 13 0,-12 0 15</inkml:trace>
  <inkml:trace contextRef="#ctx0" brushRef="#br0" timeOffset="119398.56">17740 8295 0,'-13'-14'15,"13"41"1,-13-14 0,13 0-1,0 1-15,0-1 32,0-40 30,0 14-62,-13 13 16,13-13-1,0 39 32,0-12-31,-14-1-16,14 0 31,0-39 32,0 12-48,27 41 16</inkml:trace>
  <inkml:trace contextRef="#ctx0" brushRef="#br0" timeOffset="120056.29">17608 8572 0,'-13'0'0,"0"14"32,13-1-17,-14 0-15,14 0 0,0 1 16,0-1-16,-13-13 0,13 13 15,0 0-15,0 1 16,0-1-16,0 0 16</inkml:trace>
  <inkml:trace contextRef="#ctx0" brushRef="#br0" timeOffset="120437.67">17674 8599 0,'13'0'0,"1"0"16,-1 0-16,0 0 15,-13 13 1,0 0-16,-13 1 15,13-1 1,-13-13-16,13 13 0,-14 0 16,1 1-1,26-1 32,1-13-31,-1 0-1,0 0 1,0-13-16,1 13 16,-1 0-16,0 0 0</inkml:trace>
  <inkml:trace contextRef="#ctx0" brushRef="#br0" timeOffset="120707.89">17939 8572 0,'-13'0'0,"-27"14"31,40-1-31,0 0 16,0 0-1,13-13-15,-13 14 16,0-1-16,13-13 0,-13 13 15,0 0 1,-13 1 0,0-1-16,0 0 15,-1 0-15,1-13 16,0 13-16</inkml:trace>
  <inkml:trace contextRef="#ctx0" brushRef="#br0" timeOffset="120935.46">17582 8864 0,'39'-14'31,"-26"1"-31,14 13 15,-1 0-15,-12 0 0,-1 0 16,0 0-16,0 0 0,1-13 16,-1 13-16</inkml:trace>
  <inkml:trace contextRef="#ctx0" brushRef="#br0" timeOffset="121260.75">17529 8916 0,'0'0'0,"26"-13"15,-13 13 1,1-13-16,12 13 0,-13 0 16,0 0-16,1 0 0,-1 0 0,13 0 15,-26-13-15,14 13 16,-1 0-16,0 0 0,0 0 15,1 0 1,-1 0-16,0 0 16,0 0-1,-13-13 1,13 13 15,1 0-15</inkml:trace>
  <inkml:trace contextRef="#ctx0" brushRef="#br0" timeOffset="124748.42">23072 8268 0,'0'-13'15,"-14"26"32,1 0-47,13 1 16,0-1-16,-13 0 16,13 0-16,-13 1 15,13-1-15,0 0 16,0 0-1,0-39 32,0 13-31,13-1-16,-13 1 31,-13 26 16,13 1-47,-13-1 16,13 0-16,0 0 15,0-39 63,0 13-62,0-1 0,-14 1-1,28 53 32,-14-27-47</inkml:trace>
  <inkml:trace contextRef="#ctx0" brushRef="#br0" timeOffset="125346.84">22807 8625 0,'0'-13'15,"13"13"1,1 13-1,-14 1 1,0-1 0,0 0-16,-14-13 0,14 13 0,-13 1 15,0-1 1,13 0 0,13 0 30,0-26-30,1 13-16,-1 0 16,0 0-1,0 0 1,0 0-16</inkml:trace>
  <inkml:trace contextRef="#ctx0" brushRef="#br0" timeOffset="125727.22">22966 8599 0,'0'-13'0,"26"13"47,-12 0-47,-14 13 0,13-13 0,0 0 31,-13 13-31,0 0 15,13 1-15,-13-1 16,0 0 0,0 0-16,0 1 15,0-1 1,0 0 0,13-13-16</inkml:trace>
  <inkml:trace contextRef="#ctx0" brushRef="#br0" timeOffset="125916.27">22992 8678 0,'40'-13'31,"-27"13"-16,0 0-15,1 0 16,-1 0-16</inkml:trace>
  <inkml:trace contextRef="#ctx0" brushRef="#br0" timeOffset="126211.5">23204 8599 0,'-13'0'0,"0"0"31,13 13-31,0 0 16,13 1-16,-13-1 0,13-13 16,-13 13-16,13-13 15,-13 13-15,0 1 16,0-1-1,-13-13-15,0 0 16,0 13-16,-1-13 0,1 0 0,0 0 16,0 0-16,-27 13 0,27-13 15,-1 0-15,1 0 0,-13 0 16,13 0-16,-14 0 0</inkml:trace>
  <inkml:trace contextRef="#ctx0" brushRef="#br0" timeOffset="127691.51">12025 7885 0,'-26'39'0,"26"-25"16,0-1-16,0 0 16,0 0-16,0 0 15,0 1 1,0-54 31,0 27-47,0 0 0,13-1 15,-13 1-15,0 0 0,0 0 16,13-1-16,-13 1 0,14 13 31,-1 13-15,-13 1-16,13-1 16,-13 0-16,13-13 15,-13 13-15,13 1 16,1-28-1,-1 14 1,-13-13-16,13 0 0,-13 0 16,13-1-1,-13 1-15,14 13 16,-1 13 0,-13 1-1,13-1-15,-13 0 16,0 0-16,0 1 0,13-1 15,-13 0-15,0 0 16,0 0-16,14-13 0,-14 14 16,13-14-16,-13 13 0,13-13 15</inkml:trace>
  <inkml:trace contextRef="#ctx0" brushRef="#br0" timeOffset="128241.08">12396 7964 0,'0'-26'31,"-14"12"-15,1 28-1,0-1 1,13 0-1,0 0 1,13 0-16,0 1 16,1-14-1,-1 0-15,0 0 0,0-14 16,1 14-16,-1 0 0,-13-13 0,13 13 16,0 0-16,-13-13 15,14 13-15,-1-13 16,-40 26 46,27 0-62,14-13 32,-1 0-17,0 0 16,0 0-31,0 13 32,1-13-17,-1 0 1,0 0-16,14 0 16,-14 0-16,0 0 15,0 0-15</inkml:trace>
  <inkml:trace contextRef="#ctx0" brushRef="#br0" timeOffset="128408.67">13004 7911 0,'14'-13'16,"12"13"-1</inkml:trace>
  <inkml:trace contextRef="#ctx0" brushRef="#br0" timeOffset="128571.45">12898 8030 0,'27'0'47,"-27"-13"-47,13 13 0,0 0 0,1 0 16,-1-13-16,0 13 15,0 0-15,1-14 0,-1 14 0</inkml:trace>
  <inkml:trace contextRef="#ctx0" brushRef="#br0" timeOffset="129564.44">13560 7845 0,'0'0'0,"13"0"0,0 0 16,-13 13-1,0 0-15,0 1 16,-13-14-16,13 13 15,-13 0-15,0 0 0,13 1 16,-14-14-16,14 13 0,-13-13 16,13 13-16,-13 0 15,26 0 1,0-13 0,1 0-16,-1 0 15,0-13-15,0 13 0,14 0 0,-14-13 16,13 13-16,-12-13 0,-1 13 0,0-13 15,0-1-15,1 14 16,-1-13-16,0 13 0,0-13 16,-13 0-16,-26 26 47,26 0-32,0 0 1,13 1-16,0-14 15,1 0-15,-1 0 16,0 0-16,0 0 0,0 0 16,1 0-16,-14-14 0,13 14 15,0-13-15,-13 0 16,0 0 0,-13 13-1,0 13 1,13 0-1,0 0 1,13 1-16,0-14 16,0 0-16,-13 13 0,14-13 15,-1 0-15,0 0 0,0 0 0,1-13 16,-1 13-16,0 0 16,-13-14-16,13 1 15,-13 0-15,0 0 16,-13 13-16,13-14 15,-13 14-15,13-13 0,-13 13 0,-1 0 16,-12 13 0,13-13-16,-1 14 15</inkml:trace>
  <inkml:trace contextRef="#ctx0" brushRef="#br0" timeOffset="130574.24">13110 9022 0,'13'-13'16,"1"0"-16,-1 13 15,0 0-15,0 0 0,0 0 16,1 0-16,-1 0 0,0 0 16,0 0-16,1 0 15,12 0-15</inkml:trace>
  <inkml:trace contextRef="#ctx0" brushRef="#br0" timeOffset="130758.73">13203 9128 0,'26'0'32,"-13"0"-17,1-13-15,-1 13 0,0 0 16</inkml:trace>
  <inkml:trace contextRef="#ctx0" brushRef="#br0" timeOffset="133472.06">18693 8268 0,'0'27'63,"0"-14"-63,0 0 15,0 0-15,0 1 16,0-1 0,13-26 31,-13-1-32,0 1-15,0 0 0,0 0 16,0-1-1,0 41 32,0-14-31,0 0 0,0-39 46,0 13-31</inkml:trace>
  <inkml:trace contextRef="#ctx0" brushRef="#br0" timeOffset="136357.03">22000 8281 0,'0'-13'0,"-13"40"46,13-14-30,0 0 0,0 0-16,-13 1 15,13-1 17,13-40 14,-13 14-30,13 0 0,-13 0-1,-13 39 32,13-13-16,0 1-15,-13-14 0,26-27 31,-13 14-32,0 0 1,0-1-16,0 1 62</inkml:trace>
  <inkml:trace contextRef="#ctx0" brushRef="#br0" timeOffset="138580.67">13864 8983 0,'13'-14'0,"14"14"15,-14 14 1,0-14-16,-13 13 15,0 0-15,0 0 16,0 1-16,-13-1 0,0 0 16,13 0-1,-13 0-15,13 1 0,-14-14 16,14 13-16,-13-13 0,13 13 16,-13-13-1,39 13 16,-12-26-15,-1 13-16,0 0 16,0 0-16,1-13 0,-1 13 15,0 0-15,0 0 0,0-13 16</inkml:trace>
  <inkml:trace contextRef="#ctx0" brushRef="#br0" timeOffset="138868.9">14142 9022 0,'-13'-13'15,"-14"13"1,14 13 0,13 1-1,0-1-15,0 0 16,13-13-16,-13 13 16,14-13-16,-14 13 0,13-13 0,0 0 15,0 0-15,0 0 16,-13-13-16,14 13 15,-14-13-15,0 0 16,-14 0 0,1-1-1,0 14 1</inkml:trace>
  <inkml:trace contextRef="#ctx0" brushRef="#br0" timeOffset="139111.63">14235 9022 0,'13'0'0,"-26"0"0,26 14 0,0-14 16,0 0-16,1 13 16,-1-13-16,0 0 15,0 0-15,0 0 16,-13-13-16,14 13 0,-14-14 15,13 14-15,-13-13 16,0 0-16,-13 0 16,-1-1-16,1 1 15,0 13 1,-13 13-16,12-13 16,1 14-16</inkml:trace>
  <inkml:trace contextRef="#ctx0" brushRef="#br0" timeOffset="139319.6">13864 9313 0,'132'-26'31,"-105"26"-31,-1-13 15,1 13-15,-1-14 0,-12 14 0,38-13 16,-38 13-16,-1 0 0,13 0 16,-12 0-16,-1 0 0,0 0 15</inkml:trace>
  <inkml:trace contextRef="#ctx0" brushRef="#br0" timeOffset="139507.03">13983 9366 0,'40'-13'31,"-14"13"-15,-12 0-16,12-13 0,-13 13 0,1 0 16,12-13-16,-13 13 0,0 0 15,14-14-15,-14 14 0,0-13 0,1 13 16,-1 0-16,-13-13 0</inkml:trace>
  <inkml:trace contextRef="#ctx0" brushRef="#br0" timeOffset="140027.39">13957 8758 0,'79'-14'31,"-52"14"-31,-1 0 15,1-13-15,-1 13 0,14 0 0,13-13 0,-14 13 16,1-13-16,0 13 0,-1-13 16,1 13-16,-14-14 0,1 14 15,13 0-15,-14-13 0,-13 13 0,14 0 16,-1 0-16,-13 0 0,1-13 16,-1 13-16,0 0 0,0 0 0,1 13 15,-1-13-15,0 13 16,-13 1-16,0-1 15,0 0-15,13 0 0,-13 0 0,0 1 16,0 12-16,0 1 0,0-14 0,0 13 16,0-12-16,0 12 0,0-13 15,0 14-15,0-1 0,0-13 16,0 1-16,0-1 0,0 13 0,0-12 16,0-1-16,0 0 15,0 0-15,0 0 16,0 1-16,-13-14 0,0 13 15</inkml:trace>
  <inkml:trace contextRef="#ctx0" brushRef="#br0" timeOffset="140623.01">13930 8797 0,'-66'14'15,"132"-28"-15,-145 28 16,66-14-16,-1 0 0,1 0 15,13 13-15,-13-13 0,0 0 16,0 13 0,-1 0-1,14 1-15,-13-1 16,13 0-16,0 0 16,-13 0-16,13 1 0,-13 12 15,13 1-15,0-14 0,-14 13 0,14 1 16,0-1-16,-13 1 0,13-1 15,0 1-15,0 12 0,0-12 0,-13-1 16,13 1-16,0-14 0,0 13 0,0 1 16,0-14-16,0 0 0,0 0 15,0 1-15,0-1 0,0 0 0,0 0 16,0 1-16,13-14 16,0 0-1</inkml:trace>
  <inkml:trace contextRef="#ctx0" brushRef="#br0" timeOffset="143574.51">9036 10954 0,'13'0'15,"0"0"1,0 0 0,0 13-16,14-13 0,-14 0 15,14 0-15,-1 0 0,-13 0 0,14 0 16,12 0-16,-12 0 0,13 0 15,-14 0-15,0 0 0,1 0 0,-1 0 16,1 0-16,-1 0 0,1 0 0,-1 0 16,-13 0-16,14 0 0,-14 0 15,0 0-15,1 0 0</inkml:trace>
  <inkml:trace contextRef="#ctx0" brushRef="#br0" timeOffset="144771.16">12581 10478 0,'0'39'16,"0"-26"-16,13 14 15,-13-1-15,0 1 0,13 12 0,-13 1 16,0-13-16,0-1 0,14 1 0,-14-1 16,0 0-16,0-12 0,13 12 15,-13-13-15,0 1 0,0-1 0,13 0 16,-13 0-16,0 1 15</inkml:trace>
  <inkml:trace contextRef="#ctx0" brushRef="#br0" timeOffset="145131.73">12607 10306 0,'67'-27'0,"-134"54"0,173-54 0,-66 14 16,0 13-16,13-13 0,-1 13 15,1-14-15,0 1 0,13 13 0,-13-13 16,0 13-16,0-13 0,0 13 16,-13-14-16,13 14 0,-27 0 0,1-13 15,-1 13-15,1 0 0,-1 0 16,-13 0-16,14 13 0,-14-13 0,13 14 15,-12-1-15,12 13 0,-13-12 0,14 12 16,-14 14-16,0-14 0,0 1 16,1 12-16,-14-12 0,13-1 0,-13 14 15,0-14-15,13 1 0,-13-1 0,0 1 16,-13-1-16,13 1 0,0-14 16,0 13-16,0-12 0,0-1 0,0 0 15,0 0-15,13 1 0,-13-1 0,13-13 16</inkml:trace>
  <inkml:trace contextRef="#ctx0" brushRef="#br0" timeOffset="147324.54">16854 10954 0,'79'0'0,"-158"0"0,198 0 0,-79 0 0,13 0 15,0 0-15,-1 0 0,15 0 0,-1 0 16,13 0-16,0 0 0,-12 0 16,-1 0-16,0 0 0,0 0 0,-13 0 15,53 0-15,-66 0 0,-14-13 16,0 13-16,1 0 0,-14 0 15,14 0-15,-14 0 0,0 0 16,0 0-16,-52 0 31</inkml:trace>
  <inkml:trace contextRef="#ctx0" brushRef="#br0" timeOffset="147725.56">16828 11218 0,'145'14'0,"27"-28"16,-93 14-16,1 0 0,12 0 15,1 0-15,0 0 0,-1 0 0,14-13 16,-13 13-16,12 0 0,-12 0 16,0 0-16,-14-13 0,14 13 15,-27 0-15,0 0 0,-13 0 0,-13 0 16,-1 0-16,1 0 0,-27 0 0,14 0 16,-14 0-16,0-13 0,0 13 0,0 0 15,1 0-15,-1 0 0,0 0 16,0 0 62,-13-14-78,14 14 16,-1 0-16</inkml:trace>
  <inkml:trace contextRef="#ctx0" brushRef="#br0" timeOffset="149155.95">23032 11046 0,'26'0'16,"-12"0"-16,12 0 15,-13 0-15,14 0 0,-14 0 16,14 14-16,-1-14 0,0 0 16,1 0-16,-1 0 0,1 0 0,-1 0 15,1 0-15,-1 0 0,1 0 0,-14 0 16,13 0-16,-12 0 0,-1-14 15,0 14-15,0 0 0,0 0 0</inkml:trace>
  <inkml:trace contextRef="#ctx0" brushRef="#br0" timeOffset="150999.46">6985 11073 0,'-26'66'16,"26"-40"0,0 1-16,-14-1 0,14 14 0,0-14 15,0 1-15,0 13 0,0-14 0,0 1 16,0-1-16,0 0 0,0-12 16,0 12-16,0-13 0,0 1 15,14-1-15,-14 0 0,0 0 0</inkml:trace>
  <inkml:trace contextRef="#ctx0" brushRef="#br0" timeOffset="151651.32">6839 11007 0,'106'-40'15,"-66"40"-15,277-26 16,-237 26 0,-1 0-16,1 0 0,12 0 0,-12 0 15,-1 0-15,14 0 0,-27 0 16,13 0-16,-13 0 0,-13 0 0,27 0 16,-28 0-16,15 0 0,-14 0 0,13-14 15,-13 14-15,-1 0 0,-12 0 16,-13 0-16,-1 0 0,1 0 0,-1 0 15,-13 0-15,14 0 0,-14 0 0,0 0 16,0 0-16,1 0 16,-1 0-16,0 0 0,0 0 15,-13 14-15,14-14 0,-1 13 16,0-13-16,-13 13 16,13 0-16,0 0 0,-13 1 0,14-1 0,-1 0 15,0 0-15,-13 1 0,27 25 16,-14-26-16,0 1 0,0 12 15,1-13-15,-1 1 0,0-1 0,0 13 16,0-12-16,1-1 0,-1 0 0,0 0 16,0 0-16,1 1 0,-1-1 15,0 0-15,0 0 0,-13 1 16,14-14-16,-14 13 0,0 0 16,-14 0-1,1 1-15,-13-1 0,-1 0 16,1 0-16,-27 0 0,13 1 0,-26-1 15,0 0-15,-14 0 0,1 1 16,0-1-16,-14 0 0,14 0 0,-14-13 16,0 14-16,1-1 0,12-13 0,-12 13 15,13 0-15,12 0 0,-12-13 16,13 14-16,13-14 0,13 13 16,-13-13-16,14 13 0,12-13 0,1 0 0,-1 13 15,1-13-15,13 14 16,-1-14-16,1 0 0</inkml:trace>
  <inkml:trace contextRef="#ctx0" brushRef="#br0" timeOffset="153175.48">17674 9816 0,'93'40'31,"-54"-27"-31,14-13 0,0 0 0,13 13 16,14-13-16,12 0 0,1 0 16,13 0-16,0 0 0,39-13 15,1 13-15,-1 0 0,1-13 0,13 13 16,-1 0-16,14 0 0,-13-14 15,13 14-15,0 0 0,0 0 0,0 0 16,0 0-16,-13 0 0,13 0 0,0 0 16,-14 14-16,1-14 0,0 0 0,-14 13 15,-12-13-15,-1 0 0,-26 13 16,0-13-16,-1 0 0,-12 13 0,-14-13 16,1 0-16,-27 0 0,0 0 15,0 0-15,-14 0 0,-12 0 0,-1 0 16,-13 0-16,1 0 0,-1-13 15,0 13-15,-13-13 16,0 0-16</inkml:trace>
  <inkml:trace contextRef="#ctx0" brushRef="#br0" timeOffset="153571.53">22423 9684 0,'40'13'16,"-27"-13"-1,14 0-15,-14 0 0,13 13 0,1-13 16,-1 0-16,1 13 0,13-13 0,-1 14 15,1-14-15,0 13 0,-1-13 16,1 0-16,0 13 0,26 0 16,-40-13-16,1 0 0,-1 14 0,-13-14 15,14 0-15,-14 13 0,0-13 16,1 0-16,-1 0 0,0 13 16,0-13-16,-13 13 0,14-13 0,-14 13 15,-14 1-15,1-1 16,0 0-16,-14 14 0,-12-14 15,12 0-15,-12 0 0,-1 14 0,13-14 16,-12 0-16,12 0 0,1 1 16,-1-1-16,14 0 0,0 0 0,0-13 15,-1 14-15,1-1 0</inkml:trace>
  <inkml:trace contextRef="#ctx0" brushRef="#br0" timeOffset="160612.78">16073 8652 0,'0'0'0,"0"53"0,-13-27 16,13 14-16,-13 0 0,13 13 0,-13-1 16,0-12-16,-1 13 0,1-13 15,13 13-15,-13-14 0,0 1 0,13 0 16,-14 13-16,1-27 0,13 14 0,-13-1 16,13-12-16,-13-1 0,13-12 15,0-1-15,0 13 0,0-12 0,-14-1 16,14 0-16,0 0 0,0 0 15,0 1 1,0-1-16,-13 0 16,13 0 15,0 1-15,13-14-1,1 0 1,-1 0-16,27 0 15,-27 0-15,0 0 0,0 0 16,1 0-16,12 0 0,-13 0 0,14 0 16,-1 0-16,1 0 0,-1 0 15,14 0-15,-14 0 0,14 0 0,0 0 16,12-14-16,1 14 0,0 0 16,-13 0-16,13 0 0,0 0 0,0 0 15,0 0-15,0 0 0,0 0 0,13 0 16,0 0-16,-13 0 0,13 0 15,13 0-15,-26 0 0,27 0 0,-14 0 16,13 0-16,0 0 0,-12 14 0,12-14 16,0 0-16,-13 0 0,14 13 0,-1-13 15,-13 0-15,14 13 0,-1-13 16,0 0-16,-12 13 0,12-13 16,0 0-16,-12 0 0,12 0 0,-13 14 15,13-14-15,1 0 0,-14 0 16,13 13-16,-26-13 0,13 0 0,-13 0 15,13 0-15,-13 0 0,14 13 0,-15-13 16,1 0-16,13 0 0,-13 0 16,0 0-16,13 0 0,-13 0 0,0 0 15,0 0-15,0 0 0,-13 0 0,13 0 16,0 0-16,0-13 0,-1 13 16,-12 0-16,13 0 0,0 0 0,-13 0 15,-1-13-15,14 13 0,-13 0 16,-14 0-16,14 0 0,-13 0 0,-1 0 15,14-14-15,-14 14 0,14 0 16,-14 0-16,14 0 0,-14 0 0,14-13 16,-13 13-16,12 0 0,-12 0 0,12 0 15,-12-13-15,13 13 0,-14 0 16,14 0-16,-14 0 0,14 0 0,-14-13 16,14 13-16,-14 0 0,14 0 0,-13 0 15,12 0-15,-12 0 0,12 0 16,1 0-16,-13 0 0,26 0 0,-14-14 15,14 14-15,-13 0 0,0 0 0,12 0 16,-12 0-16,-13 0 0,26-13 16,-27 13-16,14 0 0,-14 0 0,14 0 15,-14 0-15,14 0 0,-14 0 16,14 0-16,-13 0 0,12 0 0,1 0 16,0 0-16,-1-13 0,14 13 15,-26 0-15,12 0 0,-12 0 0,12 0 16,1 0-16,-13 0 0,12 0 0,1 0 15,-14 0-15,14 0 0,0 13 16,-14-13-16,14 0 0,0 0 0,-14-13 16,14 13-16,-14 0 0,14 0 0,-14 0 15,1 0-15,-1 0 0,1 0 16,-14 0-16,14 0 0,-1 0 16,0 0-16,-12 0 0,-1 0 0,13 0 15,-12 0-15,-1-13 0,0 13 0,0 0 16,0 0-16,1 0 0,-1 0 15,0 0-15,0-14 0,1 14 0,-1 0 16,0 0-16,0 0 0,1 0 16,-1 0-16,13 0 15,-13 0-15,54 0 32,-54 0-32,0 0 0,0 0 15,1 0-15,-1 0 0,0 0 16,0 0-16,0 0 0,1 0 15,-1 0-15,0 0 0,0 0 16,1 0-16,-1 0 0,0 0 16,0 0-16,0 0 0,1 0 15,-1 0-15,0 0 0,0 0 16,1 0-16,-1 0 0,0 0 16,0 0-16,1 0 15,-1 0-15,0 0 16,0 0-16,0 0 15,1 0-15,-1 0 32,0 0-32,0 0 15,-13 14 1,14-14 0,-1 0-16,0 0 15,0 0 1,1 0 31,-1 0-16,0 0-31,0 0 0,0 0 16,1 0-1,-1 0-15,0 0 16,0 0-16,1 0 15,-1 13-15,0-13 0,0 0 16,1 0-16,-1 0 0,0 0 0,0 0 16,0 0-16,1 0 0,-1 0 15,13 0-15,-12 0 0,-1 0 0,-13 13 16,13-13-16,0 0 0,1 0 0,-1 0 16,0 0-16,0 0 15,0 0 1,1 0-16,-1 0 15,0 0 1,0-13 15,-13 0-15,14 13 0,-14-14-1,0 1-15,13 0 16,-13 0-16,0 0 15,0-1 1,13 1-16,-13 0 16,0 0-1,0-1-15,0 1 16,0 0 0,13 0-16,-13-1 15,0 1 1,0 0 15,0 0-15,0 0 62,13 13-31,-13-14-32,14 1 1</inkml:trace>
  <inkml:trace contextRef="#ctx0" brushRef="#br0" timeOffset="163093.93">16073 8520 0,'-13'0'31,"13"13"-31,-13-13 31</inkml:trace>
  <inkml:trace contextRef="#ctx0" brushRef="#br0" timeOffset="168012.1">17515 8493 0,'0'27'31,"0"-14"-31,-13 0 16,13 0-16,0 14 16,-13-1-16,0 14 0,13-14 15,-14 1-15,14-1 0,-13 1 0,13-1 0,-13-13 16,13 14-16,-13-14 0,13 0 16,0 1-16,-13-1 0,13 0 15,0 0-15,0 0 16</inkml:trace>
  <inkml:trace contextRef="#ctx0" brushRef="#br0" timeOffset="168495.64">17476 8467 0,'39'0'0,"-78"0"0,105-14 16,-40 14-16,14 0 0,-14 0 0,1 0 16,13 0-16,-1 0 0,1 0 0,-14 0 15,14 0-15,-13 0 0,12 0 16,-12 0-16,-1 0 0,1 0 0,-1 0 16,1 0-16,-14 14 0,0-14 15,0 0-15,1 0 0,-1 13 0,0-13 16,0 0-16,0 0 0,1 13 0,-1-13 15,0 13-15,-13 1 16,13-14-16,1 13 0,-14 0 0,13 0 16,0 0-16,-13 1 0,13-1 15,0 13-15,1-12 0,-1 12 0,-13-13 16,26 14-16,-26-1 0,14 1 16,-14-1-16,13-13 0,-13 14 0,13-14 15,-13 14-15,0-14 0,0 0 0,0 0 16,0 0-16,-13 14 0,0-14 15,-1 0-15,-12 14 0,-1-1 0,1-12 16,-14-1-16,1 0 0,-1 13 0,-13-12 16,0-1-16,0-13 15,0 13-15,14 0 0,-14-13 0,26 0 0,-12 0 16,12 0-16,14 0 0,-14 0 16,14 0-16,0-13 0,13 0 15,13 0-15</inkml:trace>
  <inkml:trace contextRef="#ctx0" brushRef="#br0" timeOffset="169364.42">22582 8520 0,'13'0'16,"1"13"-16,-14 0 15,0 0-15,-14 0 0,14 1 16,0-1-16,-13 0 0,13 14 0,-13-14 16,13 13-16,-13-12 0,13-1 15,-14 13-15,14-13 0,0 1 16,-13-1-16,13 0 0,0 0 0,-13 1 16,13-1-16,0 0 15</inkml:trace>
  <inkml:trace contextRef="#ctx0" brushRef="#br0" timeOffset="169918.87">22754 8401 0,'53'-14'0,"-40"14"0,14 0 16,-1-13-16,1 13 0,-1 0 16,1 0-16,12 0 0,-12-13 0,12 13 15,-12 0-15,-1 0 0,1 0 0,-1 0 16,1 0-16,-14 0 0,13 0 16,-12 0-16,-1 0 0,0 0 15,0 0-15,1-13 0,12 13 16,-13 13-16,0-13 15,1 0 1,-1 13-16,-13 0 16,0 1-1,13-1-15,-13 0 0,0 0 16,0 0-16,0 1 0,0-1 0,0 0 16,13 0-16,-13 1 0,0-1 15,0 0-15,0 0 0,14 0 0,-14 1 16,0-1-16,0 0 0,0 0 0,13 1 15,-13-1-15,0 0 0,0 0 16,0 1-16,0-1 0,0 0 0,0 0 16,0 0-16,0 1 15,-13-14-15,13 13 0,0 0 16,-14-13-16,14 13 0,-13 1 0,0-14 16,13 13-16,-13-13 0,-1 13 0,1-13 15,0 13-15,0-13 0,0 0 16,-14 14-16,1-14 0,12 0 0,-25 0 15,12 13-15,1-13 0,-14 0 0,-13 0 16,27 0-16</inkml:trace>
  <inkml:trace contextRef="#ctx0" brushRef="#br0" timeOffset="175368.45">18680 8308 0,'0'-27'79,"-14"14"-64,14 0 1,0 0-16,0 0 0,0-1 15,0-12-15,0 13 16,-13-1 0,13 1-16,0 0 15,0 0 1,0-1 0,0 1-1,13 13-15,-13-13 16,14 13-1,-14-13-15,13 13 0,0 0 16,0 0-16,0-13 0,1 13 16,-1 0-16,0 0 0,0 0 15,1 0-15,12 0 0,-13 0 0,14 0 16,-1 0-16,1-14 0,-14 14 0,27 0 16,-14 0-16,14 0 0,-14 0 15,1 0-15,12 0 0,-12 0 0,-1 0 16,14 0-16,-14 0 0,1 0 15,13-13-15,-14 13 0,1 0 16,12 0-16,-12 0 0,12 0 0,-12 0 16,12 0-16,-12 0 0,13 0 0,-14 0 15,14 0-15,-14 0 0,14 0 16,-14 0-16,1 0 0,13 0 0,-14 0 16,0 0-16,-12 0 0,12 0 0,1 0 15,-1 0-15,0 0 0,1 0 16,-1 0-16,-12 0 0,12 0 0,1 0 15,-1 0-15,-13 0 0,14 0 0,-1 0 16,1 0-16,-1 0 0,-13 0 16,14 0-16,-1 0 0,-13 0 15,14 0-15,-14 0 0,0 0 0,14 0 16,-14 0-16,14 0 0,-14 0 16,0 0-16,13 0 0,-12 0 0,-1 0 15,0 0-15,0 0 0,1 0 0,-1 0 16,13 0-16,-12-13 15,-1 13-15,0 0 0,0 0 16,0 0-16,1 0 0,-1 0 0,0 0 0,0 0 16,1 0-16,-1 0 15,0 0-15,0 0 0,0 0 0,1 0 16,-1 0-16,0 0 0,0 0 16,1 0-16,-1 0 15,0 0-15,0 0 0,1 0 16,-1 0-16,0 0 0,0 0 15,0 0-15,1 0 16,-1 0-16,0-13 0,0 26 0,1-13 16,-1-13-16,0 13 0,0 0 0,14 0 15,-14 0-15,0 0 0,0 0 16,1 0-16,-1 0 0,13 0 0,-12 0 16,-1 0-16,0 0 0,0 0 0,0 0 15,1 0-15,-1 0 0,0 0 16,0 0-16,1 0 0,-1 0 15,0 0-15,0 0 0,14 0 16,-14 0-16,0 0 16,14 0-1,-14 0-15,0 0 16,14 0-16,-14 0 16,0-14-16,0 14 15,1 0-15,-1 0 16,0 0-16,0 0 0,0 0 15,1 0 1,-1 0-16,0-13 16,0 13-16,1 0 15,-1 0-15,0 0 16,0 0-16,1 0 0,-1 0 16,0 0-1,13 0-15,-12 0 16,-1 0-1,0 0 1,0 0 0,1 0-1,-1 0 1,0 0 78,0 0-79,-13-13 17,14 13-1,-1 0 16,0 0 46,-13 13-77,13-13 0,-13 13-16,0 1 15,0-1 1,-13 0-16,13 0 16,0 1-16,0-1 0,-13-13 15,13 13-15,0 0 0,-13-13 0,13 13 16,0 1-16,0-1 0,-14 0 15,14 0-15,0 1 16,0-1-16,0 0 16,0 0-1,0 1 1,0-1 0,0 0 30,-13-13 1</inkml:trace>
  <inkml:trace contextRef="#ctx0" brushRef="#br0" timeOffset="185082.98">13785 7236 0,'39'-13'16,"28"0"-1,-54 13-15,0 0 0,14 0 16,-14 0-16,0 0 0,0 0 15,0 0-15,1-13 0,-1 13 0,0 0 16,0 0-16,1 0 0,-1 0 16,0 0-16,0 13 15</inkml:trace>
  <inkml:trace contextRef="#ctx0" brushRef="#br0" timeOffset="185400.98">13719 7316 0,'0'0'0,"-14"0"0,54 0 31,-27 0-15,1 0-16,-1 0 0,0-14 15,13 14-15,-12 0 0,-1 0 0,13 0 16,-12 0-16,-1 0 0,0-13 0,14 13 15,-14 0-15,0 0 0,0 0 16,0 0-16,1 0 16,-1 0-16,0 0 15,-13-13-15,13 13 16,1 0 0,-1 0 15</inkml:trace>
  <inkml:trace contextRef="#ctx0" brushRef="#br0" timeOffset="187297.28">14446 6760 0,'0'27'47,"0"-14"-31,0 0-16,0 0 15,0 0-15,0 1 0,0-1 16,-13 0-1,13 0-15,13 1 16</inkml:trace>
  <inkml:trace contextRef="#ctx0" brushRef="#br0" timeOffset="187589.42">14380 6853 0,'0'-14'16,"0"28"-16,27-28 31,-14 14-16,0 0-15,0-13 16,0 13-16,14 0 16,-14 0-16,0 0 15,1 0-15,-14 13 16</inkml:trace>
  <inkml:trace contextRef="#ctx0" brushRef="#br0" timeOffset="188026.74">14354 7025 0,'39'0'16,"-25"0"-1,-1 0-15,0 0 0,0 0 16,0 0-16,1 0 0,-1 0 0,0 0 16,0 0-16,14 0 15,-14 0 1,0 0-16,1 0 16,-1 0-1,-13 13 16</inkml:trace>
  <inkml:trace contextRef="#ctx0" brushRef="#br0" timeOffset="191576.53">14843 6800 0,'13'-27'16,"1"27"-1,-1 0-15,0 0 0,13 0 16,-12 0 0,-1 0-16,0 0 0,-13 14 15,13-14-15,-13 13 0,0 0 16,0 0-1,0 0-15,-13 1 0,13-1 16,-13-13-16,13 13 0,-13 0 0,-1-13 16,14 14-16,-13-14 15,13 13-15,-13-13 0,0 13 16,26 0 31,0-13-32,0 0-15,1 0 16,-1 0-16,0 0 0,0 0 16,1 0-16,-1 0 0,0-13 15,0 13-15,1 0 0</inkml:trace>
  <inkml:trace contextRef="#ctx0" brushRef="#br0" timeOffset="192271.61">15174 6760 0,'-13'0'0,"-14"13"16,14 1-1,13-1-15,-13 0 16,13 0-16,0 0 15,13-13-15,-13 14 16,13-14-16,-13 13 0,13-13 16,1 0-16,-1 0 0,0 13 15,0-13 1,1-13-16,-1 13 16,0-13-1,-26-14 1,0 14-1,-1 13-15,1-13 16,0 13 0,13-13-1,13 13 1,0-14 0,1 14-1,-1 0-15,0 0 16,0 0-16,-13-13 15,13 26 1,-13 1 0,0-1-16,14 0 15,-14 0-15,0 0 16,13 1-16,0-14 16,-13 13-16,13-13 0,1 0 15,-1 0-15,0 13 0,0-13 0,1 0 16,-14-13-16,13 13 0,0 0 15,0 0-15,0-13 0,1-1 16,-14 1-16,0 0 16,0 0-16,-14 0 15,1-1-15,0 1 16,0 13-16,0 0 0,-1 0 0,1 0 16,0 0-16,0 0 15,-1 0-15,1 0 0,0 13 0,0-13 16,-1 14-16,1-1 15</inkml:trace>
  <inkml:trace contextRef="#ctx0" brushRef="#br0" timeOffset="193476.88">15108 6112 0,'0'26'47,"0"-12"-47,0-1 0,0 0 16,0 0-16,13 0 15,-13 1-15,0-1 0,13 0 0,0 0 16,-13 1-16,14-14 15,-1 0-15,-13 13 0,13-13 16,0 0-16,1 0 0,-1 0 16,0 0-16,0-13 0,0-1 15,1 1 1,-14 0-16,0 0 0,0-1 16,0 1-16,0 0 0,-14 0 15,14 0-15,-13 13 0,0-14 16,13 1-16,-13 13 0,0-13 0,-1 13 15,1-13-15,0 13 16,0 0-16,-1 0 16,1 0-16,0 0 15,0 0-15</inkml:trace>
  <inkml:trace contextRef="#ctx0" brushRef="#br0" timeOffset="193884.66">15465 6204 0,'26'0'15,"-12"0"-15,-1 0 0,0-13 16,14 13-16,-14 0 0,0 0 0,13 0 16,-12 0-16,12 0 0,-13 0 0,1 0 15,12 0-15,-13 0 0,0-13 16,1 13-16,-1 0 0</inkml:trace>
  <inkml:trace contextRef="#ctx0" brushRef="#br0" timeOffset="194168.74">15663 6085 0,'27'0'0,"-14"14"16,0-14-16,0 0 0,67 39 31,-67-25-31,0-1 16,-13 0-16,14-13 16,-14 13-16,0 0 0,-14 1 15,14-1-15,-13 0 0,13 0 16,-13-13-1,13 14-15,0-1 16</inkml:trace>
  <inkml:trace contextRef="#ctx0" brushRef="#br0" timeOffset="194504.34">16179 6125 0,'0'-13'0,"-26"39"32,13-12-32,-1-1 0,1-13 0,0 13 15,0 0-15,-1 0 0,1 1 16,13-1-16,-13-13 0,13 13 0,-13-13 15,13 13-15,0 1 16,0-1-16,13-13 16,-13 13-16,13-13 0,0 0 15,1 0-15,-1 0 16,0 0-16,0 0 0,1 0 16,-1 0-16,0 0 0,0 0 0,0 0 15,1 0-15,-1 0 0,0 0 0,0 0 16,-13-13-16</inkml:trace>
  <inkml:trace contextRef="#ctx0" brushRef="#br0" timeOffset="194712">16232 6178 0,'-26'13'16,"26"0"-16,0 1 15,-14-1 1,14 0-16,-13-13 0,13 13 0,0 1 16,-13-1-16,13 0 0,0 0 15,0 1 1,0-1-16</inkml:trace>
  <inkml:trace contextRef="#ctx0" brushRef="#br0" timeOffset="195296.42">16325 6204 0,'0'-13'0,"-13"13"0,-1 13 31,1-13-31,13 14 16,0-1-16,-13 0 0,13 14 15,13-27 1,-13 13-16,13-13 0,-13 13 15,14-13-15,-1 0 0,0 0 0,13 0 16,-12 0 0,-14-13-16,13 13 15,-13-13-15,13-1 16,-13 1-16,-13 0 0,13-14 16,-13 14-1,13 0 1,-14 13-1,41 0 17,-14 13-17,0 0-15,1-13 16,-1 14 0,0-14-16,0 13 15,1-13-15,-1 13 16,0-13-16,0 13 15,0-13-15,1 0 0,-1 0 16,0 0-16,0 0 16,1 0-16,-1 0 15,-13-13-15,13 13 0,-13-13 16,-13 0 0,13-1-16,-13 1 15,-1 13-15,1-13 0,0 13 16,-14 0-16,1 0 0,13 0 15,0 0-15,-14 0 0,14 13 16,-40-13-16,26 13 0</inkml:trace>
  <inkml:trace contextRef="#ctx0" brushRef="#br0" timeOffset="196704.75">14261 7792 0,'0'26'47,"0"-12"-31,0-1-1,0 0-15,0 0 16,0 1-16,0-1 16,0 0-16,0 0 15</inkml:trace>
  <inkml:trace contextRef="#ctx0" brushRef="#br0" timeOffset="196965.22">14221 7898 0,'0'-13'15,"14"13"1,-1-14-16,0 14 15,0 0-15,1 0 16,-1 0-16,0 0 16,0-13-16,0 26 15,1-13-15</inkml:trace>
  <inkml:trace contextRef="#ctx0" brushRef="#br0" timeOffset="197251.81">14168 8057 0,'27'0'16,"-14"0"0,0 0-16,1 0 15,-1 0-15,0 0 0,0 0 16,1-14-16,-1 14 16,13 0-16,-13 0 15,1 0-15,-1 0 0,0 0 16</inkml:trace>
  <inkml:trace contextRef="#ctx0" brushRef="#br0" timeOffset="199647.78">14803 7752 0,'0'-13'16,"14"13"0,-1-13-16,0 13 15,0 0 1,-13-13-16,14 13 16,-54 13 15,27-13-31,-1 0 15,14 13-15,-26-13 0,13 13 16,0-13-16,-1 14 0,1-14 16,0 0-16,13 13 0,-13-13 15,26 13 17,0-13-32,-13 13 0,13-13 15,1 0-15,-1 0 0,0 0 16,0 13-16,0-13 0,1 0 0,-1 0 15,0 14-15,0-14 16,-13 13-16,0 0 16,0 0-1,-13-13-15,0 14 0,0-14 16,-1 0-16,1 13 0,0-13 16,0 13-16,0-13 15,-1 0-15,1 0 0,0 13 16</inkml:trace>
  <inkml:trace contextRef="#ctx0" brushRef="#br0" timeOffset="199982.61">14949 7792 0,'0'26'31,"0"-12"-31,13-14 0,0 13 16,1 0-1,-1-13-15,0 0 0,0 13 16,14-13-16,-14 0 0,0 0 0,14 0 16,-14-13-16,0 13 0,0 0 0,1 0 15,-14-13-15,13 13 0,0-13 16,-26-14-1,0 14-15,-1 0 0,1 0 16,0 13-16,0-14 0,-14 14 16,14-13-16,0 13 0,-14 0 0,14-13 15,-13 13-15,12 0 0,1 0 0,0 0 16,0 13-16,-1-13 16,1 13-16,0-13 15</inkml:trace>
  <inkml:trace contextRef="#ctx0" brushRef="#br0" timeOffset="202038.72">14526 7739 0,'26'0'31,"1"0"-16,-27-13-15,26 13 0,-13 0 16,0 0-16,1 0 0,-1 0 16,0-13-16,14 13 0,-14 0 0,0 0 15,0-14-15,1 14 0,-1 0 16,0 0-16,0 0 16,0 0-16,-13-13 15,14 26 1,-14 1-16,-14-1 15,14 0-15,0 14 0,-13-14 16,13 0-16,0 13 0,-13-12 0,13 12 16,0-13-16,0 1 0,-13 12 0,13-13 15,0 1-15,0 12 16,0-13-16,0 0 0,-13 1 0,13-1 16,0 0-16,0 0 0,0 1 15,13-14 1,-13 13-16,13-13 15,0-13 1</inkml:trace>
  <inkml:trace contextRef="#ctx0" brushRef="#br0" timeOffset="202281.56">14658 7885 0,'13'-14'32,"14"14"-17,-14 0-15,0 0 0,0-13 0,14 13 16,-14 0-16,13 0 0,1-13 0,-14 13 16,14 0-16,-1 0 15,-13-13-15,14 13 0,-14 0 0,13 0 16,-12 0-16,-1-14 0,13 14 0,-12 0 0,-1 0 15,0 0-15,0 0 16</inkml:trace>
  <inkml:trace contextRef="#ctx0" brushRef="#br0" timeOffset="203291.72">15280 7766 0,'-14'-14'0,"28"14"16,-1-13-16,0 13 15,0 0-15,1-13 16,-1 13-16,0 0 15,-53 0 32,27 0-47,-13 0 0,12 13 16,-12-13-16,0 13 0,-1-13 0,1 0 16,-1 14-16,1-14 0,-1 13 15,1-13-15,-1 13 0,14-13 0,0 0 16,0 13-16,-1-13 0,1 0 15,0 0-15,13 13 0,-13-13 16,26 14-16,-13-1 16,13-13-16,0 0 0,-13 13 15,14-13-15,-1 0 0,13 13 0,-12-13 16,-1 14-16,0-14 0,13 13 16,-12-13-16,-1 13 0,0-13 0,0 13 15,1 1-15,-1-14 16,-13 13-16,13-13 0,-13 13 15,0 0-15,0 0 16,-13-13-16,13 14 0,-13-14 0,-1 13 16,1-13-16,0 13 15,-14-13-15,14 0 0,-13 13 0,13-13 16,-14 0-16,14 14 0,0-14 0,-14 0 16,14 0-16,0 0 0,-1 0 15,1 0-15,0 13 16,0-13-16,39-13 47,-13 13-47,1 0 0,-1 0 0,13-14 0,-12 14 15,12 0-15,-13-13 0,14 13 0,-14 0 16,13 0-16,-12-13 16,-1 13-16,0 0 0,0-13 0,1 13 15,-1 0-15,0 0 0,0-14 16,1 14-16,-1-13 15,-13 0 1,0 0 0,-13 0-16,-1-1 15,1 14-15,0-13 0,-14 0 16,1 0-16,13-1 0,-14 1 16,14 13-16,0-13 0,-14 0 15,14 13-15,0-14 0,0 1 16,-1 13-16,1 0 15,13-13-15,13 0 16,1 0 0,-1 13-16,0 0 0,0 0 0,14-14 15,-14 14-15,0 0 0,14 0 0,-14-13 16,0 13-16,0 0 0,1 0 16,-1-13-16,0 13 15,0 0-15,1 0 0,-1 0 16,-13-13-1</inkml:trace>
  <inkml:trace contextRef="#ctx0" brushRef="#br0" timeOffset="205611.9">17780 8401 0</inkml:trace>
  <inkml:trace contextRef="#ctx0" brushRef="#br0" timeOffset="206494.55">22013 8480 0</inkml:trace>
  <inkml:trace contextRef="#ctx0" brushRef="#br0" timeOffset="207466.67">14883 8189 0,'66'-13'0,"-53"13"0,67-14 15,-67 14 1,13 0-16,1 0 0,-1 0 0,-13-13 16,14 13-16,-14 0 0,0 0 0,1 0 15,-1 0-15,-40 13 31,14 1-31,0-14 16,-14 0-16,1 13 0,13-13 0,-14 0 16,1 13-16,13-13 15,-14 0-15,14 13 0,0-13 0,-1 0 16,1 0-16,0 0 0,13 14 0,13-1 31,0-13-15,1 0-16,-1 0 0,0 0 0,0 0 15,1 0-15,-1 0 0,0 0 16,0 0-16,0 0 0,1-13 0,-1 13 16,0 0-16,0 0 0,1 0 15,-1 0-15,-13-14 16,13 14-16,0-13 0</inkml:trace>
  <inkml:trace contextRef="#ctx0" brushRef="#br0" timeOffset="208055.57">15161 7117 0,'13'-13'16,"0"13"0,-13-13-16,13 13 15,1 0-15,-1 0 0,0-13 0,13 13 16,-12 0-16,-1 0 0,0-14 15,14 14-15,-14 0 0,0 0 0,0 0 16,1 0-16</inkml:trace>
  <inkml:trace contextRef="#ctx0" brushRef="#br0" timeOffset="208451.4">15108 7131 0,'66'-14'31,"-53"14"-31,14 0 16,-14 0-16,0 0 0,0 0 0,0-13 16,1 13-16,-1 0 15,0 0-15,0 0 0,1 0 16,-1 0-16,0-13 15,0 13 17,1 0-17,-1 0 1,0 0 78,0 0-79</inkml:trace>
  <inkml:trace contextRef="#ctx0" brushRef="#br0" timeOffset="210527.6">14922 9036 0,'0'-14'31,"-13"41"0,13-14-31,0 0 0,0 0 16,0 1-16,-13-1 16,13 0-16,0 0 0,0 1 15,0 12 1,0-13-16,0 1 15</inkml:trace>
  <inkml:trace contextRef="#ctx0" brushRef="#br0" timeOffset="210763.47">14817 9194 0,'-14'0'0,"28"-13"47,12 13-47,-13 0 0,1 0 16,-1 0-16,0 0 15,0 0-15,0 0 16,1 0-16,-1 0 0</inkml:trace>
  <inkml:trace contextRef="#ctx0" brushRef="#br0" timeOffset="211075.73">14737 9379 0,'27'0'16,"-1"0"-1,1 0 1,-14 0-16,0 0 16,0-13-16,1 13 0,-1 0 15,0 0-15,0 0 16,0 0-16,1 0 15,-1 0 1,0-13 0,0 13-1,1 0-15,-1-13 0</inkml:trace>
  <inkml:trace contextRef="#ctx0" brushRef="#br0" timeOffset="212463.09">15544 9141 0,'27'0'16,"-27"-13"0,13 13-16,-39 13 47,12-13-47,1 0 0,0 14 15,0-14 1,-1 0-1,14 13-15,14 0 32,-1-13-17,0 13-15,0-13 16,1 0 0,-1 14-16,-26-1 46,-1-13-46,14 13 0,-13-13 0,0 0 16,13 13-16,-13-13 0,-1 0 16,1 0-16,13 13 15</inkml:trace>
  <inkml:trace contextRef="#ctx0" brushRef="#br0" timeOffset="212734.78">15637 9155 0,'13'13'0,"-13"13"16,13-26 0,1 14-16,-1-14 15,0 0 1,13 0-16,-12-14 15,-1 1 1,-13 0 0,-13 0-1,-1-1-15,1 14 16,0 0-16,-13 0 16,12 14-16</inkml:trace>
  <inkml:trace contextRef="#ctx0" brushRef="#br0" timeOffset="213584.8">14129 9432 0,'0'14'31,"13"-14"-15</inkml:trace>
</inkml:ink>
</file>

<file path=ppt/ink/ink14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2:54.296"/>
    </inkml:context>
    <inkml:brush xml:id="br0">
      <inkml:brushProperty name="width" value="0.05292" units="cm"/>
      <inkml:brushProperty name="height" value="0.05292" units="cm"/>
      <inkml:brushProperty name="color" value="#0070C0"/>
    </inkml:brush>
  </inkml:definitions>
  <inkml:trace contextRef="#ctx0" brushRef="#br0">19738 2725 0,'-53'0'15,"106"-13"17,-27 13-32,27 0 0,-13 0 0,39-13 15,1 13-15,-1-13 0,14 13 16,-14 0-16,14-14 0,-1 14 0,1-13 15,0 13-15,-1-13 0,1 13 0,-14 0 16,0 0-16,1-13 0,-27 13 0,13 0 16,-13 0-16,0 0 0,-27 13 15,14-13-15,-27 0 0,14 0 16,-14 0-16,0 0 0,0 0 0,-13 13 16,-39-13-1,12 13-15,-13-13 0,-13 14 16</inkml:trace>
  <inkml:trace contextRef="#ctx0" brushRef="#br0" timeOffset="271.98">20082 2818 0,'0'0'0,"66"0"16,-40 0-16,27 0 15,14 0-15,12 0 0,-13 0 0,13 0 16,1 0-16,-1 0 0,-13 0 15,14-13-15,-1 26 0,0-13 0,1 0 16,-14 0-16,0 0 0,-13 0 16,13 0-16,-13 0 0,0 13 0,-27-13 15,14 0-15,-13 0 0,-14 0 0,13 0 16,-12 0-16,-1 0 0,0 0 0,0 0 16,0 0-16,-13 13 15,-13-13 1,0 0-16,-13 14 0,-1-14 0,1 0 15,-27 0-15</inkml:trace>
  <inkml:trace contextRef="#ctx0" brushRef="#br0" timeOffset="1401.85">15690 2831 0,'-13'0'16,"65"0"15,-25 0-31,-1 0 0,14-13 15,0 13-15,13 0 0,0 0 0,0 0 16,-1 0-16,1-13 0,13 13 0,-13 0 16,14 0-16,-15 0 0,1 0 15,0 0-15,0 0 0,-13 0 16,-14 0-16,14 0 0,-13 0 0,-1 0 16,0 0-16,-12 0 0,12 0 0,-13 0 15,1 0-15,-1 0 16,-40 13-1,1-13-15</inkml:trace>
  <inkml:trace contextRef="#ctx0" brushRef="#br0" timeOffset="1731.83">15571 2950 0,'39'0'15,"-12"0"-15,-1 0 16,1 0-16,26 0 0,13 0 0,-13 0 16,26-13-16,-13 13 0,0 0 15,1 0-15,12 0 0,-13-13 0,-13 13 16,13 0-16,-13 0 0,0-14 0,-13 14 16,13 0-16,-27 0 0,14 0 15,-14 0-15,-13 0 0,14 0 16,-14 0-16,0 0 0,1 0 0,-1 0 15,0 0-15,0 0 0,1 0 16,-1 0-16,-40 0 47,14 14-31,0-14-16,0 0 0</inkml:trace>
  <inkml:trace contextRef="#ctx0" brushRef="#br0" timeOffset="12332.53">9895 8758 0,'-105'13'15,"78"0"-15,14-13 0,-14 13 0,1 1 16,0-1-16,-1 13 0,1-12 16,-1-1-16,14 0 0,0-13 0,-1 13 15,1 0-15,0-13 0,13 14 16,26-14 15,1 0-31,-14-14 0,0 14 16,1 0-16,12 14 0,-13-14 0,1 13 15,-1 0-15,0 14 0,0-1 0,0 1 16,-13-1-16,0 0 0,0 14 16,-13 13-16,13-13 0,-13-1 0,0 1 15,13 0-15,-13-14 0,-1 14 16,14-14-16,0 1 0,-13-14 0,13 0 15,0 1-15,13-1 0,-13 0 16,14 0-16,-1 0 0,0-13 16,0 0-16,0 0 0,14 0 0,-1-13 15,1 13-15,-1-13 0,14 0 16,-14 0-16,14-1 0</inkml:trace>
  <inkml:trace contextRef="#ctx0" brushRef="#br0" timeOffset="12928.7">10464 9049 0,'-13'13'31,"0"0"-31,0 0 0,-1 1 15,1-1-15,-13 0 16,12 0-16,1 1 0,-13-1 0,-1 13 16,14-26-16,0 14 0,0-1 15,-1 0-15,14 0 16,0 0 0,14-13-16,-1 0 0,0 14 15,0-14-15,1 0 0,12 0 16,-13 0-16,14 0 0,-1 0 0,1 0 15,-1 0-15,-13-14 0,14 14 0,-1 0 16,-13 0-16,1-13 0,-1 13 0,0 0 16,0-13-16</inkml:trace>
  <inkml:trace contextRef="#ctx0" brushRef="#br0" timeOffset="13117.97">10411 9036 0,'0'13'0,"-13"0"0,26 0 16,-13 0-16,0 1 0,0 12 0,0 133 47,14-133-47,-14 1 0,0-1 0,0 1 15,0-14-15,0 0 0</inkml:trace>
  <inkml:trace contextRef="#ctx0" brushRef="#br0" timeOffset="13325.59">10769 9274 0,'13'0'0,"-13"13"0,0 0 16,0 0-16,-40 93 31,27-79-31,0-1 0,-1 1 0,-12 12 16,26-12-16,0-14 0,0 0 15,13 0 1</inkml:trace>
  <inkml:trace contextRef="#ctx0" brushRef="#br0" timeOffset="13724.68">11271 9049 0,'-66'172'16,"66"-133"-16,53-39 16,-40-211-16,-39 422 15,13-211-15,-1-13 16,1 26-16,0-13 0,0 0 16</inkml:trace>
  <inkml:trace contextRef="#ctx0" brushRef="#br0" timeOffset="13918.1">11483 9300 0,'13'0'0,"-26"0"0,26 13 0,0-13 0,-13 14 16,0-1-16,0 0 0,0 13 15,0-12-15,0 12 0,-13-13 16,0 14-16,0-1 0,-1 1 15,1-14-15,13 13 0,-13-12 0,-13 12 16,26-13-16,-14 1 0</inkml:trace>
  <inkml:trace contextRef="#ctx0" brushRef="#br0" timeOffset="15096.66">11337 8692 0,'-39'0'16,"25"0"-1,1 13-15,0 0 0,0-13 0,0 13 16,-1 0-16,1 14 0,0-14 16,0 14-16,-1-14 0,1 13 0,-13 14 15,-14 53-15,27-67 16,0 1-16,13-1 16,-14-13-16,14 14 0,-13 12 0,13-12 15,0-14-15,0 14 0,0-14 0,0 0 16,0 0-16,0 0 0,0 1 15,13-1-15,-13 0 0,0 0 16,14 1-16,-14-1 0,13-13 16,-13 13-16,13-13 0,0 0 0,0 0 15,1 0 1,-1 0-16,0 0 0,-13-13 16,13 13-16,1 0 0,-1-13 15,0 13-15,0 0 0,-13-14 16,14 14-16,-14-13 0,13 0 0,0 13 15,-13-13-15,13 13 0,-13-14 0,13 1 16,-13 0-16,14 0 16,-14 0-16,0-1 0,13 14 15,-13-13-15,0 0 0,0 0 16,0-1-16,0 1 16,0 0-1,-13 0-15,13-1 0,-14 1 16,1 13-16,13-13 0,-13 13 15,0-13-15,0 13 0,13-13 16,-14 13-16,1-14 0,-13 14 16,12 0-16,1 0 0,0-13 0,-14 13 0,14 0 15,0 0-15,-13 0 0,12 13 16,1-13-16,0 0 0,0 14 0,-1-14 16,1 0-16</inkml:trace>
  <inkml:trace contextRef="#ctx0" brushRef="#br0" timeOffset="16057.75">12396 8996 0,'0'-13'0,"13"-1"16,-13 1-1,0 0-15,0 0 0,-13-1 16,13 1-16,-14 0 0,1 13 15,-13-13-15,13 13 16,-1-13-16,-25 13 16,12 13-16,1-13 0,-1 13 0,1 0 15,-1 0-15,1 1 0,-1-1 16,1 13-16,0-12 0,12 12 0,14-13 16,-13 1-16,13-1 0,0 0 15,0 0-15,13-13 0,1 13 16,-1-13-16,0 0 0,0 0 0,0-13 15,14 13-15,-1-13 0,14 0 0,-13 0 16,-1-14-16,-13 14 0,14 13 16,-14-13-16,0-1 0,0 14 15,1-13-15,-1 13 0,0 0 16,0 13-16,-13 1 0,0-1 16,0 0-16,0 14 15,0-14-15,0 13 0,-13 1 0,13-1 16,0 1-16,-13-1 0,13-13 0,0 14 15,-13-14-15,13 13 0,0-12 16,13-1-16,-13 0 0,0 0 0,0 1 16,13-14-16,0 0 0,-13 13 0</inkml:trace>
  <inkml:trace contextRef="#ctx0" brushRef="#br0" timeOffset="16330.83">12912 9208 0,'39'52'31,"-39"-38"-31,0-1 0,0 0 15,0 14-15,-13-14 0,13 13 0,-13 1 16,0-1-16,-1-13 0,1 14 16,0-14-16,0 0 0,0 1 0,-1-1 15,14 0-15,-13 0 16</inkml:trace>
  <inkml:trace contextRef="#ctx0" brushRef="#br0" timeOffset="16813.66">13481 8983 0,'26'0'0,"0"26"31,-12-26-31,-14 13 0,0 1 0,0-1 16,0 0-16,-14 0 15,14 0-15,-13 1 0,0-1 16,13 0-16,-13-13 15,26 13 1,0 1 0,0-14-16,1 13 0,-1 0 15,0-13-15,-13 13 16,0 1-16,0-1 16,-13 0-16,0 0 0,-1 0 0,1 1 15,-13-1-15,-1 0 0,1 0 0,13 1 16,-14-14-16,14 13 0,-14 0 15,14-13-15,0 0 0,0 0 16,0 0-16,-1-13 16,28 0-16</inkml:trace>
  <inkml:trace contextRef="#ctx0" brushRef="#br0" timeOffset="17210.62">14036 8956 0,'27'-13'15,"-1"26"1,-13-13-16,1 0 0,-1 0 16,0 0-16,27 0 15,-27 13-15,13-13 16,-12 0-16,-1 14 0,0-1 16,0 0-16,-13 0 15,0 1-15,0-1 0,0 0 0,0 0 16,-13 14-16,13-14 0,0 0 0,-13 27 15,13-27-15,0 0 16,0 1-16,0-1 0,-13 0 0,13 0 16,0 0-16,0 1 0,0-1 15,0 0 1</inkml:trace>
  <inkml:trace contextRef="#ctx0" brushRef="#br0" timeOffset="17407.97">13917 9221 0,'27'0'47,"-14"-13"-47,0 13 0,13 0 0,-12 0 16,-1 0-16,13 0 0,-12 0 15,12 0-15,-13 0 0,1 0 0,-1 0 16,0 0-16,0 0 0,0 0 0,-13 13 15,14-13-15</inkml:trace>
  <inkml:trace contextRef="#ctx0" brushRef="#br0" timeOffset="17639.02">13824 9313 0,'0'14'0,"0"-1"0,-13 13 16,13 1-16,-13-14 0,0 13 15,-133 173 17,120-173-32,13-12 0,-1-1 0,1 0 15,0 0-15,0-13 0,13 13 0</inkml:trace>
  <inkml:trace contextRef="#ctx0" brushRef="#br0" timeOffset="18149.02">14698 8639 0,'13'13'16,"0"53"-1,-13-40-15,-13 1 16,13-14-16,0 14 0,-13-1 16,13 1-16,-14-14 0,14 13 0,0-13 15,0 1-15,0-1 0,0 0 16,0 0-16,14-13 0,-1 0 16,0 0-16,0 0 15,1 0-15,-1 0 16,0 14-16,0-1 15,-13 0 1,13 0-16,-13 14 0,0-14 0,0 13 16,0 1-16,0-1 0,-13 14 0,13 0 15,-13-1-15,0 1 0,0-13 16,-1 12-16,-12-12 0,13 12 16,-14-12-16,1-1 0,-1 1 0,1-1 15,13-13-15,-14 14 0,1-14 0,12-13 16,-12 13-16,13 1 0,-14-14 0,14 0 15,0 0-15,-14 0 0</inkml:trace>
  <inkml:trace contextRef="#ctx0" brushRef="#br0" timeOffset="19441.82">8229 9551 0,'13'-13'0,"0"0"15,0 13-15,14 0 16,-14-13-16,0 13 0,14 0 15,-1 0-15,-13-13 0,14 13 0,-1 0 16,1 0-16,-14 0 0,0 0 0,14 13 16,-14 0-16</inkml:trace>
  <inkml:trace contextRef="#ctx0" brushRef="#br0" timeOffset="19616.96">8123 9750 0,'-14'0'0,"41"0"32,-1 0-32,-12-13 0,12 13 15,1 0-15,-1-14 0,0 14 0,1 0 16,-1 0-16,1-13 0,-14 13 0,14 0 16,-1 0-16,-13 13 0,0-13 15,1 0-15</inkml:trace>
  <inkml:trace contextRef="#ctx0" brushRef="#br0" timeOffset="19841.64">8083 10226 0,'13'-13'16,"0"13"-16,1-13 16,-1 13-16,0 0 0,0 0 15,1-14-15,12 14 0,-13 0 16,1 0-16,12 0 0,-13 0 0,0 0 16</inkml:trace>
  <inkml:trace contextRef="#ctx0" brushRef="#br0" timeOffset="20382.79">8096 10438 0,'66'-13'16,"-52"13"-16,-1 0 15,0-14-15,0 14 0,14 0 16,-1-13-16,-13 13 0</inkml:trace>
  <inkml:trace contextRef="#ctx0" brushRef="#br0" timeOffset="21031.84">9750 10848 0,'-13'26'32,"-1"-12"-32,14-1 15,-13 0-15,0 14 0,0-14 0,13 0 16,-13 13-16,-1-12 0,1 12 0,13-13 15,-13 1-15,13-1 0,-13 0 16,-1 0-16,14 0 0,0 1 16,0-1-16,14-13 15,-1 13 1,0-13-16,0 0 0,1 0 16,-1 0-16,13 0 0,-13 0 0,1 0 15,-1 0-15,13 0 16,-12 0-16,12 0 0,-13-13 0,0 13 15,14 0-15,-14 0 0,0-13 0,1 13 16</inkml:trace>
  <inkml:trace contextRef="#ctx0" brushRef="#br0" timeOffset="21341.36">10134 10861 0,'0'-13'15,"0"39"17,0-12-32,0-1 0,13 0 15,-13 0-15,13 1 0,-13-1 0,13 0 16,-13 0-16,13 0 0,1-13 0,-14 14 16,13-14-16,-13 13 0,13-13 15,-13 13-15,13-13 16,14-13-1,-27 0 1,0-1-16,0 1 0,0 0 16,13 0-16,-13 0 0,0-1 0,13 14 15,-13-13-15,14 0 0,-1 13 16,0-13-16,0 13 0,0-14 16</inkml:trace>
  <inkml:trace contextRef="#ctx0" brushRef="#br0" timeOffset="21604.85">10941 10927 0,'52'0'0,"-38"0"0,65 0 32,-66 0-17</inkml:trace>
  <inkml:trace contextRef="#ctx0" brushRef="#br0" timeOffset="21784.42">10808 11112 0,'53'0'15,"-40"0"1,14-13-16,-14 13 0,14 0 0,-1-13 15,0 13-15,14 0 0,-13 0 0,-1-13 16</inkml:trace>
  <inkml:trace contextRef="#ctx0" brushRef="#br0" timeOffset="22222.07">12263 10769 0,'40'13'31,"-27"-13"-31,-13 13 16,14-13-16,-14 13 0,0 0 16,-14-13-16,14 14 0,0-1 15,-13 0-15,13 0 16,13 1 0,1-14-16,-14 13 0,13-13 0,0 13 15,0 0-15,0-13 0,-13 14 16,14-1-16,-14 0 15,13 0-15,-26-13 0,13 13 16,0 1-16,-14-1 0,1-13 0,0 13 16,0 0-16,-14-13 0,14 14 15,0-14-15,0 13 0,-1-13 0,1 0 16</inkml:trace>
  <inkml:trace contextRef="#ctx0" brushRef="#br0" timeOffset="22636.72">15214 10755 0,'0'27'31,"0"-14"-31,0 0 0,0 14 0,0-14 16,-14 0-16,14 14 0,0-14 0,-13 13 15,13-12-15,0 12 0,0-13 16,0 14-16,-13-14 0,13 0 15</inkml:trace>
  <inkml:trace contextRef="#ctx0" brushRef="#br0" timeOffset="22873.07">15544 10636 0,'0'-13'31,"-13"39"-31,13-12 0,0-1 16,-13 0-16,13 0 0,0 14 0,-13-14 15,13 0-15,0 14 0,0-14 16,-14 13-16,14-12 0,0 12 0,0-13 16,0 1-16,0-1 0,-13 13 0,13-12 15,0-1-15,0 0 0,0 0 16</inkml:trace>
  <inkml:trace contextRef="#ctx0" brushRef="#br0" timeOffset="23076.39">15094 10967 0,'-13'0'16,"66"-13"15,-40 13-31,14-13 0,-1 13 0,-12 0 0,12 0 16,0 0-16,-12-14 0,12 14 15,1 0-15,-1 0 0,1 0 0,-1-13 16</inkml:trace>
  <inkml:trace contextRef="#ctx0" brushRef="#br0" timeOffset="23425.96">16007 10808 0,'0'27'31,"0"-14"-31,0 0 15,14-13-15,-14 13 0,0 1 0,0-1 16,13-13-16,-13 13 0,13-13 0,-13 13 16,13 1-1,0-14-15,1 0 16,-1-14-16,0 1 16,0 0-16,-13 0 15,14-1-15,-1 1 0,-13 0 16,13-14-16,-13 14 0,13 0 0,0 0 15,-13 0-15,14 13 16,-1 0-16,-13-14 0,13 14 0</inkml:trace>
  <inkml:trace contextRef="#ctx0" brushRef="#br0" timeOffset="23646.93">16589 10795 0,'14'-26'32,"-1"26"-32,13 0 15,-12 0-15,-1 13 16,0-13-16,-13 13 15</inkml:trace>
  <inkml:trace contextRef="#ctx0" brushRef="#br0" timeOffset="23814.1">16457 10967 0,'0'0'15,"27"-13"16,-14 13-31,0 0 0,13-13 16,-12 13-16,12 0 0,-13 0 0,14-14 16,-14 14-16,14 0 0,-1 0 15,-13-13-15</inkml:trace>
  <inkml:trace contextRef="#ctx0" brushRef="#br0" timeOffset="24205.71">17357 10676 0,'0'0'0,"-14"-13"15,1 13-15,0 0 16,0 0-16,-14 0 0,14 0 0,0 13 15,-14-13-15,14 13 0,-13-13 16,12 13-16,1 1 0,0-14 0,0 13 16,0 0-16,13 0 0,-14 1 15,28-1-15,-1-13 16,0 0-16,0 0 16,0 0-16,1 0 0,12 0 0,-13 0 15,1 0-15,-1 0 0,0 0 0,0 0 0,1 0 16,-1 13-16,0-13 0,-13 13 15,13 0-15,-13 1 0,0-1 16,13 13-16,-13-12 0,0-1 0,-13 13 16,13-12-16,0 12 0,0-13 15,0 0-15,0 14 0,0-14 0,0 0 16,0 1-16</inkml:trace>
  <inkml:trace contextRef="#ctx0" brushRef="#br0" timeOffset="25681.33">11628 12343 0,'0'0'0,"40"-13"31,-27 13-31,1 0 0,-1 0 15,13 0-15,-12-14 0,-1 14 0,13 0 16,-13 0-16,1-13 0,12 13 16,-13 13-16,1-13 0</inkml:trace>
  <inkml:trace contextRef="#ctx0" brushRef="#br0" timeOffset="25848.89">11655 12462 0,'-13'13'0,"-1"-13"31,14 13-31,14-13 0,-1 0 16,13 0-16,-12 0 0,12 0 15,-13 0-15,14 0 0,-1 14 16,14-28-16,-14 14 0,1 0 0,-1 0 16,1 0-16</inkml:trace>
  <inkml:trace contextRef="#ctx0" brushRef="#br0" timeOffset="26285.04">8877 12330 0,'-27'66'16,"14"-40"0,13-13-16,0 14 0,-13 13 0,13-1 15,-13-12-15,-1 79 16,1-80-16,13 0 15,0-12-15,0 12 0,0-13 0,0 1 16</inkml:trace>
  <inkml:trace contextRef="#ctx0" brushRef="#br0" timeOffset="26677.91">8903 12303 0,'0'0'0,"27"-40"0,-14 40 15,0-13-15,0 0 16,1 13-16,-1 0 0,0 0 0,0 0 0,-13 13 16,14-13-16,-14 13 0,13 14 0,-26-14 15,13 14-15,-14-1 16,1 14-16,0-14 0,-14 14 0,1-14 15,13 1-15,-14-1 0,14 1 0,0-14 16,0 0-16,-1 0 0,1 1 16,0-1-16,0-13 0,13 13 0,-14-13 15,14 13-15,-13 1 16,26-1 0,1-13-16,-1 0 0,0 0 15,0 0-15,1 0 0,-1 0 0,13 0 16,-13 0-16,1 0 0,12 0 15,-13 0-15,14 0 0,-1 0 16,-12 0-16,-1 0 0,13 0 0,-13 0 16,1 0-16,12 0 0</inkml:trace>
  <inkml:trace contextRef="#ctx0" brushRef="#br0" timeOffset="27722.14">9512 12475 0,'-53'0'16,"40"0"-1,-1 13-15,1-13 0,0 14 16,0-1-16,-1 0 0,1 0 15,0 0-15,13 1 0,-13-1 0,13 0 16,-13 0-16,26 14 16,-13-14-1,13-13-15,0 13 16,0-26-16,1 13 16,-1 0-16,-13-13 15,13 13-15,-13-13 0,13-1 16,1 1-16,-14 0 0,13 13 15,-13-13-15,0-1 0,13 14 16,-13-13-16,0 0 16,13 0-16,1 26 47,-14 0-16,13 0-31,-13 1 15,13-14 1,-13 13 0,13-13-1,0-13 1,1 13 0,-1 0-16,0 0 15,0 0 16,1 13-31,-1-13 32,-13 13-17,13-13 1,0 0 15,1-13-15,-1 13-16,0 0 15,0 0-15,-13-13 16,13 13-16,1 0 16,-1-14-16,0 14 15,-13-13 1,13 13-16,-13-13 16,14 13-1,-1 13 1,-13 0-1,0 1-15,0-1 16,13 0-16,-13 0 0,0 1 0,0 12 16,0-13-16,-13 14 0,13-14 15,0 13-15,-13 1 0,13-14 0,-14 14 16,14-14-16,0 0 0,-13 0 0,13 1 16,-13-1-16,0-13 15,26-27 16,0 14-15,0 13-16,-13-13 0,14 0 16,-1-1-16,0 1 0,0 13 0,0-13 15,1 0-15,-1-1 0,13 1 0,-12-13 16,12 13-16,1-1 0,-1 1 0,0 0 16</inkml:trace>
  <inkml:trace contextRef="#ctx0" brushRef="#br0" timeOffset="28565.81">12793 12356 0,'13'0'15,"-13"13"1,13-26 0,-13 0-1,0 0-15,0-1 0,0 1 16,-13 0-16,13 0 15,0-1-15,-13 1 0,-1 0 16,1 0-16,0 0 0,0 13 16,-1 0-16,1 13 15,0-13-15,0 0 0,0 13 16,-1 0-16,1 0 0,0 1 0,0-1 16,13 0-16,0 0 0,-14 1 0,14-1 15,0 0-15,14-13 16,-14 13-16,13-13 0,0 0 0,0 0 15,14-13-15,-14 13 0,0-13 16,0 13-16,1-13 0,12 13 16,-13-14-16,1 14 0,-14-13 0,13 13 15,0 0-15,0 0 16,1 13 0,-14 1-16,0-1 0,0 0 15,13 13-15,-13-12 0,0-1 0,0 0 16,0 14-16,0-14 0,0 13 15,0-12-15,0-1 0,13 0 0,-13 0 16,0 0-16,0 1 0,13-14 0,-13 13 16,13 0-16,1-13 15,-1 0-15</inkml:trace>
  <inkml:trace contextRef="#ctx0" brushRef="#br0" timeOffset="28764.65">13163 12449 0,'13'-14'31,"0"14"-31,1 0 16,-1-13-16,0 13 0,14 0 0,-14 0 15,13 0-15,1 0 0,-1 0 16,1-13-16,-1 13 0,1 0 0,-1 0 15</inkml:trace>
  <inkml:trace contextRef="#ctx0" brushRef="#br0" timeOffset="30108.15">13957 12303 0,'13'-13'31,"0"13"-15,-13-13-1,13 13-15,1 0 0,-1 0 16,-13 13-16,13-13 16,-13 13-1,0 0-15,0 1 16,0-1 0,0 0-1,13-13-15,1 13 0,-1-13 16,0 13-16,0-13 0,1 14 0,-1-1 15,0-13-15,-13 13 16,13-13-16,-13 13 0,0 1 0,0-1 0,-13 0 16,13 0-16,-13 1 0,-14-1 15,1 13-15,-1-13 0,-12 14 16,-1-14-16,14 0 0,-14 1 0,0-1 16,14 0-16,-14-13 0,0 13 0</inkml:trace>
  <inkml:trace contextRef="#ctx0" brushRef="#br0" timeOffset="30550.14">11496 13494 0,'27'-13'0,"-14"13"15,0-14-15,53 1 16,-39 13-16,12 0 15,-12 0-15,-1-13 0,-12 26 0,-1-13 16,0 0-16,0 0 0,0 13 0</inkml:trace>
  <inkml:trace contextRef="#ctx0" brushRef="#br0" timeOffset="30729.07">11509 13719 0,'53'-14'16,"-39"14"-16,12 0 16,14-13-16,-1 0 0,14 13 0,-13-13 15,0 13-15,-1 0 0,1-14 16,0 14-16,-14 0 0,1 0 0,-1 0 16,1 0-16,-1 0 0,0 0 0</inkml:trace>
  <inkml:trace contextRef="#ctx0" brushRef="#br0" timeOffset="31564.97">13348 13203 0,'-13'-14'0,"-40"41"31,40-1-31,0-12 0,-14 12 16,14 1-16,0-1 0,-1 14 0,14-14 15,0 1-15,-13-1 0,13 1 16,13-1-16,-13 0 0,14-12 0,-1 12 15,0 1-15,14-1 0,-1-13 0,-13 0 16,14-13-16,-14 14 0,13-14 16,-12 0-16,12 0 0,-13 0 0,1-14 15,-1 14-15,-13-13 0,13 13 0,-13-13 16,0 0-16,-13 0 16,-14-14-16,14 14 15,-13 13-15,12-13 0,-12 13 0,13 0 16,-14 0-16,1 0 0,13 0 0,-14 0 15,14 0-15,0 13 0,-1-13 16,1 0-16,0 13 0,13 0 16,0 1-16,13-1 15</inkml:trace>
  <inkml:trace contextRef="#ctx0" brushRef="#br0" timeOffset="31773.85">14023 13388 0,'-27'26'16,"54"-52"-16,-80 66 15,27-14-15,-1 1 0,-13 12 0,1 1 16,-14 0-16,13-1 0,-13 1 0,13 13 16,-12-13-16,-1 12 0,13-12 15,-13 0-15,13 13 0,14-27 0,-1 1 16,14-14-16,0 0 0,0 0 15</inkml:trace>
  <inkml:trace contextRef="#ctx0" brushRef="#br0" timeOffset="31923.61">14116 13441 0,'-14'26'0,"-131"146"16,92-119-1,0 13-15,-13 14 0,-14-1 0,14 0 16,-13 1-16,13 12 0,-14 1 16</inkml:trace>
  <inkml:trace contextRef="#ctx0" brushRef="#br0" timeOffset="38617.97">18203 8572 0,'0'0'0,"80"-13"0,-67 0 0,0 13 0,14 0 15,-14 0-15,13 13 0,-12-13 0,12 0 16,0 13-16,-12-13 0,12 14 0,1 12 15,-1 1-15,-13-1 0,1 1 16,-1 12-16,0 1 0,-13 0 0,13 13 16,-13-1-16,-13 15 0,13-1 0,0 0 15,-13 13-15,0 1 0,13 12 16,-14-12-16,14-1 0,-13 14 16,13-14-16,0 14 0,0-14 0,0 14 15,0-14-15,13 14 0,-13-14 0,14 27 16,-1 0-16,0-1 0,13 1 15,-12 0-15,12-13 0,1 13 0,-14-14 16,26 14-16,-12-13 0,-1-1 0,1 14 16,13-13-16,-1-1 0,1 1 0,0-14 15,-1 14-15,-12-27 0,12 13 16,-12-13-16,-1 1 0,1-1 0,-1-13 16,1 13-16,-1 0 0,-13-13 0,1 0 15,-1 0-15,0 0 0,-13-14 16,0 1-16,0-14 0,0 14 15,-13 0-15,0 0 0,-1-14 0,1 0 16,-13 1-16,-1-1 0,-12 1 0,-1-1 16,-13-12-16,0 12 0,-13-13 0,0 14 15,-14-14-15,1 13 0,-27-12 16,-26 12-16,13 0 0,-13 1 0,-1-1 16,-12 1-16,-1-1 0,-13 1 0,14-1 15,-14-13-15,14 14 0</inkml:trace>
</inkml:ink>
</file>

<file path=ppt/ink/ink14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3:35.42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660 1349 0,'238'-53'0,"-172"40"0,13 0 16,1 0-16,-1 13 0,14-13 0,-1-1 15,1 14-15,-1-13 0,1 0 16,0 13-16,-1-13 0,1 13 0,-14-14 16,1 14-16,-1 0 0,-13 0 0,0 0 15,-26-13-15,13 13 0,-13 0 0,-14 0 16,1 0-16,-1 0 0,0 0 16,-12 0-16,-1 0 0,0 0 15</inkml:trace>
  <inkml:trace contextRef="#ctx0" brushRef="#br0" timeOffset="308.72">7355 1588 0,'0'0'0,"133"-27"15,-67 14 1,13 0-16,27-1 0,13 1 16,0-13-16,13 12 0,14 1 0,0-13 15,-14 13-15,13-1 0,1 1 0,-14 0 16,0 0-16,-12-1 0,-15 14 16,-12-13-16,-14 13 0,14-13 15,-14 13-15,-13-13 0,1 13 0,-28 0 16,1 0-16,0 0 0,-14 0 0,-13-14 15,14 14-15,-14 0 0,0 0 16,0 0-16,1 0 16</inkml:trace>
  <inkml:trace contextRef="#ctx0" brushRef="#br0" timeOffset="5439.23">5490 2355 0,'-13'106'0,"13"-67"16,-13 14-16,13-13 0,0 13 16,-14 0-16,14 0 0,0 0 0,0 0 15,0-14-15,0 1 0,0 0 16,0-14-16,0 0 0,0 1 0,0-1 15,0-12-15,0-1 0,0 0 0,0 0 16,0 1-16,0-1 0,0 0 16</inkml:trace>
  <inkml:trace contextRef="#ctx0" brushRef="#br0" timeOffset="6020.86">5384 2183 0,'14'-13'0,"-28"26"0,41-26 15,-27-1-15,26 14 0,-13-13 16,1 0-16,12 13 0,-13-13 0,14 13 16,-1-14-16,1 1 0,-1 13 0,1-13 15,-1 13-15,14-13 16,-14 13-16,-13 0 0,1 0 16,-1 0-16,0 0 0,0 0 0,1 0 15,-1 0-15,-13 13 16,0 0-16,0 0 15,0 1-15,0-1 0,-13 13 0,13 1 16,0-14-16,-14 13 0,14 14 16,0-13-16,0 12 0,0-12 0,0 26 15,0-14-15,0 1 0,14 13 16,-14-13-16,13-1 0,-13 1 16,13 13-16,0-13 0,-13-1 0,14-12 0,-1 13 15,0-1-15,0-12 0,-13-1 16,13-13-16,-13 14 0,0-1 15,14-13-15,-14 1 0,0-1 0,0 0 16,0 0-16,-14 1 0,14-1 0,-13 0 16,-13 14-16,-1-14 0,1 0 15,-1 13-15,-12-12 0,-1-1 0,-13 0 16,-13 0-16,0 14 0,0-14 0,0 0 16,-67 14-16,67-14 15,0 0-15,13 0 0,0 1 0,13-14 16,1 13-16,25-13 0,-12 0 0,13 0 15</inkml:trace>
  <inkml:trace contextRef="#ctx0" brushRef="#br0" timeOffset="8533.91">12832 2897 0,'40'0'31,"-14"0"-31,14 0 0,13 0 0,13-13 16,0 13-16,14 0 0,-14 0 0,13-13 16,-26 13-16,13 0 0,-13 0 15,0-13-15,0 13 0,0 0 0,0 0 16,-13-14-16,-14 14 0,0 0 0,-12 0 15,-1 0-15,0 0 0</inkml:trace>
  <inkml:trace contextRef="#ctx0" brushRef="#br0" timeOffset="8812.9">12938 2977 0,'-13'0'0,"26"0"0,0 0 31,14 0-31,-14 0 16,14 0-16,12 0 0,14 0 0,-13 0 15,13-14-15,0 14 0,0 0 0,-14-13 16,14 13-16,-13 0 0,0-13 16,-1 13-16,-12 0 0,-1 0 0,-13-13 15,14 13-15,-14 0 0,13 0 0,-12 0 16,-1 0-16,0 0 0,0-14 15,1 14 1,-1-13 0,0 13-16</inkml:trace>
  <inkml:trace contextRef="#ctx0" brushRef="#br0" timeOffset="9976.85">15042 2302 0,'0'40'0,"0"-80"0,-14 106 0,14-40 15,0 14-15,0 13 0,0-13 16,0 13-16,-13-14 0,13 14 0,0 0 16,0-13-16,13 0 0,-13-1 0,0 1 15,0-14-15,0 1 0,0-14 0,0 14 16,14-1-16,-14-13 0,0 0 16,0 1-16</inkml:trace>
  <inkml:trace contextRef="#ctx0" brushRef="#br0" timeOffset="11392.86">15081 2183 0,'40'0'0,"-80"0"0,93 0 16,-40 0-16,14 0 0,-14 0 15,14 0-15,-1-13 0,0 13 0,14 0 16,-13 0-16,26 0 0,-1-14 0,1 14 15,0 0-15,13-13 0,14 13 16,-14-13-16,0 13 0,0-13 0,14 13 16,-1-14-16,-13 14 0,27-13 0,-14 13 15,14-13-15,-14 0 16,14 13-16,-1-13 0,14-1 0,13 14 0,-26-13 16,13 13-16,-14-13 0,41 13 15,-41-13-15,14 13 0,0-14 16,-14 14-16,1 0 0,13-13 0,-14 13 15,1-13-15,0 13 0,-1 0 0,1 0 16,-14-13-16,1 13 0,-1 0 16,0-14-16,1 14 0,-14 0 0,13 0 15,-13-13-15,1 13 0,-15 0 0,1 0 16,0-13-16,0 13 0,-13 0 16,13 0-16,-13 0 0,-14 0 0,14 0 15,-14-13-15,1 13 0,-1 0 0,0 0 16,1 0-16,-1 0 0,1 0 15,-1 0-15,-12 0 0,-1 0 16,13 0-16,-13 0 0,1 0 0,-1 0 16,0 0-16,14 0 0,-14 0 0,0 0 15,0 0-15,1 0 0,-1 0 16,0 0-16,13-13 0,-12 13 0,-1 0 16,0 0-16,14 0 0,-14 0 0,13 0 15,-13 0-15,14 0 0,-1 0 16,1 0-16,-1 0 0,14 0 15,-14 0-15,14 0 0,-13-14 0,-1 14 0,14 0 16,-14 0-16,1 0 16,-1 0-16,1 0 0,-1 0 0,1 0 15,-1 0-15,0-13 0,-12 13 0,12 0 16,-13 0-16,1 0 0,12 0 16,-13 0-16,1 0 0,-1 0 0,0 0 15,0 0-15,14 0 16,-27-13-16,26 13 15,1 0-15,-14 0 16,13 0-16,-13 0 16,1 0-16,-1 0 15,0 0-15,0 0 0,1 0 0,-1 0 16,0 13-16,0-13 0,1 0 16,-1 0-16,0 0 0,0 0 15,0 0-15,1 0 16,-1 0-16,0 0 0,0 0 15,1 0-15,-1 0 32,0 0-32,0 13 15,1-13 1,-1 14-16,0-1 16,-13 0-1,13 0-15,-13 0 0,0 1 0,13-1 16,-13 0-16,0 0 0,14 1 15,-14-1-15,0 13 0,0-12 16,13 12-16,-13-13 0,0 53 16,0-52-16,0 12 0,0 0 15,0 1-15,-13-1 0,13 1 16,0-1-16,0 1 0,-14-1 0,14 1 16,0-1-16,0-13 0,0 14 0,0-1 15,14 1-15,-14-1 0,0-13 16,13 14-16,-13-1 0,0 1 15,13-14-15,-13 0 0,13 14 0,-13-14 0,14 13 16,-14-12-16,13-1 0,-13 0 16,13 0-16,-13 1 0,13-1 0,-13 0 15,0 0-15,13 1 0,-13-1 16,0 0-16,14-13 0,-14 13 16,0 0-16,0 1 0,0-1 15,0 0-15,-14 0 0,14 1 16,-13-1-16,0-13 15,13 13-15,-13-13 0,0 13 0,-1 0 16,1-13-16,-13 14 0,-1-14 0,1 13 16,-14-13-16,-13 13 0,0-13 0,-13 0 15,-13 13-15,-14-13 0,1 0 16,-1 0-16,-13 0 0,13-13 0,-12 13 16,-1 0-16,13 0 0,1-13 15,12 13-15,1 0 0,26-13 16,0 13-16,13 0 0,14-14 0,-14 14 15,14-13-15</inkml:trace>
  <inkml:trace contextRef="#ctx0" brushRef="#br0" timeOffset="12353.04">18971 2275 0,'-14'-13'16,"14"40"0,-13-1-16,13 1 15,-13-1-15,13 14 0,-13-1 0,13 1 16,-14 13-16,1-13 0,13 13 0,-13-14 15,0 1-15,13 0 0,0-14 0,-13 1 16,13-1-16,0 1 0,0-1 16,0-13-16,0 0 0,-14 1 0,14-1 15,0 0-15,0 0 16,27-26 0</inkml:trace>
  <inkml:trace contextRef="#ctx0" brushRef="#br0" timeOffset="13208.28">18918 2209 0,'13'0'0,"80"0"31,-54 0-31,1 0 0,13 0 0,13 0 16,0 0-16,14 0 0,-1 13 16,0-13-16,1 0 0,-1 0 0,0 0 15,1 0-15,-1 0 0,0 0 0,1 0 16,-1 0-16,1 0 15,-1 0-15,-13 0 0,0 0 0,0 0 16,1 0-16,-14-13 0,-1 13 0,1 0 0,0 0 16,0 0-16,0 0 15,-13 0-15,-14 0 0,14 0 0,-14 0 16,1 0-16,-1 13 0,1-13 0,-1 0 16,1 0-16,-1 0 0,-13 0 15,14 0-15,-14 0 0,0 0 0,14 0 16,-14 0-16,0 0 0,0 0 15,1 0-15,-1 0 16,0 0-16,0 0 0,1 0 16,-1 0-16,0 0 15,0 0-15,-13 14 16,13-14 0,1 13-16,-14 0 15,13-13-15,-13 13 0,0 1 0,0-1 16,0 0-16,0 0 0,0 14 15,13-14-15,-13 13 0,0-12 0,0 12 16,0 1-16,0-14 0,0 13 0,0-12 16,-13 12-16,13 0 0,0-12 15,0 12-15,0-13 0,0 14 0,0-14 16,-13 0-16,13 14 0,0-14 0,0 0 16,0 0-16,0 1 0,-14-1 15,14 0-15,0 0 0,0 1 16,0-1-16,0 0 0,-13-13 0,13 13 15,0 1 1,0-1-16,0 0 16,-13-13-16,13 13 0,-13-13 15,0 13-15,-1-13 0,1 0 16,0 0-16,-14 14 0,1-14 16,-27 0-16,-132 0 15,105 13-15,-12-13 0,-1 0 0,-13 0 16,-26 13-16,0-13 15,0 13-15,-1-13 0,1 0 0,0 14 0,26-14 16,13 13-16,1-13 0,12 0 16,27 0-16,-13 0 0,27 0 15,12-13-15,1 13 0,-1-14 0,14 14 16,0-26-16</inkml:trace>
  <inkml:trace contextRef="#ctx0" brushRef="#br0" timeOffset="13622.97">19870 2130 0,'53'-40'16,"66"-52"-1,-92 65-15,12-13 0,1 1 16,13-1-16,-13 0 0,-14 14 15,40-27-15,-39 27 0,-1 12 16,-13-12-16,14 13 0,-14 13 16,0-14-16,1 1 0,-1 13 0,-13-13 15,13 0-15,0 13 0,-13-13 16,13 13-16,-13-14 0,14 14 16,-14-13-16,13 13 0,-13-13 15</inkml:trace>
  <inkml:trace contextRef="#ctx0" brushRef="#br0" timeOffset="13932.97">20307 1376 0,'66'0'0,"-132"0"0,145 0 0,-66 0 16,14 0-16,-1 0 0,1 0 0,-1 0 16,1 13-16,-1-13 0,14 13 0,-14 1 15,14-1-15,-14 13 0,1-13 0,-1 1 16,-12 12-16,-1-13 0,0 1 16,0-1-16,-13 13 0,13-12 0,-13 12 15,0-13-15,0 0 0,0 14 16,0-14-16,-13 14 0,0-1 15,0 0-15,0 14 0,-14-13 16,1-1-16,-1 1 0,1-14 0,-1 13 0,1 1 16,-1-14-16,1 0 15</inkml:trace>
  <inkml:trace contextRef="#ctx0" brushRef="#br0" timeOffset="21861.14">8612 5702 0,'66'0'0,"-52"0"0,-1 0 16,0 0-16,0 0 0,14-13 0,-14 13 16,0 0-16,0 0 0,1 0 15,-1 0-15,0 0 16,0-14 0,1 28-16,-1-14 15,-13 13-15,0 0 16,0 0-16,0 0 0,0 1 15,0 12-15,0-13 0,0 1 0,0 12 16,-13-13-16,13 14 0,0-14 16,-14 0-16,14 14 0,0-14 0,-13 0 15,13 0-15,0 1 0,0-1 16,-13-13-16,13 13 16,0 0-16</inkml:trace>
  <inkml:trace contextRef="#ctx0" brushRef="#br0" timeOffset="22091.82">8639 5966 0,'-14'0'0,"54"0"31,-27 0-31,1 0 16,-1 0-16,0-13 0,13 26 0,-12-26 16,-1 13-16,0 0 0,0 0 0,1 0 15,-1 0-15,0 0 0,0 0 16,1 0-16,-1 0 0,-13-13 0,13 13 16</inkml:trace>
  <inkml:trace contextRef="#ctx0" brushRef="#br0" timeOffset="22562.68">9221 5781 0,'0'27'31,"0"-14"-31,-13 0 0,13 0 0,0 1 15,-14-1-15,14 0 0,-13 13 0,13-12 16,-13-1-16,13 0 0,0 0 16,-13 1-16,13-1 0,0 0 0,0 0 15,-14 0-15,28-13 16,-1 14 0,0-14-16,0 0 15,1 0-15,-1 0 0,0 0 16,13 0-16,-12 0 0,-1-14 0,0 14 15,0 0-15,1 0 0,12 0 16,-13-13-16,0 13 16,1-13-16,-1 13 0,0 0 15</inkml:trace>
  <inkml:trace contextRef="#ctx0" brushRef="#br0" timeOffset="22738.89">9247 5927 0,'27'0'16,"-27"-14"-1,13 14-15,13 0 0,-12 0 16,-1 0-16,0-13 0,13 13 16,-12 0-16,-1-13 0,13 13 0,-12 0 15,-1-13-15</inkml:trace>
  <inkml:trace contextRef="#ctx0" brushRef="#br0" timeOffset="22923.94">9260 5781 0,'53'-26'31,"-39"26"-16,12-14-15,-13 14 0,14 0 0,-14 0 16,0 0-16,14 0 0,-14 0 0,0 0 16,14 0-16</inkml:trace>
  <inkml:trace contextRef="#ctx0" brushRef="#br0" timeOffset="23457.05">9723 5821 0,'0'13'0,"0"0"15,0 1-15,0-1 16,0 0 0,0 0-16,0 0 15,14-26 32,-14 0-31,13 13-1,0 0-15,0 0 32,1 0-32,-14 13 0,13-13 15,-13 13 1,13 1-1,0-28 32,0 14-47,-13-13 0,14 13 16,-1-13-16,0 13 16,0 0-1,1 0-15,-1 0 16,-13 13-16,13-13 0,0 13 15,1-13-15,-1 14 16,0-14-16,0 13 0,0-13 16,1 13-16,-1-13 15,0 0 1</inkml:trace>
  <inkml:trace contextRef="#ctx0" brushRef="#br0" timeOffset="23916.02">10147 5768 0,'0'26'32,"0"-12"-32,0-1 0,0 0 0,0 14 15,0-14-15,0 13 0,0 1 0,0-14 16,0 13-16,-13 1 0,13-1 15,0-13-15,0 14 0,0-14 16,0 14-16,0-14 0,0 0 0,0 0 0,0 1 16,-14-14-16,14 13 0,0 0 15,0-66 17,14 40-32,-14-14 15,13-12-15,-13 12 0,13-12 16,0 12-16,-13 14 0,13 0 0,-13-14 15,14 27-15,-1-13 0,-13 0 16,13 13-16,0 0 16,1 0-16,-14 13 15,0 0-15,0 0 0,0 1 16,-14-1-16,14 13 0,-13-12 16,13-1-16,-13 0 0,13 0 0,-13-13 15,13 13-15,-14 1 0,1-1 16,13 0-16</inkml:trace>
  <inkml:trace contextRef="#ctx0" brushRef="#br0" timeOffset="24767.5">10345 5675 0,'-13'27'47,"13"-14"-47,0 13 16,0-12-16,0-1 0,0 13 0,0-12 15,0 12-15,0-13 0,0 14 0,0-14 16,0 0-16,0 0 0,13 1 0,-13-1 16,13 0-16,1 0 15,12-13 1,-13-13-16,1 13 0,-14-13 15,13 13-15,-13-13 0,13 13 16,-13-14-16,13 14 0,-13-13 16,14 13-16,-1 0 31,-13 13-15,0 1-16,13-14 15,0 13-15,0-13 16,1 0-1,-1-13 1,-13-1-16,0 1 16,-13 0-1,-1 13 1,1 0-16,0 13 16,0-13-1,13 13 1,13-13-1,0 0-15,0 0 16,1 0-16,-1-13 16,0 13-16,0 0 0,1-13 15,-1 13-15,0 0 16,0 0 0,0 0-16,1 0 15,-1 0-15,0 0 16,0 0-1,1 0 1,-1 0-16,-13 13 16,13 0-16,-13 1 15,13-1-15,-13 0 0,0 0 16,0 1-16,0-1 0,0 0 16,0 0-16,0 0 0,0 1 0,-13-1 15,13 0-15,-13 0 0,13 1 0,-13-14 16,13 13-16,-14 0 0,14 0 15,-13-13-15,0-13 32,26 0-17,-13-14-15,13 27 16,-13-13-16,0 0 0,14 0 0,-1-1 16,-13 1-16,13 0 15,-13 0-15,13 13 16,1-13-16,-1 13 15,0-14-15</inkml:trace>
  <inkml:trace contextRef="#ctx0" brushRef="#br0" timeOffset="25119.83">11033 5861 0,'40'0'31,"-27"0"-16,0 0-15,0 0 0,1 0 16,-1 0-16,0 0 0,0 0 16,1 0-16,-1 0 0,0 0 0,0 0 15,1 0-15,12 0 16,-13-14 0,0 14-1</inkml:trace>
  <inkml:trace contextRef="#ctx0" brushRef="#br0" timeOffset="25386.96">11218 5755 0,'14'13'15,"-1"0"1,0-13-16,0 13 0,0 1 15,14-1-15,-14 0 0,0-13 16,1 13-16,-14 1 0,13-14 16,0 13-16,0 0 0,-13 0 0,14 0 15,-14 1-15,0-1 16,-14 0-16,1 0 16,0 1-16,-14-1 0,14 0 0,-13-13 0,12 13 15,-12 0-15,0 1 0,12-14 16,-12 13-16,13-13 0</inkml:trace>
  <inkml:trace contextRef="#ctx0" brushRef="#br0" timeOffset="26635.69">12052 5596 0,'-13'13'16,"13"0"-16,0 1 0,0-1 16,-14 0-16,14 0 0,0 1 15,0-1-15,0 13 0,0-13 0,0 1 16,0-1-16,0 13 0,0-12 0,0-1 16,-13 0-16,13 0 0,0 1 15,0-1-15,0 0 0,0 0 0,0 0 16</inkml:trace>
  <inkml:trace contextRef="#ctx0" brushRef="#br0" timeOffset="27574.82">12184 5569 0,'-26'-13'0,"52"26"0,-66-13 15,27 0-15,0 14 0,0-1 16,-1-13-16,1 26 0,0-12 16,0-1-16,-14 13 0,27 1 0,-13-1 15,0-13-15,0 14 0,13-14 0,0 14 16,-14-14-16,14 13 16,0-12-16,14-1 0,-14 13 0,13-13 0,-13 1 15,13-1-15,0 0 0,1 0 0,-1 1 16,0-14-16,13 13 0,-12-13 15,-1 13-15,0-13 0,0 0 16,1 0-16,-1 0 0,0 0 0,0-13 16,1 13-16,-1 0 0,13-13 15,-13 13-15,-13-14 0,14 14 0,-1-13 16</inkml:trace>
  <inkml:trace contextRef="#ctx0" brushRef="#br0" timeOffset="27914.88">12449 5609 0,'0'-13'32,"-14"39"-17,14-12-15,0-1 0,0 0 16,0 0-16,-13 1 0,13 12 15,0-13-15,0 0 0,0 1 0,0-1 16,0 0-16,0 0 0,0 1 0,13-1 16,-13 0-16,14 0 15,-14 1-15,13-14 0,-13 13 0,13-13 16,0 0-16,1 13 0,-1-13 16,0 0-16,0 0 0,0 0 15,14 0-15,-14 0 0,0 0 16,1 0-16,-1-13 0,0 13 0,0 0 15,1 0-15,-1-13 0,0 13 0,0-14 16,0 1-16</inkml:trace>
  <inkml:trace contextRef="#ctx0" brushRef="#br0" timeOffset="28096.7">12528 5768 0,'0'0'0,"26"-13"16,-12 13 0,12 0-16,-13-14 0,1 14 15,-1 0-15,0 0 0,0-13 0,1 13 16,-1 0-16,0-13 0,0 13 16</inkml:trace>
  <inkml:trace contextRef="#ctx0" brushRef="#br0" timeOffset="28291.67">12449 5596 0,'13'-13'0,"0"13"16,0 0-16,14-14 15,-14 14-15,0 0 0,14-13 0,-1 13 16,-13 0-16,14-13 0,-1 13 0,1 0 15,-14 0-15,13-13 0,1 13 0,-14 0 16,0 0-16,1 0 0</inkml:trace>
  <inkml:trace contextRef="#ctx0" brushRef="#br0" timeOffset="28587.94">12965 5530 0,'-14'39'31,"14"-25"-31,0-1 0,0 0 16,14-13-16,-14 13 0,0 1 0,13-1 16,0 0-16,0-13 0,1 13 15,-1 1-15,13-14 0,-13 0 0,14 0 16,-14 0-16,14 0 0,-14 0 0,0 0 16,13-14-16,-12 14 0,-1-13 15,-13 0-15,13 13 0,-13-13 16,0-1-16,0 1 0,0 0 0,-13 0 0,0-1 15,-1 1-15,1 0 16,0 0-16,0 0 0,-14 13 0,14-14 16,-13 14-16,12 0 0,-12 0 0,0 14 15,-14-14-15,0 26 0,14-13 0,-14 14 16,0-14-16,14 13 0</inkml:trace>
  <inkml:trace contextRef="#ctx0" brushRef="#br0" timeOffset="28888.82">12343 6046 0,'119'-14'31,"-93"1"-31,14 13 16,0-13-16,-1 0 0,1 13 0,0-13 0,-14 13 16,1 0-16,-1 0 0,1-14 15,-1 14-15,1-13 0,-1 13 16,-13 0-16,0 0 0</inkml:trace>
  <inkml:trace contextRef="#ctx0" brushRef="#br0" timeOffset="29103.77">12435 6085 0,'-13'0'0,"26"0"0,14 0 31,-14 0-31,14 0 0,-1 0 15,14-13-15,-1 13 16,1-13-16,0 13 0,-1 0 0,1-13 16,-13 13-16,12 0 0,-12-14 0,-1 14 15,1 0-15,-14 0 0,13 0 16,-12 0-16,-1-13 0,0 13 0,0 0 16,1 0-16</inkml:trace>
  <inkml:trace contextRef="#ctx0" brushRef="#br0" timeOffset="29732.69">9115 6178 0,'53'0'0,"92"0"16,-105 0-16,13 0 0,-13-13 16,-1 13-16,14 0 0,0-13 15,-13 13-15,13 0 0,0-14 16,0 14-16,-14-13 0,1 13 0,0 0 16,-14-13-16,1 13 0,-1 0 15</inkml:trace>
  <inkml:trace contextRef="#ctx0" brushRef="#br0" timeOffset="30095.8">9221 6310 0,'26'0'15,"1"0"-15,-1 0 0,1 0 0,-1 0 16,27 0-16,-13-13 0,-1 13 16,1 0-16,0-13 0,-14 13 0,1 0 15,12-13-15,-12 13 0,-1 0 0,1-14 16,-1 14-16,-13 0 0,14 0 16,-14 0-16,0 0 0,0-13 0,1 13 15,-1 0-15,0 0 0,0 0 16,1 0-1,-1 0-15,0 0 16,0 0 0,1-13-1,-1 13 1,0 0 0</inkml:trace>
  <inkml:trace contextRef="#ctx0" brushRef="#br0" timeOffset="30903.83">12422 6032 0,'40'-13'16,"-27"13"-1,0-13-15,14 13 0,-1 0 0,1-13 16,-1 13-16,1-13 0,-1 13 0,1-14 16,-1 14-16,14 0 15,-14-13-15,1 13 0,-14 0 0,13-13 16,-12 13-16,-1 0 0,0 0 0,0 0 15,-13 13-15,13-13 16</inkml:trace>
  <inkml:trace contextRef="#ctx0" brushRef="#br0" timeOffset="31122.84">12554 6112 0,'27'0'31,"-1"0"-31,-12 0 16,-1 0-16,13 0 0,1 0 16,-1 0-16,-13-13 0,14 13 0,-1 0 15,-12 0-15,12 0 0,1-14 0,-14 14 16,0 0-16,13 0 0,-12 0 16,-1-13-16,0 13 0,0 0 15,1 0-15,-1 0 0</inkml:trace>
  <inkml:trace contextRef="#ctx0" brushRef="#br0" timeOffset="35740.83">14407 5728 0,'26'0'15,"-13"0"-15,120-13 32,-107 13-32,-13 0 15,27 0-15</inkml:trace>
  <inkml:trace contextRef="#ctx0" brushRef="#br0" timeOffset="35948.6">14473 5861 0,'-14'0'0,"28"0"0,-1 0 31,0 0-31,0 0 16,1 0-16,-1 0 0,0 0 16,0 0-16,14 0 0,-14-14 0,0 14 15,14 0-15,-1 0 0,1-13 0</inkml:trace>
  <inkml:trace contextRef="#ctx0" brushRef="#br0" timeOffset="36604.91">15558 5596 0,'-53'-13'16,"39"13"-1,1 13-15,0-13 0,0 0 16,-1 13-16,1 0 16,13 1-16,13-1 0,-13 0 15,0 0-15,14 1 0,-1-1 16,-13 0-16,13 0 0,-13 0 16,13 1-16,-13-1 0,0 0 0,0 0 15,0 1 1,0-1-16,-13 0 0,0 0 15,0-13-15,-1 0 32,14-13-17,14 0-15,-1 0 16,0 13-16,-13-14 16,13 1-16,1 13 0,-1-13 0,-13 0 15,13-1-15,0 1 0,-13 0 0,0 0 16,14 13-16,-14-13 0,0-1 15,0 1-15,-14 13 0,14-13 16,0 0-16,-13 13 0,13-14 0,-13 14 16,13-13-16,-13 13 0,-1 0 15,1 0 1,0 0-16,13 13 16,0 1-16</inkml:trace>
  <inkml:trace contextRef="#ctx0" brushRef="#br0" timeOffset="37070.82">15266 5477 0,'0'0'15,"-13"26"-15,13-12 0,-13 12 0,13-13 16,0 0-16,0 1 0,0 12 0,-13 1 16,13-1-16,0 1 0,0-1 0,-13 0 15,13-12-15,0 12 0,0 1 0,-14-14 16,14 13-16,0-12 0,0-1 15,0 0-15,0 0 0,0 0 0,0 1 16,0-1 0,14-40-1</inkml:trace>
  <inkml:trace contextRef="#ctx0" brushRef="#br0" timeOffset="37599.72">15240 5490 0,'0'0'0,"53"-13"0,-40 0 16,14 13-16,-1-14 0,1 14 16,-1-13-16,14 0 0,-1 13 0,1-13 15,0 13-15,-1-13 0,1 13 0,-13 0 16,-1 0-16,0 0 0,-12-14 0,12 14 15,-13 0-15,14 0 0,-14 0 16,0 0-16,1 14 0,-1-14 16,0 0-16,-13 13 0,13-13 0,0 13 15,-13 0-15,14 0 16,-14 1-16,0-1 0,13-13 0,-13 13 16,0 0-16,13 14 0,-13-14 0,13 0 15,-13 14-15,14-14 0,-1 13 16,-13-12-16,13-1 0,0 13 15,1-12-15,-1-1 0,0 13 0,-13-13 16,13 1-16,-13-1 0,13-13 16,-13 13-16,14 0 0,-14 1 15,13-1-15,-13 0 16,0 0-16,-13-13 16,-1 14-16,1-14 0,0 0 15,-13 0-15,-1 13 0,1-13 0,-27 0 16,13 0-16,-13 13 0,13-13 0,-13 13 15,1-13-15,-1 0 0,0 13 16,0-13-16,0 0 0,13 14 16,-13-14-16,27 13 0,-1-13 0,1 0 15,-1 0-15,14 0 0,0 13 16,0-13-16,0 0 0,-1 0 0,14 13 16,-13-13-16</inkml:trace>
  <inkml:trace contextRef="#ctx0" brushRef="#br0" timeOffset="40764.9">8652 10200 0,'0'-14'31,"0"1"-15,-13 13-16,-1 0 15,1 0-15,0 0 16,0 0-16,-14 13 0,14-13 15,-13 14-15,-1-14 0,14 13 0,-14 0 16,14-13-16,0 13 0,0 1 0,0-14 16,-1 13-16,14 0 0,-13-13 15,13 13-15,13 1 0,1-1 16,-1-13-16,0 13 0,0 0 16,0-13-16,14 13 0,-14-13 15,0 14-15,14-14 0,-14 13 0,0-13 16,0 13-16,1-13 0,-1 13 0,0 1 15,-13-1-15,0 0 16,-13 0-16,13 1 16,-13-1-16,-1-13 0,1 13 0,0 0 15,0-13-15,-14 13 16,14-13-16,0 14 0,0-14 16,-14 0-16,1 13 0,13-13 15,-1-13-15,1 13 0,0 0 16,0-14-16,-1 1 0,14 0 15</inkml:trace>
  <inkml:trace contextRef="#ctx0" brushRef="#br0" timeOffset="40976.01">8506 10107 0,'-13'40'31,"13"-14"-31,0-13 0,-13 14 16,13-1-16,0 14 0,-13 0 0,13-1 16,-14 1-16,14 0 0,0-14 0,-13 14 15,13 0-15,0-14 0,-13 1 16,13 12-16,0-12 0,0-14 0,0 0 16,0 0-16,0 1 0</inkml:trace>
  <inkml:trace contextRef="#ctx0" brushRef="#br0" timeOffset="41578.99">8877 10292 0,'13'14'31,"-13"-1"-31,0 0 0,0 0 15,0 0-15,13 1 0,-13-1 16,-13 0-16,13 14 0,0-14 0,0 0 16,0 0-16,0 1 0,0-1 0,0 0 15,0 0-15,0 0 16</inkml:trace>
  <inkml:trace contextRef="#ctx0" brushRef="#br0" timeOffset="41936.8">9022 10332 0,'-13'13'47,"0"-13"-47,13 13 0,0 1 0,0-1 15,13 0-15,-13 0 0,0 1 16,0-1-16,13-13 0,-13 13 15,14 0-15,-1-13 0,-13 14 0,13-14 16,0 0-16,0 0 0,1 0 0,-1 0 16,0-14-16,0 14 0,-13-13 15,14 13-15,-14-13 0,0 0 16,0-1-16,0 1 0,0 0 16,0 0-16,-14-1 0,1 1 15,13 0-15,-13 13 16,13-13-16,-13 13 0,-1 0 0,14-13 15,-13 13-15,0 0 16,0 13 0</inkml:trace>
  <inkml:trace contextRef="#ctx0" brushRef="#br0" timeOffset="42214.98">9260 10319 0,'0'13'0,"14"27"16,-14-27 0,13 0-16,0 0 15,0-13-15,-13 14 0,14-14 16,-1 0-16,0 0 0,0 0 0,0-14 16,1 14-16,-1-13 15,0 13-15,-13-13 0,13 0 0,-13-1 16,0 1-16,0-13 15,-13 26-15,0-13 16,0 13-16,-1 0 0,1-14 0,0 14 16,0 0-16,0 0 0,-14 14 0,14-14 15,0 0-15,-1 13 0,1-13 16,0 13-16,0-13 0,13 13 16</inkml:trace>
  <inkml:trace contextRef="#ctx0" brushRef="#br0" timeOffset="43800.71">10517 10186 0,'-39'0'0,"12"0"16,14 0-16,-14 14 0,-105-1 31,106 0-31,-1-13 0,14 0 0,0 0 16,-1 13-16,1-13 0,13 14 15,13-1 1,1-13-16,12 13 15,-13 0-15,14-13 0,-14 14 0,0-1 16,1-13-16,-1 13 0,0 0 16,0-13-16,-13 13 0,13-13 15,-13 14-15,0-1 0,0 0 0,0 0 16,-13 1 0,0-1-16,0 0 0,0-13 0,-1 13 15,1 1-15,0-1 0,-27 0 16,14-13-16,12 13 0,-12-13 15,13 0-15,0 0 0,-1 0 0,1 0 16,0-13-16,0 0 16,-1 0-16</inkml:trace>
  <inkml:trace contextRef="#ctx0" brushRef="#br0" timeOffset="44037.75">10253 9962 0,'0'52'16,"0"-25"-1,0-1-15,-14 14 0,14 13 0,0-13 16,-13-1-16,13 14 0,-13-13 16,13 0-16,-13 13 0,13-14 15,0 1-15,-14 0 0,14-1 0,0 1 16,0-14-16,0-12 0,0 12 0,0 1 15,0-14-15,0 0 0,0 0 0,0 1 16</inkml:trace>
  <inkml:trace contextRef="#ctx0" brushRef="#br0" timeOffset="44547.73">10874 10147 0,'0'0'0,"14"13"31,-28 0-31,14 0 0,0 1 16,0-1-16,0 0 0,-13 14 0,13-14 16,0 13-16,0-12 0,-13-1 0,13 13 15,0-13-15,-13 1 0,13 12 16,0-13-16,-14-13 0,14 14 15,0-1-15,0 0 0,0 0 16,14-13 0</inkml:trace>
  <inkml:trace contextRef="#ctx0" brushRef="#br0" timeOffset="44895.84">10993 10239 0,'0'0'0,"-26"14"32,26-1-32,0 0 15,0 0-15,0 1 0,0-1 16,0 0-16,0 0 0,0 0 0,0 1 16,13-1-16,-13 0 0,13 0 0,1 1 15,-1-1-15,0-13 16,0 0-16,14 0 0,-14 0 0,0 0 15,0-13-15,1 13 0,-1 0 0,0-14 16,-13 1-16,13 13 16,-13-13-16,14 0 0,-14-1 0,0 1 15,-14 0-15,14 0 0,-13 0 0,0-1 0,0 1 16,-1 0-16,1 0 0,0 13 16,0-14-16,0 14 0,-1 0 15,1-13-15,13 26 0,-13-13 0,0 0 16,-1 0-16,14 14 15</inkml:trace>
  <inkml:trace contextRef="#ctx0" brushRef="#br0" timeOffset="45388.79">11364 10226 0,'13'0'32,"0"0"-32,-13 13 0,14-13 15,-1 14-15,-13-1 16,0 0 0,0 0-1,0 1-15,0-1 16,13 0-1,0-13 1,-13 13-16,13 0 16,-13 1-16,0-1 15,-13 0 1,0 0-16,13 1 0,-13-14 0,0 13 16,-1-13-16,1 0 15,0 13-15,0-13 0,-1 0 16,1 0-16</inkml:trace>
  <inkml:trace contextRef="#ctx0" brushRef="#br0" timeOffset="46784.8">12779 10160 0,'-13'-13'0,"-79"26"31,78-13-31,-12 0 0,13 13 16,-1-13-16,1 13 0,0-13 0,0 0 16,-1 14-16,1-1 0,13 0 15,13 0 1,1-13-16,-14 14 0,13-14 0,0 13 15,0 0-15,1-13 0,-14 13 0,13 1 16,0-14-16,0 13 0,1 0 16,-14 0-1,0 0-15,0 1 16,-14-14-16,1 13 0,-13 0 0,12-13 16,-12 13-16,13-13 0,-14 14 15,1-1-15,-1-13 0,14 0 0,-13 13 16,12-13-16,1 0 0,0 0 0,0 0 15,-1-13-15,1 13 16,13-13-16</inkml:trace>
  <inkml:trace contextRef="#ctx0" brushRef="#br0" timeOffset="46983.81">12607 9962 0,'-13'105'31,"13"-78"-31,-13 13 0,13-1 16,0 14-16,-13-13 0,13 0 0,0 12 15,-14-12-15,14 0 0,0 13 0,-13-14 16,13 1-16,0 0 0,-13-14 16,13 1-16,0-1 0,0-13 0,-13 1 15</inkml:trace>
  <inkml:trace contextRef="#ctx0" brushRef="#br0" timeOffset="47908.21">13454 10134 0,'0'0'0,"-13"0"0,0 0 16,-14 0-1,14 13-15,-14 0 0,14 0 16,0 0-16,-13 1 0,12-1 0,1 0 16,0 0-16,0 1 15,-1-1-15,1 0 0,13 0 0,-13 1 0,13-1 16,13 0 0,0-13-16,14-13 15,-14 13-15,0 0 0,14-13 16,-1-1-16,1 14 0,-14-13 0,13 0 15,-12 0-15,-1-1 0,0 14 16,0-13-16,1 13 0,-1 0 0,-13-13 16,13 13-16,0 13 0,-13 0 15,13 1 1,-13-1-16,0 0 0,-13 27 16,13-27-16,0 13 0,-13-12 15,13-1-15,0 13 0,0-12 0,-13-1 16,13 0-16,0 0 15,0 1-15,13-14 0,-13 13 16</inkml:trace>
  <inkml:trace contextRef="#ctx0" brushRef="#br0" timeOffset="48421.07">13824 10186 0,'0'0'0,"14"27"31,-1-14-31,-13 0 0,0 1 16,0-1-16,13 13 0,-13-12 0,0-1 15,0 0-15,0 0 16,0 0-16,0 1 0,0-1 0,0 0 16,-13 0-16,0 1 0,-1-1 15,1-13 1,13-13-1,0-1 1,13 1-16,1 0 16,-14 0-16,13-1 0,0 14 0,-13-13 15,13 0-15,1 0 0,-14 0 16,0-14-16,13 14 0,-13 0 0,0-1 16,-13 1-16,13 0 15,0 0-15,-14-1 0,1 14 0,13-13 16,-13 13-16,0-13 0,-1 13 15,-12 0-15,13 13 16</inkml:trace>
  <inkml:trace contextRef="#ctx0" brushRef="#br0" timeOffset="48990.86">14936 10094 0,'0'0'0,"-40"0"0,27 13 0,0-13 0,-1 0 15,1 13-15,0-13 16,13 14-16,-13-1 0,13 0 16,13 0-16,-13 0 0,13-13 15,-13 14-15,13-1 0,1 0 16,-1-13-16,0 13 0,0 1 16,0-1-16,1 0 0,-1-13 0,0 13 15,0 1-15,1-1 16,-14 0-16,0 0 0,0 0 15,0 1-15,-14-1 0,1 0 16,0 0-16,0 1 0,-14-1 16,14 0-16,-13 0 0,12-13 0,-12 14 15,13-14-15,-14 13 0,14-13 0,-13 13 16,12-13-16,1 0 0,0 0 0,0 0 16,-1-13-16,14-14 15</inkml:trace>
  <inkml:trace contextRef="#ctx0" brushRef="#br0" timeOffset="49200.7">14989 9988 0,'0'93'31,"0"-67"-31,-14 67 15,14-54-15,-13 14 0,13 0 0,-13 0 16,13-13-16,-13 13 0,13-14 16,0 1-16,-14 0 0,14-14 15,0 1-15,0-1 0,0-13 0,0 14 16</inkml:trace>
  <inkml:trace contextRef="#ctx0" brushRef="#br0" timeOffset="50299.8">15438 10200 0,'0'-14'0,"0"1"16,0 53 15,0-27-31,0 0 0,0 1 16,0-1-16,0 0 0,0 14 0,0-14 15,-13 13-15,13-13 0,0 1 16,0-1-16,0 0 0,0 0 0,0 1 15,0-1-15,-13 0 0,26 0 16</inkml:trace>
  <inkml:trace contextRef="#ctx0" brushRef="#br0" timeOffset="50633.83">15650 10226 0,'0'0'0,"0"-13"0,-13 13 15,0 13 1,-1 0-16,14 1 16,-13-1-16,13 0 0,0 0 15,0 1-15,0-1 0,0 0 0,13 0 16,-13 0-16,14 1 0,-1-1 0,0 0 16,0-13-16,1 13 0,-1-13 15,0 0-15,0 0 0,0 0 0,1 0 16,-1 0-16,0-13 0,0 13 0,1-13 15,-14 0-15,0-1 16,0 1-16,0 0 0,0 0 16,0 0-16,-14-1 0,1 1 0,13 0 15,-13 13-15,0-13 0,-1-1 0,1 14 16,0 0-16,0 0 16,0 0-16,-1 0 0,1 14 15,0-14-15,13 13 16</inkml:trace>
  <inkml:trace contextRef="#ctx0" brushRef="#br0" timeOffset="50852.86">15981 10134 0,'0'0'16,"13"13"-1,-13 0-15,13 0 16,-13 0-16,0 1 0,0-1 0,0 0 15,0 0-15,0 14 0,0-14 16,0 14-16,0-14 0,0 0 0,0 13 16,0-12-16,0-1 0,0 0 0,0 0 15,0 1-15,0-1 16,14 0 0,-1-26-16</inkml:trace>
  <inkml:trace contextRef="#ctx0" brushRef="#br0" timeOffset="51488.75">17330 10134 0,'-26'0'0,"52"0"0,-65-14 15,25 14-15,-12 14 0,13-14 16,-14 0-16,1 0 0,-1 13 0,1-13 15,-1 13-15,1-13 0,13 13 0,-1-13 16,1 13-16,0-13 0,0 0 16,13 14-16,13-1 15,-13 0-15,13-13 0,0 13 0,14-13 16,-14 14-16,14-1 0,-1 0 16,-13-13-16,14 13 0,-1 1 0,-13-14 15,1 13-15,-1 0 0,0-13 16,-13 13-16,13 0 0,-13 1 15,0-1-15,0 0 0,-13 0 16,0 1-16,0-1 0,-14 0 16,14 0-16,-14 1 0,1-1 0,-27 0 15,27 0-15,12-13 16,-12 13-16,13-13 0,-1 0 0,1 0 16,0 0-16,0 0 0,0 0 0,13-13 15,-14 0-15</inkml:trace>
  <inkml:trace contextRef="#ctx0" brushRef="#br0" timeOffset="51711.68">17171 9948 0,'0'0'0,"0"40"31,0-27-31,-13 14 0,13-1 0,0 14 16,0 0-16,-13-1 0,13 14 15,0 0-15,0-13 0,-13 26 16,0-13-16,13 0 0,-14 0 0,1-14 0,13 1 16,-13 0-16,13-1 0,-13-12 0,13-1 15,-14 1-15,14-14 16,0 13-16,0-12 0,0-1 0</inkml:trace>
  <inkml:trace contextRef="#ctx0" brushRef="#br0" timeOffset="52603.09">17780 10081 0,'0'26'16,"0"1"-1,0-14-15,0 0 0,0 0 16,0 14-16,0-14 0,0 13 0,-13 1 16,13-14-16,0 14 0,0-1 15,-13-13-15,13 0 0,0 14 0,0-14 16,-14 0-16,14 1 0,0-1 16</inkml:trace>
  <inkml:trace contextRef="#ctx0" brushRef="#br0" timeOffset="53845.93">18098 10107 0,'0'-13'0,"-14"39"47,14-12-47,0-1 0,-13 0 16,13 0-16,0 0 0,0 1 0,-13-1 15,13 0-15,0 0 0,0 1 16,0 12-16,13-26 0,-13 13 16,0 1-16,13-1 0,-13 0 0,14-13 0,-1 13 15,0-13-15,0 0 16,0 0-16,1 0 0,-1 0 16,0-13-16,0 0 0,1 13 0,-1-13 15,0-1-15,-13 1 0,13 0 16,-13 0-16,0-1 0,0 1 0,0 0 15,-13-14-15,13 14 0,-13 0 0,0 0 16,-1 13-16,1-13 0,0-1 0,0 14 16,-14 0-16,14 0 0,0 0 15,-14 0-15,14 14 0,-13-14 0,12 0 16,14 13-16,-13-13 0,0 13 0</inkml:trace>
  <inkml:trace contextRef="#ctx0" brushRef="#br0" timeOffset="56292.64">18494 10094 0,'14'0'0,"-1"-13"0,0 13 16,0 0-16,1 0 16,-14-14-16,26 14 0,-13 0 15,-26 14 16,0-1-15,0-13-16,-1 0 0,1 13 0,0-13 16,0 13-16,-1-13 0,1 14 15,0-14-15,0 13 0,-1-13 16,14 13-16,-13-13 0,26 13 31,1-13-31,-14 13 16,13-13-16,0 0 0,0 14 0,1-14 15,-1 13 1,0-13-16,0 13 0,1 0 16,-14 1-16,13-14 0,-26 13 15,13 0-15,-14-13 16,1 13-16,0-13 0,0 14 16,-1-1-16,-12-13 0,13 0 0,-14 13 15,14-13-15,0 0 0,-14 0 0,14 13 16,0-13-16,0 0 0,-1 0 15</inkml:trace>
  <inkml:trace contextRef="#ctx0" brushRef="#br0" timeOffset="58138.73">19645 10041 0,'-26'-13'0,"-1"13"15,1 13-15,13-13 16,-1 0-16,-12 0 0,0 0 0,12 0 16,1 13-16,-13-13 0,12 0 15,1 0-15,0 13 0,0-13 16,26 14 0,0-1-1,0-13-15,1 13 0,12-13 0,-13 13 16,1-13-16,-1 14 0,13-1 0,-13 0 15,1-13-15,-14 13 16,0 0-16,13-13 0,-26 14 16,13-1-16,-14 0 0,1 0 15,0 1-15,0-14 0,-14 13 0,1 0 16,13-13-16,-14 13 0,14-13 16,-13 14-16,12-14 0,1 0 0,0 13 15,0-13-15,-1 0 0,1 0 0,0-13 16,0-1-1</inkml:trace>
  <inkml:trace contextRef="#ctx0" brushRef="#br0" timeOffset="58360.72">19407 9882 0,'0'-13'0,"13"39"16,-13 1-1,0-14-15,0 14 0,0-1 16,-13 14-16,13-1 0,0 1 0,-13 0 16,13-1-16,0 1 0,-13 0 0,0 0 15,13-1-15,-14 1 0,14-14 16,-13 14-16,13-27 0,0 14 0,0-14 16,0 0-16,0 14 0,0-14 0,13-13 15</inkml:trace>
  <inkml:trace contextRef="#ctx0" brushRef="#br0" timeOffset="60751.05">20426 10081 0,'0'0'0,"0"-27"15,0 14 1,-13 13-16,-1-13 16,1 13-16,0 0 15,0 0-15,-1 0 0,-12 13 16,13-13-16,-14 13 0,1 0 0,13 1 15,-1-1-15,-12-13 0,13 13 0,-1 0 16,14 1-16,-13-1 0,0 0 16,13 0-16,0 0 0,13 1 15,0-14-15,1 0 16,-1 0-16,13 0 0,-12 0 16,-1-14-16,13 14 0,-12 0 0,-1 0 15,0-13-15,0 13 0,0 0 0,1 0 16,-1 0-1,0 13-15,-13 1 16,0-1-16,0 0 0,-13 0 16,13 1-16,0-1 0,0 0 15,-13 0-15,13 1 0,-14 12 16,14-13-16,-13 0 0,13 1 16,0-1-16,13 0 15,1-13 1</inkml:trace>
  <inkml:trace contextRef="#ctx0" brushRef="#br0" timeOffset="61103.78">20783 10094 0,'0'0'0,"-13"0"16,-14 0-1,14 0-15,0 13 0,0-13 0,-14 13 16,14-13-16,-13 14 0,12-14 0,1 13 16,0-13-16,0 13 0,13 0 15,-14-13-15,41 13 16,-14-13-16,0 0 16,1-13-16,-1 13 15,0 0-15,0 0 0,0 0 0,1 13 16,-1-13-16,0 0 0,-13 14 0,13-1 15,-13 0-15,14 0 0,-14 1 0,0 12 16,0-13-16,0 14 0,-14-14 16,14 0-16,0 14 0,0-14 0,-13 13 15,13-12-15,0-1 0,0 0 0,0 0 16,0 1-16,0-1 0,0 0 16</inkml:trace>
  <inkml:trace contextRef="#ctx0" brushRef="#br0" timeOffset="62255.83">6641 10213 0,'0'-13'0,"-13"13"15,0 0 1,-1 0-16,1 0 0,-13 0 15,-1 13-15,14-13 0,-13 13 0,-1-13 16,14 13-16,0-13 0,-1 14 0,1-14 16,0 0-16,13 13 0,-13-13 15,13 13-15,13 0 16,0-13-16,0 0 0,1 14 0,-1-14 16,0 0-16,-13 13 0,13-13 15,1 0-15,-1 13 0,0-13 0,0 13 16,0 0-16,-13 1 0,0-1 15,0 0-15,0 0 16,0 1-16,-13-1 0,0 0 0,0 0 16,0 1-16,-1-1 0,-12 13 15,-1-13-15,1 1 0,-1-1 16,14 0-16,-13-13 0,13 13 0,-14-13 16,14 14-16,0-14 0,-14 0 0,14 0 15,0 0-15,-1 0 16,1-14-16</inkml:trace>
  <inkml:trace contextRef="#ctx0" brushRef="#br0" timeOffset="62492.99">6376 10001 0,'27'106'15,"-27"-66"1,13 52-16,-13-52 0,0 13 16,-13 79-16,13-79 0,-13 13 15,-1-13-15,14-13 0,-13 13 16,13-13-16,-13-1 0,13-12 0,0-1 16,0 1-16,0-1 0,0-13 0,-13 1 15,13-1-15</inkml:trace>
  <inkml:trace contextRef="#ctx0" brushRef="#br0" timeOffset="66680.12">7011 10266 0,'-13'0'32,"13"26"-17,0-12-15,0-1 16,0 0-16,0 0 0,-13 14 16,13-14-16,0 0 0,0 14 0,0-14 15,-13 13-15,13 1 0,0-14 0,0 13 16,0-12-16,-13-1 0,13 40 15,0-40 1,0 0-16,0 0 16</inkml:trace>
  <inkml:trace contextRef="#ctx0" brushRef="#br0" timeOffset="67042.91">7157 10385 0,'0'0'0,"0"-13"16,-13 39 0,0-13-1,13 1-15,0-1 0,0 0 16,0 0-16,0 1 0,0 12 16,13-13-16,-13 0 0,13 1 0,0-14 0,0 13 15,1 0-15,-1-13 0,0 13 16,0-13-16,14 0 0,-14 0 15,0 0-15,0-13 0,1 13 0,-1 0 16,0-13-16,0 13 0,-13-13 0,14-1 16,-14 1-16,0 0 0,0 0 15,0 0-15,0-1 0,-14 1 16,1-13-16,0 26 0,0-14 16,-1 1-16,1 13 0,0 0 15,-13-13-15,12 13 16,1 13-16,0-13 0,0 13 15,26-13 17</inkml:trace>
  <inkml:trace contextRef="#ctx0" brushRef="#br0" timeOffset="67335.82">7474 10358 0,'14'0'16,"-1"27"-1,-13-14-15,0 0 0,13 1 16,-13-1-16,13 0 16,1 0-16,-1 1 15,0-1-15,0-13 0,14 13 0,-14-13 0,0 0 16,0 0-16,14 0 16,-14 0-16,0-13 0,1 13 0,-1 0 15,0-13-15,0-1 0,-13 1 16,14 0-16,-28 13 0,14-13 0,-13-1 15,13 1-15,-13 0 0,0 0 16,-14-1-16,14 14 0,0-13 0,-14 13 16,1 0-16,13 0 0,-27 0 0,0 13 15,0 14-15,1-14 0,-14 14 16,13-1-16,-13 1 0</inkml:trace>
  <inkml:trace contextRef="#ctx0" brushRef="#br0" timeOffset="71367.59">6271 10967 0,'-14'13'0,"14"14"16,0-14-1,14-13-15,-14 13 0,0 0 16,13 1-16,-13-1 16,13 0-16,-13 0 0,13 0 0,1 1 15,-1-14-15,-13 13 0,13 0 0,0 0 16,14-13-16,-14 14 0,0-14 15,0 13-15,1-13 0,-1 0 0,0 13 16,0-13-16,14 0 0,-14 0 0,0 0 16,0 0-16,14-13 0,-14 13 15,0 0-15,1 0 0,-1-13 0,13 13 16,-12 0-16,-1-14 0,0 14 16,13 0-16,-12-13 0,-1 13 15,0-13-15,0 13 0,1 0 0,-1-13 16,13 13-16,-13-14 0,1 14 0,12 0 15,1-13-15,-14 13 0,13-13 16,14 13-16,0-13 0,-1 0 0,1 13 16,0-14-16,-1 1 0,1 13 0,13 0 15,-27-13-15,14 13 0,0 0 16,-14-13-16,14 13 0,-14 0 16,1 0-16,13 0 0,-14-14 0,67 14 15,-54 0-15,14 0 16,-13-13-16,13 13 0,-13 0 0,13 0 15,-14 0-15,1 0 0,13-13 0,-14 13 16,14 0-16,-13 0 0,13 0 16,0 0-16,0 0 0,0 0 0,-14 0 15,14 0-15,0 0 0,-13 0 0,0 0 16,-1 0-16,14 0 0,-13 0 16,0 0-16,13 0 0,-1 0 0,-12 0 15,13-13-15,0 13 0,-13 0 0,13 0 16,-14 0-16,1 0 0,-14 0 15,14 0-15,0 0 0,-14 0 0,14 0 16,-14 0-16,14 0 0,-13 0 16,12 0-16,-12 13 0,12-13 0,-12 0 15,13 0-15,-1 0 0,41 0 16,-14 0-16,-40 0 16,14 0-16,-14 0 0,14 0 15,-14 0-15,14 13 0,-13-13 16,12 0-16,27 0 0,1 0 15,25 0-15,-39 0 16,0 0-16,-13 0 0,39 0 16,-26 0-16,-13 0 0,39 0 15,-26 0-15,-13 0 0,13 13 16,0-13-16,-14 0 0,14 0 0,-13 0 16,13 0-16,0 0 0,-14 0 15,14 0-15,0 0 0,-13 14 0,13-14 16,0 0-16,0 0 0,-14 0 15,14 0-15,0 0 0,0 0 0,13 0 16,-13 0-16,0 0 0,0 0 0,0 0 16,13 13-16,-13-13 0,13 0 15,-13 0-15,13 0 0,13 0 0,-12 0 16,12 13-16,-26-13 0,0 0 0,26 0 16,-26 0-16,13 13 0,-13-13 15,13 0-15,1 0 0,-15 14 16,1-14-16,0 13 0,13-13 0,-26 13 15,13-13-15,0 13 0,0-13 0,-13 13 16,-1 1-16,14-1 0,-13-13 16,-1 13-16,1 0 0,0 1 0,0-1 15,-1-13-15,-12 13 0,-1 0 0,1 1 16,-1-14-16,-13 13 0,14-13 16,-1 13-16,-13-13 0,1 13 0,-1-13 15,0 0-15,0 13 0,1-13 16,-1 0-16,0 0 0,-13 14 0,13-14 15,1 0-15,-1 13 16,0-13 0,0 0 15,0-13-15,1-1-1,-14 1-15,0 0 16,13 13-16,-13-13 0,13 0 0,-13-1 15,13 1-15,1 0 16,-1 0-16,-13-1 0,13 1 0,0 0 16,1 0-16,-1 13 0,0-14 15,0 1-15,0 0 16,1 13-16,-1-13 0,0 13 16,0-13-16,14 13 0,-14-14 0,0 14 15,14-13-15,-1 13 0,1-13 16,-1 13-16,1-13 0,-1 13 0,0 0 15,1-14-15,-1 14 0,1 0 0,13 0 16,-14-13-16,0 13 0,14 0 0,-13 0 16,12 0-16,1 0 0,0 0 15,-1 0-15,14 0 0,-13 0 16,0 0-16,-14 0 0,27 0 0,0 0 0,-13 0 16,13 0-16,-1 0 15,-12 0-15,13 0 0,0 0 0,0 0 16,0 0-16,-14 0 0,14 0 0,0 0 15,0 0-15,-13 0 0,13 0 16,0 0-16,0 0 0,0 0 0,-1 0 16,1 0-16,0 0 0,13 0 0,-13 0 15,0 0-15,13 0 0,-13 0 16,0 0-16,13-13 0,-13 13 0,14 0 16,-1 0-16,-13 0 0,26 0 0,-26 0 15,13 0-15,-13 0 0,13 0 16,-13 0-16,13 0 0,0 0 15,-13 0-15,27 0 0,-28 0 0,15 0 16,-14 0-16,13 0 0,-13 0 0,13 0 16,0 0-16,0 0 0,0 0 15,-13 0-15,13 0 0,-13 0 0,13 0 16,-13 0-16,13 0 0,-13 0 0,13 0 16,-13 0-16,0 0 15,13 0-15,-13 13 0,0-13 0,13 0 0,-13 0 16,0 0-16,0 0 0,0 0 15,-13 0-15,13 0 0,39 0 16,-39 13-16,-13-13 0,13-13 0,-14 13 16,1 0-16,0 0 0,13 0 0,-14 0 15,1 0-15,13 0 0,-26-13 16,12 13-16,-12 0 0,-1 0 16,14-13-16,-14 13 0,1-13 0,-1 13 15,-13-14-15,14 14 0,-1-13 16,1 13-16,-14-13 0,0 13 0,14-13 15,-14-1-15,0 14 0,14-13 0,-14 0 16,0 0-16,0-1 0,1 14 16,-1-13-16,0 0 0,0 0 0,0 13 15,1-13-15,-1-1 0,0 1 16,-39 13 15,12 0-31,1 0 0</inkml:trace>
  <inkml:trace contextRef="#ctx0" brushRef="#br0" timeOffset="72082.97">13626 11708 0,'13'-27'16,"-13"14"-16,13 13 15,1-13-15,-1 0 0,13 13 0,-12-14 16,-1 14-16,13-13 0,-12 13 0,-1 0 16,0-13-16,0 13 0,0 0 15,1 0-15,-1 0 0,-13 13 16,13-13-16,-13 13 0,13-13 0,-13 14 16,0-1-16,14 0 0,-14 0 15,0 1-15,0-1 0,0 0 0,0 0 16,0 14-16,-14-14 0,14 0 0,0 0 15,0 14-15,0-14 0,0 0 16,-13 1-16,13-1 0,0 0 16,0 0-16,-13 0 0,13 1 15,0-1 1</inkml:trace>
  <inkml:trace contextRef="#ctx0" brushRef="#br0" timeOffset="72286.8">13639 11880 0,'27'-13'32,"-14"-1"-32,13 14 0,-12-13 15,12 0-15,1 13 0,12-13 0,1-1 16,-14 1-16,14 13 0,-13-13 15,-1 13-15,0-13 0,1 13 0,-1-13 16,1 13-16,-1 0 0</inkml:trace>
  <inkml:trace contextRef="#ctx0" brushRef="#br0" timeOffset="72999.96">14420 11814 0,'-13'-27'0,"13"14"0,13 0 16,-13 0-16,0-1 16,0 1-16,-13 0 15,13 0-15,0-1 16,-27 28 15,27-1-31,0 0 16,-13 0-16,13 1 0,0-1 15,0 0-15,0 0 16,0 0-16,0 1 0,13-1 16,0-13-1,1 0-15,-1 0 16,0 0-16,0-13 0,0 13 15,1-27 1,12 14-16,-13 0 16,1 13-16,-1-13 0,0 13 31,0 0-31,1 0 16,-1 13-1,-13 0 1,13-13-16,-13 13 0,13 0 15,0-26 32,1 13-47,-14-13 16,13 13-16,0-13 16,0 13-1,1 0 1,-1 0-16,0 0 15,0 0 1,1 0-16,-1 0 16,0 0-16,0 0 15,0 0 1,1 0-16,-1-13 0,0 13 16,0-14-16,1 14 15,-1-13-15,-13 0 0,13 13 16</inkml:trace>
  <inkml:trace contextRef="#ctx0" brushRef="#br0" timeOffset="73398.89">15042 11483 0,'0'-13'0,"0"52"47,0-25-31,0-1-16,0 13 0,0-12 15,0 12-15,0 0 0,0 14 0,0-13 16,0-1-16,0 1 0,0-1 0,0 0 16,0 1-16,-14-1 0,14-12 0,0-1 15,0 0-15,0 0 0,0 0 16,0 1-16,0-41 31,0 14-31,14-13 16,-1-14-16,0 13 0,0-12 0,0 12 15,1 1-15,12-1 0,-26 14 0,13 0 16,1 0-16,-1-1 0,0 14 16,14 0-1,-41 14 1,14-1-16,0 0 0,-13 0 16,0 1-16,13 12 0,-13-13 15,-1 1-15,1-1 0,0 0 16,13 0-16,-13-13 0</inkml:trace>
  <inkml:trace contextRef="#ctx0" brushRef="#br0" timeOffset="74236.78">15425 11271 0,'0'27'0,"0"-14"16,-13 0-16,13 0 16,0 1-16,0 12 0,-13-13 0,13 14 15,0-14-15,0 13 0,0-12 0,0-1 16,0 0-16,0 0 0,0 1 16,13-14-16,-13 13 0,13-13 15,-13 13-15,13-26 0,14 13 16,-14-13-16,0-1 15,1 14 1,-1-13-16,-13 26 31,13 1-15,-13-1 0,13-26 15,1-1-16,-14 1 1,13 13 47,-13-13-48,13 13-15,0 0 16,0 0-16,1 0 0,-1 0 31,0 0-31,0 0 16,1 0-16,-14 13 0,0 0 15,13-13-15,-13 14 16,0-1-16,0 0 16,0 0-16,0 1 15,-13-1-15,13 0 0,0 0 31,26-26 1,-26 0-32,13 0 0,0-1 15,14 1-15,-14 0 0,0 0 0,1-1 16,-14 1-16,13 13 0,0-13 0,-13 0 16,13 13-16,1-14 15,-14 28 16,0-1-31,0 0 0,0 0 16,0 1-16,0-1 16,0 0-16,0 0 0,0 1 15,13-14-15,13-14 32,-13 14-32,1-13 0,-1 0 15,0 0-15</inkml:trace>
  <inkml:trace contextRef="#ctx0" brushRef="#br0" timeOffset="74370.94">16100 11417 0</inkml:trace>
  <inkml:trace contextRef="#ctx0" brushRef="#br0" timeOffset="76318.7">21736 9975 0,'-27'0'31,"14"0"-31,0 0 0,-1 0 16,1 0-16,0 0 0,0 0 0,-1 13 15,-12-13-15,13 13 0,0-13 16,-1 0-16,1 13 0,0-13 0,13 14 16,-13-14-16,-1 13 0,14 0 0,0 0 15,0 1 1,14-1-16,-1-13 0,-13 13 15,13-13-15,14 13 0,-14 1 0,0-14 16,0 13-16,0-13 0,14 13 0,-14-13 16,0 13-16,1-13 15,12 27 1,-26-14-16,-13 0 16,0 0-16,13 1 0,-14-14 15,-12 26-15,-1-26 0,14 13 16,-13 1-16,13-1 0,-14-13 0,1 13 15,12-13-15,1 0 0,-13 13 16,12-13-16,1 0 0,0 0 0,0 0 16,0 0-16,13-13 0,-14 13 0,14-13 15,-13 13-15</inkml:trace>
  <inkml:trace contextRef="#ctx0" brushRef="#br0" timeOffset="76588">21577 9750 0,'0'0'0,"0"-13"0,13 39 15,-13-13 1,0 1-16,0 12 0,0 14 16,0-1-16,-13 1 0,13 0 0,0 13 15,0 0-15,-13-14 0,-1 27 0,14-26 16,0 13-16,-13-13 0,13-1 15,-13 14-15,13-13 0,-13 26 16,13-39-16,0-1 0,-14 1 16,14-14-16,0 0 0,0 13 15,0-12-15,0-1 0,14 0 16</inkml:trace>
  <inkml:trace contextRef="#ctx0" brushRef="#br0" timeOffset="77928.52">22357 9948 0,'-13'27'15,"13"-14"-15,-13 0 16,13 0-16,0 14 0,-13-1 0,13-12 16,-14 25-16,1-12 0,13-14 15,-13 13-15,0 1 0,13-1 16,-14-12-16,14-1 0,-13 13 0,13-12 15,-13-1-15,13 0 0,-13 0 16,13 0 0</inkml:trace>
  <inkml:trace contextRef="#ctx0" brushRef="#br0" timeOffset="78299.8">22463 10067 0,'0'-13'0,"-13"40"15,0-14-15,-1 0 16,14 0-16,0 14 16,-13-14-16,13 0 0,0 0 0,0 1 15,0-1-15,13 0 0,1 0 16,-1 1-1,0-14-15,0 0 0,1 0 16,-1-14-16,0 14 0,0 0 16,0-13-16,-13 0 0,14 13 0,-14-13 15,13-1-15,-13 1 0,0 0 16,0 0-16,0 0 0,0-1 16,-13 1-16,-1 13 0,14-13 15,-13 13-15,0 0 0,0 0 0,0 0 16,-1 0-16,1 0 0,0 0 0,0 0 15,13 13-15,-14-13 0,1 0 16,13 13-16</inkml:trace>
  <inkml:trace contextRef="#ctx0" brushRef="#br0" timeOffset="78653.03">22688 10054 0,'0'0'0,"-13"27"47,13-14-47,0 0 0,-13-13 0,13 13 15,0 1-15,0-1 0,0 0 0,0 0 16,0 0-16,13 1 16,-13-1-16,13-13 0,0 13 15,0-13-15,1 0 16,-1 0-16,0 0 0,0-13 15,1 13-15,-1-13 0,0-1 16,-13 1-16,13 0 0,-13 0 16,0 0-16,0-1 15,0 1-15,-13 0 0,13 0 0,-13 13 16,13-14-16,-13 14 0,13-13 0,-14 13 16,1 0-16,0 0 15,0 0-15,-1 0 0,1 13 0,0 1 16,0-14-16,13 13 0</inkml:trace>
  <inkml:trace contextRef="#ctx0" brushRef="#br0" timeOffset="79012.05">22913 10028 0,'0'-14'0,"-13"28"47,13-1-47,0 0 16,-14 0-16,14 1 0,0-1 0,-13 0 15,13 0-15,0 1 0,0-1 0,0 0 16,0 0 0,13-13-16,-13 13 0,14 1 0,-1-14 15,0 0-15,0 0 0,1 13 16,-1-26-16,0 13 0,0 0 15,1 0-15,-1-14 0,0 14 0,0-13 16,0 13-16,1-13 0,-14 0 16,0 0-16,0-1 0,0 1 15,-14 0-15,14 0 0,-13 13 16,13-14-16,-13 14 0,-13-13 16,12 13-16,-25 13 15,25-13-15,-12 14 0,13-14 0,-1 13 16,1 0-16,0 0 0,0 1 15</inkml:trace>
  <inkml:trace contextRef="#ctx0" brushRef="#br0" timeOffset="82639.87">4696 10742 0,'-13'0'0,"13"-13"16,27 13-1,-1 0 1,-13 0-16,0-13 0,14 13 16,-14 0-16,14 0 0,-1 0 15,1 0-15,-14 0 0,13 0 0,1 0 16,-14 0-16,13 0 0,-12 0 0,-1 0 16,0 0-16,-13 13 15,-13 0 1,0-13-16,-1 13 0,1 1 0,0-14 15,-14 13-15,14 0 0,-13-13 16,13 13-16,-1 0 0,1-13 16,0 14-16,0-14 0,-1 0 0,14 13 15,-13-13-15,26 13 32,14-13-32,-14 0 0,0 0 15,1-13-15,-1 13 0,0 0 0,0 0 16,0 0-16,14 0 0,-14-13 15</inkml:trace>
  <inkml:trace contextRef="#ctx0" brushRef="#br0" timeOffset="83362.78">5292 13520 0,'66'0'15,"-40"0"1,-12-13-16,12 13 0,-13 0 0,0 0 16,14 0-16,-14 0 0,14 0 0,-14 0 15,0 0-15</inkml:trace>
  <inkml:trace contextRef="#ctx0" brushRef="#br0" timeOffset="83611.83">5212 13785 0,'40'0'16,"-27"0"-16,0 0 15,14 0-15,-1-13 0,1 13 16,-1 0-16,1-14 0,-1 14 0,1 0 16,-1-13-16,1 13 0,-14 0 15,13-13-15,-13 13 0,1 0 0,-1 0 16,0-13-16,0 13 0,1 0 16,-1 13-16</inkml:trace>
  <inkml:trace contextRef="#ctx0" brushRef="#br0" timeOffset="87167.81">3942 13388 0,'-13'0'0,"13"13"32,0 80-17,0-67-15,0 1 0,0-1 16,0 1-16,0-1 0,0 0 0,0 1 16,-13-1-16,13 1 0,0-1 0,0-12 15,0 12-15,0-13 0,0 14 16,0-14-16,0 0 0,-13 0 0,13 1 15,0-1-15,0 0 16</inkml:trace>
  <inkml:trace contextRef="#ctx0" brushRef="#br0" timeOffset="87535.57">3850 13441 0,'13'-27'0,"-26"54"0,39-67 0,-13 40 16,1 0-16,-1-13 0,0 13 0,0 0 15,1 0-15,-14 13 0,13-13 16,0 13-16,-13 1 0,13-1 0,-13 13 16,-13-12-16,13 12 0,-13 14 15,0-14-15,-1 1 0,1-1 0,0 0 16,0-12-16,13 12 0,-14-13 15,1 1-15,0-14 0,13 13 0,-13 0 16,-1 0-16,14 1 31,14-1-15,-1-13-16,0 0 0,0 0 16,14 0-1,-14 0-15,0-13 0,1 13 0,-1 0 16,0 0-16,0 0 0,0-14 0,1 14 15,-1 0-15,0 0 16</inkml:trace>
  <inkml:trace contextRef="#ctx0" brushRef="#br0" timeOffset="88788.83">4180 13573 0,'0'0'0,"-13"0"0,0 0 16,0 0-16,13 13 16,-13-13-16,-1 14 0,14-1 15,-13 0-15,13 0 0,-13 0 16,13 1-16,0-1 0,0 0 16,0 0-16,0 1 15,0-1-15,13-13 0,-13 13 16,13-13-1,1-13-15,-1 13 16,-13-13-16,13-1 0,-13 1 16,0 0-16,13 13 15,-13-13-15,0-1 0,0 1 16,0 0-16,0 0 31,13 26 16,-13 0-31,14-13-16,-14 13 15,13 1 1,0-14 15,0 0-15,1-14-1,-1 14-15,0 0 16,0 14 0,0-14-1,1 0 1,-14 13 0,13-13-16,-13 13 31,13-13 0,0-13-15,1 0-1,-1 13 1,-13-14-16,13 14 16,0 0-16,-13-13 0,14 0 15,-1 0-15,0 0 16,-13-1-1,13 1-15,-13 0 16,0 0 0,0-1-1,13 41 32,1-14-47,-14 0 16,0 1-16,13 12 0,-13-13 15,0 0-15,0 1 0,0-1 16,0 0-16,0 0 0,0 14 0,-13-1 16,-1-12-16,14-1 0,-13-13 15,13 13-15,0 0 0,-13-13 16,13 13 0,13-26 15,-13 0-16,13 0-15,1 0 0,-14-1 16,13 14-16,0-13 0,0 0 16,-13 0-16,14-14 0,-1 14 15,0 0-15,14-27 0,-27 14 16,13 12-16,0-12 0,0-14 16,-13 27-16,13-13 15,-13 12-15,0 1 0,0 0 16,0 0-16,0-1 15,-13 14 1,0 14-16,0-1 16,13 0-16,0 0 15,0 1-15,13-1 16,-13 0-16,13-13 16,0 13-16,1 0 0,-1 1 15,0-14-15,-13 13 0,13-13 16,1 0-16,-14 13 0,13-13 15,0 0-15,-13 13 16</inkml:trace>
  <inkml:trace contextRef="#ctx0" brushRef="#br0" timeOffset="89072.11">4061 14063 0,'40'-27'32,"-27"14"-32,40-14 0,-13 14 0,0 0 15,39-27-15,-26 14 16,-13 13-16,-1-1 0,1-12 15,13 13-15,-27-1 0,-12 14 16,-1-13-16,0 13 0,0 0 0,0 0 16,-13 13-1,-13 1-15</inkml:trace>
  <inkml:trace contextRef="#ctx0" brushRef="#br0" timeOffset="89303.81">4247 14116 0,'-40'26'0,"80"-52"0,-107 65 15,54-26-15,0-13 16,53 0 15,-27 0-31,0-13 0,14 13 16,-14-13-16,26 0 0,-12 0 0,13-1 16,26-12-16,-40 13 0,-13-1 15,14 1-15,-1 0 16,-12 13-16,-1-13 0,0 13 15,0 0-15,-13-14 0,14 14 16,-1 0-16</inkml:trace>
  <inkml:trace contextRef="#ctx0" brushRef="#br0" timeOffset="99932.79">19685 6694 0,'13'26'15,"-13"-12"1,0-1-16,0 0 0,0 14 0,0-1 0,0 0 16,0 1-16,0-1 0,0 1 0,0-1 15,-13 1-15,13-1 16,0-13-16,0 14 0,-13-14 0,13 0 15,0 1-15,0-1 0,0 0 0,0 0 16,0 1-16,13-14 16,0 0-16</inkml:trace>
  <inkml:trace contextRef="#ctx0" brushRef="#br0" timeOffset="100164.01">19950 6720 0,'0'-39'0,"0"78"0,13-91 0,-13 38 15,0 1-15,0 40 32,0-14-17,0 13-15,0-13 0,0 14 0,0-14 16,0 14-16,0-1 0,0 0 0,0 1 16,0-1-16,0-12 0,0 12 0,0-13 15,0 14-15,0-14 0,0 0 16,0 0-16,0 14 0,0-14 15,0 0-15,0 1 16</inkml:trace>
  <inkml:trace contextRef="#ctx0" brushRef="#br0" timeOffset="100383.6">19659 7011 0,'0'0'0,"26"-13"15,-13 13-15,0-13 16,1 13-16,-1 0 0,13-13 0,-12 13 16,12-13-16,-13 13 0,14-14 15,-14 14-15,13-13 0,1 13 0,-14 0 16,14-13-16,-14 13 0</inkml:trace>
  <inkml:trace contextRef="#ctx0" brushRef="#br0" timeOffset="100741.76">20320 6734 0,'13'26'15,"-13"-13"1,0 1-16,0-1 0,13 0 16,-13 0-16,0 0 0,0 1 0,0-1 15,14 0-15,-14 0 0,13 1 0,-13-1 16,13 0-16,-13 0 16,13-13-16,-13 14 0,14-14 15,-1-14 1,-13 1-1,13 0-15,-13 0 0,0-1 16,0 1-16,13 0 0,-13-14 16,14 14-16,-14-13 0,0 13 0,13-14 15,-13 14-15,13 0 0,-13-1 0,0 1 16,13 0-16,0 13 16,1 0-1</inkml:trace>
  <inkml:trace contextRef="#ctx0" brushRef="#br0" timeOffset="100991.37">20876 6760 0,'0'0'0,"26"-13"32,-13 13-32,14-13 15,-14 13-15,0 0 0,14 0 16,-1 0-16,-13 0 0,1 0 0,12 0 16,-13 0-16,1 0 0,-1 0 15,0 0-15,0 0 0</inkml:trace>
  <inkml:trace contextRef="#ctx0" brushRef="#br0" timeOffset="101212.26">20942 6879 0,'-13'0'15,"52"-13"32,-26 13-47,1 0 16,-1 0-16,0 0 0,0 0 15,1 0-15,-1-13 16,0 13-16,0 0 0,-13-14 0</inkml:trace>
  <inkml:trace contextRef="#ctx0" brushRef="#br0" timeOffset="102058.02">20995 6813 0,'39'-13'16,"-12"0"0,-14 13-16,0 0 0,14-14 0,-1 14 15,-13 0-15,14-13 0,-14 13 16,0 0-16,1-13 0,-54 13 31,27 0-31,-14 0 16,14 13-16,-13-13 0,-1 0 15,1 0-15,12 0 0,1 0 0,-13 0 16,12 0-16,1 13 0,0-13 16,0 0-16,52 0 31,-25 0-31,12 0 0,-13 0 15,14 0-15,-1 0 0,1 0 0,-1 0 16,-13 0-16,1 0 0,12 0 16,-13 0-16,-39 14 31,-1-14-31,14 0 16,-13 0-16,-1 0 0,1 0 0,13 0 15,-14 0-15,14 0 0,-14 13 16,14-13-16,0 0 0,0 0 15,0 0-15,39-13 32,0 13-32</inkml:trace>
  <inkml:trace contextRef="#ctx0" brushRef="#br0" timeOffset="102395.6">21775 6443 0,'0'0'0,"-13"26"31,13-13-31,-13 1 16,13-1-16,-13 0 0,-1 13 0,1 1 15,-13-1-15,12 1 0,1-1 0,13 1 16,-13-14-16,0 13 0,13-12 15,-14-1-15,14 0 0,0 0 0,0 1 16,0-1-16,-13 0 0,26 0 16,-13 0-16,14-13 15,-14 14-15,13-14 0,0 0 16,0 0-16,1 0 0,-1 0 16,0 0-16,14 0 0,-14 0 15,13 0-15,-13 0 0,14-14 16,-14 14-16,14-13 0,-14 0 0,13 13 15,14-26-15</inkml:trace>
  <inkml:trace contextRef="#ctx0" brushRef="#br0" timeOffset="102706.76">22238 6443 0,'-13'13'16,"0"-13"-1,13 13-15,-13 0 0,13 1 0,-14-1 16,14 0-16,0 0 0,-13 0 0,13 1 16,0-1-16,0 0 0,0 0 15,0 1-15,13-1 0,-13 0 16,14 0-16,-1 1 0,0-1 16,0 0-16,0-13 15,1 13-15,-1-13 0,0 0 0,0 0 16,1 0-16,-1 0 0,0 0 15,0-13-15,1 13 0,-1 0 16,0 0-16,0-13 0,0 13 0,1-13 16,-1 13-16,0 0 15,0 0 1</inkml:trace>
  <inkml:trace contextRef="#ctx0" brushRef="#br0" timeOffset="104872.79">19328 7660 0,'-13'0'0,"13"26"31,-14-13-31,14 1 0,0-1 16,-13 0-16,13 0 0,-13 1 0,13 12 16,0-13-16,0 0 0,-13 1 0,13 12 15,0-13-15,0 1 0,0-1 16,0 0-16,0 0 0,0 1 16,0-1-16,13 0 15</inkml:trace>
  <inkml:trace contextRef="#ctx0" brushRef="#br0" timeOffset="105215.99">19447 7726 0,'-13'-13'31,"-1"13"-31,14 13 0,-13 0 16,13 0-16,-13 1 15,13-1-15,0 0 0,0 0 0,13 0 16,-13 1-16,13-1 16,1 0-16,-1 0 15,0-13-15,0 0 0,1 0 0,-1 0 16,0 0-16,0 0 0,0 0 0,-13-13 16,14 13-16,-1-13 0,-13 0 15,0-1-15,13 14 0,-13-13 0,0 0 16,-13 0-16,13 0 0,0-1 0,0 1 15,0 0-15,-13 13 0,13-13 0,-14 13 16,14-14-16,-13 14 0,0 0 16,0 0-16,0 0 15</inkml:trace>
  <inkml:trace contextRef="#ctx0" brushRef="#br0" timeOffset="105548.67">19645 7699 0,'-26'27'31,"26"-14"-31,-13 0 0,13 1 16,0-1-16,13 0 0,-13 0 15,13 0-15,-13 1 16,13-14-16,1 13 0,-1-13 0,0 0 0,0 0 15,0 0-15,1 0 16,-1 0-16,0 0 0,0 0 0,1-13 16,-1 13-16,0-14 0,0 14 0,-13-13 15,0 0-15,0 0 0,0 0 16,0-1-16,0 1 0,0 0 16,-13 0-16,13-1 0,-13 14 0,13-13 15,-13 13-15,-1-13 16,1 13-16,0 0 0,0 13 15,-1-13-15,1 0 0,0 0 0,13 13 16,-13 1 0</inkml:trace>
  <inkml:trace contextRef="#ctx0" brushRef="#br0" timeOffset="105892.68">19976 7633 0,'0'13'0,"0"1"16,-13-1-16,13 0 0,0 0 15,0 1-15,0-1 0,0 0 0,0 0 16,0 1-16,13-1 0,-13 0 16,13 0-16,0 0 0,1-13 15,-1 14-15,0-14 0,0 0 16,1 0-16,-1 0 0,0 0 15,0 0-15,1 0 0,-14-14 0,13 14 16,-13-13-16,13 0 16,-13 0-16,-13 0 0,13-1 0,0 1 15,-13 0-15,-1 0 0,14-1 0,-13 1 16,0 0-16,0 0 0,-1 13 16,1 0-16,0-14 0,0 14 0,-1 0 15,1 0-15,0 14 0,0-14 16,13 13-16</inkml:trace>
  <inkml:trace contextRef="#ctx0" brushRef="#br0" timeOffset="106555.9">20995 7752 0,'13'-13'0,"40"0"16,-27 13-1,-12-13-15,12 13 0,-13 0 16,14 0-16,-14 0 0,0-14 0,0 14 15,1 0-15,-1 0 0,0 0 0,-39 0 47,12 0-47,1 14 16,-13-14-16,12 0 0,1 0 0,0 0 16,-13 13-16,12-13 0,1 0 0,0 0 15,0 0 1,39 13 15,-13-13-31,14-13 0,-14 13 0,0 0 16,14 0-16,-14 0 0,0 0 0,0 0 15,1 0-15,-1 0 0,0 0 16,0 0-16,-52 0 31,25 0-15,-12 0-16,13 0 0,-1 0 15,1 0-15,0 0 0,0 0 0,0 0 16,-1 0-16,1 0 16</inkml:trace>
  <inkml:trace contextRef="#ctx0" brushRef="#br0" timeOffset="109708.5">22027 7501 0,'-14'0'0,"28"0"0,-28-13 0,1 13 0,13-14 16,-13 14-16,0 0 0,-1 0 16,1 0-16,0 0 0,-13 0 0,12 14 15,-12-14-15,13 13 0,-14 0 0,14-13 16,0 13-16,-1 1 0,1-1 16,-13 0-16,26 0 15,-13-13-15,26 14 16,0-28-1,13 14-15,-12-13 0,-1 13 0,0-13 16,14 0-16,-14 13 0,0-14 16,14 14-16,-27-13 0,13 13 0,0-13 15,0 13-15,0 0 16,-13 13-16,14 0 0,-14 1 16,13-1-16,-13 0 0,0 0 0,0 1 15,0-1-15,0 0 0,0 13 16,0-12-16,0-1 0,0 0 0,-13 0 15,13 1-15,0-1 0,0 0 0,0 0 16,0 1 0,0-1-16,13-13 0,13 0 15,-12 0 1</inkml:trace>
  <inkml:trace contextRef="#ctx0" brushRef="#br0" timeOffset="110683.64">22542 7488 0,'14'0'0,"-14"-14"15,-14 1 16,1 13-31,-13 0 16,13 0-16,-1 0 16,1 0-16,0 13 0,0-13 15,-1 0-15,1 0 0,0 14 16,0-1 0,13 0-16,0 0 15,0 1-15,0-1 16,13 0-16,-13 0 0,0 1 15,0-1-15,-13 0 0,13 0 16,0 0-16,-13 1 0,13-1 0,-27 13 16,14-12-16,13-1 15,-13-13-15,-1 13 0,1-13 0,13 13 16,-13-13-16,0 14 16,-1-14-16,28-27 31,-1 14-31,0 0 15,0-1-15,1 14 16,-1-13-16,0 0 0,0 0 16,1-1-16,-14 1 0,13 0 0,0 13 15,-13-13-15,13 0 0,-13-1 0,0 1 16,0 0-16,0 0 16,0-1-16,-13 1 15,0 13-15,13-13 0,-13 13 0,-1 0 16,1 0-16,0 0 15,0 0-15,-1 0 0,1 13 0,0-13 16,0 13-16,-1 1 0</inkml:trace>
  <inkml:trace contextRef="#ctx0" brushRef="#br0" timeOffset="110956.69">22767 7541 0,'-26'26'31,"13"-26"-31,-1 13 0,1 1 15,-13 12-15,-1-13 0,1 14 0,-1-1 16,1-13-16,-1 14 0,1-1 0,0-12 16,-1-1-16,14 0 0,0 13 15,-1-26-15,14 14 0,-13-14 16</inkml:trace>
  <inkml:trace contextRef="#ctx0" brushRef="#br0" timeOffset="111141.23">22820 7594 0,'-13'39'31,"0"-26"-31,-14 27 0,1-13 16,-1-1-16,-12 14 0,-1-14 0,14 1 15,-14 12-15,0-12 0,1-1 16,-1 14-16,13-27 0,-12 27 0,-14-14 15</inkml:trace>
  <inkml:trace contextRef="#ctx0" brushRef="#br1" timeOffset="117548.71">11972 9790 0,'0'-14'0,"14"54"31,-14-27-31,0 14 0,0 12 0,0 1 16,0 13-16,0-13 0,0 13 0,0 0 15,-14-1-15,14-12 0,0 13 16,0 0-16,-13-13 0,13-1 0,0 14 16,-13-13-16,13-14 0,0 1 0,0-1 15,-13 1-15,13-1 0,0-13 16,0 1-16,-14-1 0,14 0 0,0 0 15,0 1-15</inkml:trace>
  <inkml:trace contextRef="#ctx0" brushRef="#br1" timeOffset="119656.78">11919 9723 0,'106'-13'31,"-79"13"-31,12 0 0,1 0 0,13 0 16,0 0-16,0 0 0,13 0 0,0 13 16,14-13-16,-28 0 0,28 0 0,-27 0 15,13 0-15,0 0 0,-13 0 16,26 0-16,1 0 0,-14 0 0,13 0 16,-26 0-16,0 0 0,0 0 15,13 0-15,-13 0 0,-13 0 16,13 0-16,0 0 0,-1 0 0,-12 14 15,13-28-15,-13 14 0,13 0 0,-14 0 16,-12 0-16,13 0 0,-14 0 16,14 0-16,-14 0 0,14 0 0,-14-13 15,1 13-15,-1 0 0,-13 0 0,14 0 16,-1 0-16,-12 0 0,-1-13 16,0 13-16,0 0 0,1 0 0,-1 0 15,0 0-15,0 0 16,0 0-1,1 0-15,-1 0 16,0 0 15,-13 13-15,0 0-16,0 1 16,13-1-16,-13 0 0,0 0 15,0 1-15,0-1 0,0 0 16,0 13-16,0-12 0,0-1 0,0 13 15,0-12-15,-13 12 0,13 1 0,0-1 16,0 0-16,-13 1 0,13-14 16,-13 14-16,13-1 0,0 1 0,-14-1 15,14 0-15,0 1 0,-13-14 16,13 14-16,-13-1 0,13 1 16,0-14-16,-13 13 0,13-13 0,0 14 15,0-14-15,-13 0 0,13 14 0,0-14 16,0 0-16,-14 1 0,14-1 15,0 13-15,0-13 0,0 1 0,-13-1 16,13 0-16,0 0 0,0 1 0,0-1 16,0 0-16,0 0 0,0 0 15,0 1-15,0-1 0,-13 0 16,13 0-16,0 1 0,0-1 16,0 0-1,13 0-15,-13 1 16,-13-1-16,13 0 15,0 0-15,0 0 0,0 1 16,0-1 0,0 0-1,-13 0-15,13 1 32,0-1-1,-14-13 16,14 13-16,-13-13 0,0 0-15,0 0-16,-1 0 15,1 0 1,0 0 0,0 0-16,0 0 15,-1 0-15,1 0 16,0 0-16,0 0 16,-1 0-16,1 0 0,0 0 0,0 0 15,-1 0-15,-12 0 0,13 0 0,0 0 16,-1 0-16,-12 0 0,13 0 15,-1 0-15,1 0 0,0 0 0,0 0 16,-1 0-16,1 0 0,-13 0 0,13 0 16,-1 0-16,1 0 0,0 0 0,0 0 15,-1 0-15,-12 13 0,-1-13 16,14 0-16,0 0 16,0 0-16,0 0 0,-14 0 0,14 0 15,0 0-15,-1 0 0,1 0 16,0 0-16,0 0 0,-14 0 0,14 0 15,0 0-15,0 0 0,-14 0 0,14 0 16,0 0-16,-14 0 0,14 0 16,0 0-16,-14 0 0,14 0 0,0 0 15,0 0-15,-14 0 0,14 0 16,-14 0-16,14 0 0,0 0 0,-13 0 16,12 0-16,1 0 0,-13 0 15,12 0-15,1 0 0,0 0 0,-13 0 16,12-13-16,1 13 0,0 0 0,0 0 15,-1 0-15,1 0 0,0 0 16,0 0-16,-1 0 0,1 0 0,0 0 16,0 0-16,0-13 0,-1 13 15,1 0-15,0 0 16,0 0-16,-1 0 0,1 0 0,0 0 16,0-13-16,-1 13 0,1 0 15,0 0-15,0 0 0,0 0 16,-1 0-16,1 0 15,0 0-15,0 0 0,-1-14 16,1 14-16,0 0 16,0 0-16,-1 0 15,1 0-15,0 0 16,0 0-16,0 0 0,-1 0 16,1 14-1,0-14-15,0 0 0,-1 0 16,1 0-16,-13-14 15,12 14-15,1 0 16,0 0-16,-13 0 16,-1 0-16,14-13 15,0 13 1,-1 0-16,1 0 0,0 0 16,0 0-16,0 0 15,-1 0-15,1 0 16,0 0-16,0 0 15,-1 0-15,1 0 0,0 0 16,0 0-16,-1 0 16,1 0-16,-13 0 15,13 0 1,-14 0-16,14 0 31,0 0-31,-1 13 16,1-13-1,0 0 1,0 0 31,-1 0-47,1-13 16,13 0-16,-13 13 15,13-27-15,0 14 16,0 0-16,0-13 0,0 12 0,0-12 15,13-14-15,0 14 0,14-1 0,-14-12 16</inkml:trace>
  <inkml:trace contextRef="#ctx0" brushRef="#br1" timeOffset="120720.74">21114 9723 0,'0'-13'0,"13"13"15,0 27 1,-13-14-16,0 13 16,0 1-16,0 12 0,0 14 0,0-13 15,-13 26-15,13 0 0,-13 1 0,13-15 16,-13 15-16,13-14 0,-14-1 15,14-12-15,-13 13 0,13-13 0,-13-1 16,13-12-16,0 13 0,-13-14 0,13-13 16,0 14-16,0-14 15,-14 0-15,14 0 0,0 1 16,14-41 0</inkml:trace>
  <inkml:trace contextRef="#ctx0" brushRef="#br1" timeOffset="121592.84">21339 9684 0,'53'-13'0,"145"-1"31,-145 14-31,0 0 16,26-13-16,-13 13 0,14 0 15,-1-13-15,0 13 0,14 0 16,0 0-16,-1 0 0,1 0 0,-1-13 16,14 13-16,-13 0 0,0 0 0,-14 0 15,14 0-15,-14 0 0,-26 0 16,13 0-16,-13 0 0,-13 0 0,-1 0 16,1 0-16,-14 0 0,1 0 0,-1 0 15,-12 0-15,-1 0 0,0 0 16,0 0-16,0 0 0,1 0 0,-1-14 15,0 14-15,0 0 16,1 0 0,-1 14-16,0-14 15,-13 13-15,0 0 0,13-13 16,-13 13-16,0 1 0,0 12 16,0-13-16,14 40 15,-14-26-15,0-1 0,0 0 0,0 1 16,0 13-16,0-1 0,0-12 0,0-1 15,0 14-15,13-14 0,-13 1 16,0-1-16,0 1 0,0-1 0,0-13 16,0 14-16,0-1 0,0-12 0,0-1 15,0 13-15,0-12 0,0 12 16,0-13-16,0 0 0,-13 1 16,13-1-16,0 0 0,0 0 15,-14 1-15,1-1 16,13 0-16,-13-13 0,0 0 15,-1 13-15,1-13 0,0 14 0,0-14 16,-14 0-16,14 13 0,-13-13 0,-14 13 16,0-13-16,0 0 0,-12 0 15,-1 13-15,0-13 0,-13 0 0,-14 0 16,1 0-16,-1 0 0,-12 13 0,-1-13 16,1 0-16,-1 0 15,0 0-15,14 14 0,-14-14 0,14 0 0,0 0 16,-1 13-16,14-13 0,13 13 15,0-13-15,0 0 0,1 13 16,12-13-16,-13 14 0,26-14 0,-12 0 16,26 13-16,-14-13 0,14 0 0,0 0 15,26-13 1,0 13 0</inkml:trace>
  <inkml:trace contextRef="#ctx0" brushRef="#br1" timeOffset="122044.69">24289 10120 0,'-53'0'15,"40"0"-15,-1 0 0,1 0 16,0 0-16,-14 14 0,14-14 0,0 0 16,-13 0-16,12 0 0,1 0 0,0 0 15,0 13-15,-1-13 0,1 0 16,0 0-16,0 0 0,-1 0 15,1 0-15</inkml:trace>
  <inkml:trace contextRef="#ctx0" brushRef="#br1" timeOffset="122331.58">24037 10028 0,'0'0'16,"-26"0"-16,13 13 16,-1-13-16,1 0 0,0 13 15,0-13-15,0 13 0,-1-13 16,1 14-16,0-14 0,0 13 16,-1 0-16,14 0 0,-13-13 15,13 14-15,-13-14 0,13 13 0,0 0 31,13 0-31,0 0 16,1-13-16,-1 0 16,0 0-16,0 0 0,1 0 15,-1 0-15,0 0 0,13 0 16,-12 0-16,-1-13 0</inkml:trace>
  <inkml:trace contextRef="#ctx0" brushRef="#br1" timeOffset="122548.7">24461 9975 0,'13'13'32,"-13"0"-17,0 0-15,0 1 0,0-1 16,-13 0-16,13 0 0,0 1 15,0-1-15,-13-13 0,13 13 0,0 0 16,0 1-16,0-1 0</inkml:trace>
  <inkml:trace contextRef="#ctx0" brushRef="#br1" timeOffset="122776.81">24659 9948 0,'13'0'0,"-26"0"0,26-13 16,-26 40 15,13-14-31,-13 0 0,13 0 16,0 0-16,-13 1 16,13-1-16,0 0 0,-14 0 0,14 1 15,0-1-15,0 0 0,0 0 0,-13 1 16,13-1-16,0 0 0,0 0 15,-13 0-15</inkml:trace>
  <inkml:trace contextRef="#ctx0" brushRef="#br1" timeOffset="123208.47">24368 10107 0,'13'-13'16,"1"13"0,-1 0-16,0 0 15,0 0-15,1 0 0,-1 0 0,0 0 16,0 0-16,0 0 0,1 0 16,-1 0-16,0-13 0,0 13 15,1 0-15,-1-14 0,0 14 16,0 0-16,0-13 0,1 13 0,-1 0 15,-13-13-15,13 13 16,0 0-16,1 0 16,-1 13-1,0 0-15,-13 1 16,13-14-16,-13 13 16,14-13-16,-14 13 0,13-13 15,-13 13 1,13-13-16,0-13 15,0 13-15,-13-13 16,14 13-16,-14-13 0,13 13 0,0-14 16,-13 1-16,13 0 0,1 13 15,-1-13-15,0-1 0,0 1 16</inkml:trace>
  <inkml:trace contextRef="#ctx0" brushRef="#br1" timeOffset="123959.66">12435 11046 0,'-39'14'0,"39"-1"15,-14 0-15,1 13 0,0-12 16,13 12-16,-13-13 15,0 14-15,-1-1 0,-12 1 0,13-1 16,-1 1-16,1-1 0,0-13 0,0 1 16,0-1-16,13 0 0,-14 0 15,14 1-15,-13-14 0,13 13 0</inkml:trace>
  <inkml:trace contextRef="#ctx0" brushRef="#br1" timeOffset="124297.73">12263 10967 0,'0'0'0,"14"-13"16,-1 13-1,0 13 1,0-13-16,1 0 16,-1-13-16,0 13 0,0 0 15,0 0-15,1 0 0,-1 0 0,0 0 0,0 0 16,1 13 0,-1 0-16,0-13 0,-13 13 15,13 1-15,-13-1 0,0 0 16,0 0-16,0 1 15,0-1-15,0 0 0,0 0 0,0 0 16,0 1-16,0-1 0,0 0 16</inkml:trace>
  <inkml:trace contextRef="#ctx0" brushRef="#br1" timeOffset="124731.93">11880 11827 0,'0'13'31,"-13"0"-15,13 1-16,0-1 0,-14 0 16,14 0-16,0 0 15,0 1 1,0-1-16,14 0 15,-1-13 1,0 0-16,13 0 16,-12 0-16,-1 0 15,0 0-15,0 0 0,1 0 16,-14-13-16,13 13 0,0 0 16,0 0-16,1-13 0,-1 13 15</inkml:trace>
  <inkml:trace contextRef="#ctx0" brushRef="#br1" timeOffset="125024.92">12171 11748 0,'0'-14'32,"0"54"-17,0-27 1,0 0-16,13 1 0,-13-1 15,13 0-15,-13 0 0,14-13 0,-14 14 16,13-1-16,0-13 0,0 0 16,0 0-16,1 13 0,-1-26 15,0 13-15,0 0 16,-13-13-16,14 13 0,-1-14 0,-13 1 16,13 0-1,0 0-15,-13-1 16,13 1-16,-13 0 15</inkml:trace>
  <inkml:trace contextRef="#ctx0" brushRef="#br1" timeOffset="130407.63">6575 13401 0,'13'0'0,"-13"-13"62,-13 0-46,13-1-1,-13 1-15,-1 13 16,14-13-16,-13 13 16,0 0-16,0 13 15,0-13-15,13 13 0,-14-13 0,1 14 16,0-1-16,0 0 0,-1 0 0,1 1 15,13 12-15,-13-13 0,13 1 0,-13-1 16,13 0-16,0 0 0,0 0 16,0 1-16,0-1 0,0 0 15,13-13-15,13 0 32,-12-13-32,-14 0 0,13 13 0,0-14 15,-13 1-15,13 0 0,1 0 0,-1 0 16,-13-1-1,13 14-15,0 0 16,-13 14-16,13-1 16,-13 0-16,0 0 0,14 14 15,-14-14-15,0 0 0,0 14 0,0-14 16,0 13-16,13-13 0,-13 14 0,0-14 16,0 0-16,0 1 15,0-1-15,0 0 0,0 0 0,0 1 16,13-14-16,0-14 31</inkml:trace>
  <inkml:trace contextRef="#ctx0" brushRef="#br1" timeOffset="130744.38">6734 13467 0,'-27'14'15,"27"-1"-15,0 0 16,0 0-16,0 0 0,0 1 16,0-1-16,0 13 0,0-12 0,13-1 15,-13 0-15,14 0 0,-14 0 16,13 1-16,0-14 0,0 13 0,1-13 16,-1 13-16,13-26 15,-13 13-15,-13-13 16,14 13-16,-14-14 0,0 1 0,13 0 15,-13 0-15,0 0 0,0-1 16,-13 1-16,13 0 0,0 0 0,-14-1 16,1 1-16,0 13 0,0-13 15,0 13-15,-1-13 16,1 13-16,0 0 16,0 13-16,-1-13 0,14 13 0,-13-13 15,0 0-15</inkml:trace>
  <inkml:trace contextRef="#ctx0" brushRef="#br1" timeOffset="131099.71">6998 13361 0,'13'0'0,"-26"0"0,40 0 0,-14 0 16,0 14-16,0-1 15,-13 0-15,0 0 16,0 14-16,0-14 0,0 14 0,-13-1 16,13-13-16,-13 14 0,13-14 15,-13 13-15,13-12 0,-14-1 0,14 0 16,0 0-16,-13 0 16,13 1-16,27-28 31,-14 14-16,0-13 1,0 13-16,1 0 0,-1-13 16,0 13-16,0-13 0,1 13 0,-1 0 15,0 0-15,0-13 0,0 13 16,1 0-16,-1 0 0,0 0 0,0 13 16,1-13-16</inkml:trace>
  <inkml:trace contextRef="#ctx0" brushRef="#br1" timeOffset="131352.78">7752 13533 0,'-26'0'0,"13"14"15,-1-1-15,1 0 0,0 0 16,-14 14-16,1-14 0,0 13 15,-1 1-15,-13 13 0,1-14 0,-1 1 16,0 12-16,1-12 0,12-1 16,1 1-16,-1-1 0,1-13 0,13 1 15,-1-1-15,1-13 0,13 13 0</inkml:trace>
  <inkml:trace contextRef="#ctx0" brushRef="#br1" timeOffset="131559.71">7739 13600 0,'-26'13'32,"12"0"-32,-12 0 0,13 14 15,-14-1-15,1 14 0,13-14 16,-14 1-16,1-1 0,-1 14 0,1-14 15,12 1-15,-12-1 0,0 1 16,12-14-16,1 13 0,0-26 16,13 14-16,-13-1 0,-1 0 15</inkml:trace>
  <inkml:trace contextRef="#ctx0" brushRef="#br1" timeOffset="132365.01">8070 13428 0,'13'0'15,"0"0"1,0 0-16,1 0 0,12 0 0,-13 0 15,14 0-15,-1 0 0,1 0 0,-1 0 16,1 13-16,-1-13 0,14 0 16,-14 0-16,1 0 0,-1 0 0,1 13 15,-14-13-15,0 0 0,14 0 0,-14 0 16,0 0-16,-13 13 0,13-13 16,0 0-16</inkml:trace>
  <inkml:trace contextRef="#ctx0" brushRef="#br1" timeOffset="132717">8440 13295 0,'13'14'31,"1"-14"-31,-1 0 0,0 13 16,0-13-16,1 13 0,-1-13 0,13 13 16,-13-13-16,14 13 0,-14 1 15,0-1-15,1-13 0,-1 13 0,0 0 16,0 1-16,-13-1 0,14 0 0,-14 0 15,0 1-15,0-1 16,0 0-16,-14 13 0,1 1 0,-13-1 16,12-12-16,-12 12 0,-1 0 0,14-12 15,0-1-15,0 0 0,0 0 0,-1 1 16</inkml:trace>
  <inkml:trace contextRef="#ctx0" brushRef="#br1" timeOffset="133381.69">9472 13176 0,'0'27'16,"0"-1"-16,-13-13 16,13 14-16,0-14 0,0 14 0,0 12 15,0-12-15,-13-1 0,13 1 0,0-1 16,0 1-16,0-1 16,0-13-16,0 14 0,0-14 0,0 0 15,0 0-15,0 1 0,0-1 0</inkml:trace>
  <inkml:trace contextRef="#ctx0" brushRef="#br1" timeOffset="133772.88">9432 13163 0,'14'-26'16,"39"-14"-1,-40 40 1,0 0-16,0 13 0,0-13 16,1 13-16,-1 1 0,-13-1 15,0 13-15,0-13 0,0 14 0,0-14 16,-13 14-16,-1 12 0,1-25 0,0 25 16,0-26-16,0 14 0,-1-14 15,1 0-15,0 1 0,0-1 0,13 0 16,-14-13-16,1 0 0,13 13 15,-13-13-15,0 14 16,26-1 0,0-13-1,0 0-15,1 0 0,-1 0 16,0 0-16,0 13 0,1-13 16,-1 0-16,0 0 0,0 0 0,0 0 15,1 0-15,-1 0 0,0 0 16,0 0-16,1 0 0,-1 0 0,0 0 15,0 0-15,1 0 0</inkml:trace>
  <inkml:trace contextRef="#ctx0" brushRef="#br1" timeOffset="134563.67">9948 13295 0,'-26'-13'16,"13"13"-16,-27 0 16,27 0-16,-1 13 15,1-13-15,0 14 0,0-1 16,0 0-16,-1 0 0,1 0 16,13 1-16,-13-1 0,13 0 15,0 0-15,-13-13 0,13 14 0,13-1 16,-13 0-16,0 0 15,13-13-15,0 14 16,14-14-16,-14-14 16,0 14-16,0-13 15,1 0-15,-1 0 16,-13-1-16,13 14 0,-13-13 0,0 0 16,13 0-16,-13-1 15,0 1-15,0 0 16,0 39 31,14-12-32,-14-1-15,0 0 16,13-13-16,-13 13 16,13 1-16,0-14 31,1 0-31,-1-14 15,0 14-15,0 0 16,0 0 0,1 0-16,-1 0 15,0 0 1,0 14-16,1-14 16,-14 13-1,13 0 1,0-13-1,-13-13 17,0 0-32,13 13 15,-13-14-15,14 1 16,-1 13 0,0 0-1,0 13 1,0 1 15,1-14-31,-1 13 16,0-13-16</inkml:trace>
  <inkml:trace contextRef="#ctx0" brushRef="#br1" timeOffset="135215.92">10464 13282 0,'-13'-13'16,"0"13"-16,-27 13 31,27-13-31,0 13 16,-1 1 0,14-1-1,14 0 1,-14 0-16,0 0 0,13 1 15,-13-1-15,0 0 0,0 0 0,13 1 16,-13-1-16,-13 0 0,13 0 16,0 1-16,0-1 0,-13 0 0,13 0 15,-14 0-15,1 1 0,13-1 16,-13-13-16,13 13 16,26-26 15,-12 0-31,-1 13 15,0-14-15,0 1 0,14 0 16,-14 0-16,0 0 0,1-14 0,-1 14 16,0 0-16,0-1 0,0 1 15,-13 0-15,14 0 0,-1-1 16,-13 1-16,-27 26 47,27 1-47,0-1 0,0 0 31,0 0-31,14 1 16,-1-14-16,-13 13 15,13-13-15,0 0 0,1 0 16,-1 0-16,0 0 16</inkml:trace>
  <inkml:trace contextRef="#ctx0" brushRef="#br1" timeOffset="135881.19">11086 13256 0,'-40'0'31,"40"13"-31,-13-13 0,0 26 16,13-12-16,0-1 0,-13-13 16,13 13-16,13 0 15,-13 0-15,13-13 0,0 0 16,14 0-1,-14 0-15,0-13 0,0 0 0,1 13 16,-1-13-16,0 0 0,-13-1 16,13 14-16,-13-13 0,0 0 0,0 0 15,0-1 1,-13 1 0,0 13-16,0 0 15,13 13 1,13 1-1,-13-1-15,13 0 0,0-13 16,1 13-16,-1 1 16,0-1-16,0 0 0,1 0 0,-14 0 15,13 14-15,0-14 0,-13 0 0,0 14 16,0-14-16,0 14 0,0-1 16,-13 0-16,0-12 0,13 12 0,-14-13 15,1 1-15,13-1 0,-13 0 0,0 0 16,-1 0-16,1-13 15,13-13 1,0-13-16,13 13 16,-13-1-16,14 1 0,-1 0 15,0-14-15,0 14 0,1 0 16,12-13-16,-13 12 0,14-12 0,-14 13 0,0-1 16,0 14-16,1-13 0,-1 0 15,0 13-15,0-13 0,1 13 16,-1-14-16</inkml:trace>
  <inkml:trace contextRef="#ctx0" brushRef="#br1" timeOffset="136336.2">12263 13084 0,'-52'13'31,"38"-13"-31,1 13 0,0 0 16,13 1-16,0-1 15,13 0-15,-13 0 0,13 0 16,1 1-16,-1-1 0,0 0 16,0 0-16,0 1 0,1-1 15,-1-13-15,0 13 0,-13 0 16,13-13-16,-13 14 0,14-14 0,-14 13 16,0 0-16,-14 0 15,1-13-15,13 13 0,-40 1 16,27-1-16,-13-13 0,-1 13 15,14-13-15,-13 13 0,-1-13 0,14 0 16,-14 0-16,14 14 0,0-14 16,0-14-16,0 14 0,26-13 15,0 13 1,-13-13-16</inkml:trace>
  <inkml:trace contextRef="#ctx0" brushRef="#br1" timeOffset="137803.07">12740 13242 0,'0'-13'0,"-14"0"16,1 13-1,0 0-15,0 0 0,0 0 16,-1 0-16,1 13 15,0-13-15,13 13 0,-13-13 16,-1 14-16,14-1 0,-13-13 0,13 13 16,-13 0-16,13 1 0,0 12 31,13-26-15,14-13-16,-14 13 15,0 0-15,0-13 0,1-1 16,-1 14-16,-13-13 15,13 13-15,0 13 32,0 1-17,1-1-15,-1 0 16,0-13 0,0 0-16,1 0 15,-1 0-15,0-13 0,0 0 16,1-1-1,-14 1-15,13-13 0,-13 12 0,13 1 16,-13-13-16,0-1 0,0 14 0,13-13 16,-13-1-16,0 1 0,0 12 15,0 1-15,0 0 0,0-13 16,0 12-16,0 41 31,0-14-31,0 0 16,0 14-16,0-14 0,0 13 15,0-12-15,0 12 0,0 0 0,13-12 16,-13 12-16,14-13 0,-14 1 16,13-1-16,0 0 0,0 0 0,1 1 15,-1-14-15,0 0 0,14 0 0,-14 0 16,0 0-16,0 0 0,14-14 16,-14 14-16,0-13 0,0 0 0,1 0 15,-1-1-15,-13 1 0,13 0 16,-13 0-16,0-1 15,0 1-15,-13 13 16,0 0-16,-1 0 16,1 0-1,13 13-15,-13-13 0,0 14 16,-1-1-16,14 0 16,-13 0-1,26 1 1,1-28-1,-1 14 1,0 0-16,0 0 16,14 0-16,-14 0 15,0 0-15,0 14 16,1-14-16,-14 13 0,13-13 16,-13 13-16,13-13 0,0 13 15,-13 1-15,14-1 0,-14 0 16,13 0-1,0-26 32,-13 0-47,13 13 0,-13-13 16,0-1-16,14 14 0,-14-13 0,0 0 16,13 13-16,-13-13 15,13-1-15,0 28 47,0-14-47,-13 13 16,14-13-1,-1 0-15,0 0 16,0 0 0,1 0-16,-1 13 15,0-13-15,0 13 0,1 1 16,-14-1-16,13 0 15,-13 0-15,13 0 0,-13 14 0,0-14 16,0 14-16,-13-14 0,13 13 0,-13 1 16,13-14-16,-14 0 0,1 0 15,13 1-15,-13-1 0,0 0 16,-1-26 15,14 0-31,0-1 0,14 1 0,-1-13 16,-13 13-16,26-14 0,-12-13 0,12 27 15,-13-13-15,0-1 0,14 14 16,-14 0-16,0-14 0,1 14 0,12 0 16,-13 0-16,14-1 0</inkml:trace>
  <inkml:trace contextRef="#ctx0" brushRef="#br1" timeOffset="138728.19">14380 12766 0,'0'0'0,"-13"13"0,13 1 16,-13-14-16,13 13 0,-14 13 0,14 1 16,-13-14-16,0 27 0,13-1 0,-13 1 15,13 0-15,0-1 0,0 1 16,0 13-16,0-13 0,0 13 0,0-14 16,13 1-16,0 0 0,-13-1 0,13 1 15,1-13-15,-1-14 0,-13 13 16,13-13-16,-13 1 0,0-1 15,-13-13 1,0 0 0,-1-13-16,1 13 0,0-14 0,0 14 15,0-13-15,-1 13 0,1-13 16,0 0-16,0 13 0,-1-13 16,1 13-16,0 0 0,0-14 0,-1 1 15,14 0-15,0 0 16,0-1-16,14 1 15,-1 0-15,0-14 0,14 14 16,-14 0-16,0 0 0,14 0 0,-1-14 16,-13 14-16,14 0 0,-14-1 15,0 14-15,0-13 0,-13 0 16,14 13-16,-1-13 0,0-1 0,0 14 16,-13 14-1,13-14 1,-13 13-16,0 0 15,0 0-15,0 1 0,14-1 16,-1 0 0,-13 0-16,13-13 15,0 0-15,1 0 0,-1 0 16,0-13 0,0 13-16,-13-13 0,14 13 0,-14-13 15,0-1-15,13 14 0,-13-13 0,0 0 16,13 13-1,-13-13-15,13 13 16,0 13 0,-13 0-16,14-13 15,-14 13-15,0 1 0,0-1 16,0 0-16,0 0 0,0 1 16,0-1-16,0 0 15,0 0 1,26-26-1,-26 0-15,13 13 16,-13-13-16,14-1 0,-1 1 0,-13 0 16,13 0-16,0-1 0,1 1 0,-1 0 15,0 13-15,0-13 0,14-1 16,-14 1-16,0 13 16,0 0-16,1-13 0,-1 13 0</inkml:trace>
  <inkml:trace contextRef="#ctx0" brushRef="#br1" timeOffset="139800.51">15782 12965 0,'-13'0'0,"26"0"0,-39 0 0,13 0 16,-1 0-1,1 13-15,0 0 0,0 0 16,0-13-16,-1 14 0,1 12 0,0-13 16,13 14-16,-13-14 0,13 0 0,-14 14 15,14-14-15,0 0 0,0 0 16,14-13-16,-14 13 0,13 1 0,0-1 15,0-13-15,1 0 0,-1 0 16,0 0-16,0-13 16,0 13-16,1-14 0,-1 14 0,-13-13 15,13 13-15,0-13 0,1 0 0,-1 13 16,-13-13 0,13 13-1,-13 13 1,0 13-1,0-13-15,0 1 16,13-14-16,-13 13 0,14 0 16,-1-13-16,0 0 15,0 0-15,0-13 16,1 0-16,-14-1 16,0 1-16,0 0 15,-14 0-15,1 0 16,0-1-16,0 1 15,0 0 1,-1 13-16,41 13 47,-14-13-31,0 0-16,0 0 15,-13 13-15,14-13 0,-1 0 0,0 14 16,0-14-16,1 13 15,-1-13-15,-13 13 16,13 0 0,-13 0-1,13-13 1,-13-13 15,14 13-31,-1 0 16,-13-13-16,13 13 15,0 0-15,0-13 32,1 13-32,-1 0 31,0 0-15,0 0-1,1 0 1,-1 0-1,0 0-15,0-13 16,0 13-16,-13-14 0,14 14 16</inkml:trace>
  <inkml:trace contextRef="#ctx0" brushRef="#br1" timeOffset="140175.96">16285 13044 0,'0'-26'31,"0"12"0,-13 41-15,13-14-16,0 0 0,0 14 0,0-14 16,0 13-16,0 1 0,0-1 0,0 1 15,0-1-15,0 1 0,13-1 16,-13 1-16,0-14 0,0 13 0,0-13 16,0 14-16,13-14 0,-13 0 15,0 1-15,0-1 16,-13-53-1,13 27 1,0-14-16,0 1 16,0 0-16,0-1 0,13 1 0,-13 12 15,0 1-15,0-13 0,14 12 0,-14 1 16,0 0-16,0 0 16,13 13-16,-13 26 31,13-13-16,-13 1-15,13-14 16,-13 13-16,13-13 0,1 0 16</inkml:trace>
  <inkml:trace contextRef="#ctx0" brushRef="#br1" timeOffset="140587.93">17132 12965 0,'-13'13'0,"-1"-13"15,14 13-15,-13 0 0,0 1 0,0-1 16,-1 0-16,-12 0 16,-1 14-16,14-1 0,-13-13 0,13 1 15,-1-1-15,1 13 0,0-13 0,0-13 16,-1 14-16,14-1 0</inkml:trace>
  <inkml:trace contextRef="#ctx0" brushRef="#br1" timeOffset="140788.74">16894 13057 0,'39'13'16,"-39"1"0,14-1-16,-1 0 15,0 0-15,0 1 0,0-1 16,1 0-16,-1-13 0,0 13 0,0-13 15,14 13-15,-14-13 0,0 14 16,14-14-16,-1 0 0</inkml:trace>
  <inkml:trace contextRef="#ctx0" brushRef="#br1" timeOffset="141100.96">18203 12951 0,'0'27'0,"0"-14"16,0 0 0,0 1-16,0-1 0,-13 0 15,13 0-15,0 0 0,0 14 16,0-14 0</inkml:trace>
  <inkml:trace contextRef="#ctx0" brushRef="#br1" timeOffset="141259.66">18190 12806 0,'-13'0'16</inkml:trace>
  <inkml:trace contextRef="#ctx0" brushRef="#br1" timeOffset="141592.73">18521 12885 0,'0'0'0,"-27"0"0,14 0 16,13 13-1,0 1-15,0-1 0,13 0 16,-13 0-16,14 1 16,-1-1-16,0-13 0,-13 13 15,13 0-15,-13 1 0,14-14 0,-14 13 16,0 0-16,13-13 0,-26 13 15,13 0-15,-14 1 0,1-14 16,0 0-16,0 0 0,13 13 0,-14-13 16,1 0-16,0 0 15,0 0-15,13-13 16</inkml:trace>
  <inkml:trace contextRef="#ctx0" brushRef="#br1" timeOffset="142074.72">19632 12779 0,'-13'0'0,"0"0"15,-1 0-15,-12 0 0,13 14 0,-1-14 16,1 13-16,-13 0 0,-1 14 0,-39 25 31,53-38-15,26-1-1,14-13 1,-14-13-16,0 13 0,0-14 16,1 14-16,-1-13 0,0 0 0,13 13 0,-12-13 15,-1 13-15,0-13 16,0 13-16,1 13 16,-14 0-16,0 0 15,0 0-15,0 1 16,-14-1-16,14 0 0,0 14 15,0-14-15,-13 0 0,13 0 0,0 1 16,0-1-16,-13 0 0,26 0 16,-13 0-16,0 1 0,0-1 15</inkml:trace>
  <inkml:trace contextRef="#ctx0" brushRef="#br1" timeOffset="142409.51">19791 12859 0,'0'0'0,"0"-13"0,-13 13 16,-1 0-1,14 13-15,-13 0 16,13 0-16,0 0 16,0 1-16,0-1 0,0 0 15,13 0-15,1 1 16,-1-14-16,0 13 0,0-13 15,1 0-15,-1 0 0,0 0 0,0 0 16,14 0-16,-14-13 0,0 13 0,-13-14 16,13 1-16,1 13 0,-14-13 15,0 0-15,13-1 0,-13 1 0,-13 13 16,13-13-16,0 0 0,-14 0 0,14-1 16,-13 14-16,0-13 0,0 13 15,-1 0-15,1-13 0,0 13 16,-13 0-16,12 13 15,1-13-15,13 13 0,-13-13 16</inkml:trace>
  <inkml:trace contextRef="#ctx0" brushRef="#br1" timeOffset="142799.54">20161 12793 0,'0'-14'0,"13"14"0,-13-13 16,53 26 0,-53 1-16,14-14 15,-14 13-15,0 0 0,0 0 16,-14 1-16,14-1 0,-13 0 0,0 0 15,0 14-15,-1-14 0,1 0 0,0 0 16,0 1-16,0-14 16,13 13-16,-14-13 0,14 13 0,-13-13 15,13 13-15,13-13 16,1 0 0,-1-13-16,0 13 0,13 0 15,-12 0-15,12-13 0,-13 13 0,14 0 16,-14-13-16,0 13 0,1 0 15,-1 0-15</inkml:trace>
  <inkml:trace contextRef="#ctx0" brushRef="#br1" timeOffset="143375.53">19169 12766 0,'-40'0'16,"27"0"-16,-93 40 31,93-27-31,0 0 0,13 1 16,-13-1-16,26 0 0,-13 0 16,13 0-16,0 1 15,14-1-15,-14-13 0,13 13 0,1 0 16,-14 1-16,27-1 15,-27 0-15,0-13 0,1 13 16,-14 1-16,13-14 0,-13 13 0,0 0 16,0 0-16,-13 0 15,13 1-15,-14-14 0,-12 13 0,13 0 16,-14 0-16,1 1 0,12-1 0,-12-13 16,0 13-16,12-13 0,1 0 15,0 0-15,0 0 0,-1 0 0,14-13 16</inkml:trace>
  <inkml:trace contextRef="#ctx0" brushRef="#br1" timeOffset="143583.45">19143 12581 0,'0'0'16,"0"40"-1,0-14-15,-14 14 16,1-1-16,13 1 0,-13 0 15,0 13-15,13 13 0,-14-26 16,14 26-16,0-27 0,0 14 0,0 0 16,0 13-16,14-26 0,-14 13 0,13-13 15,0-1-15,0 1 0,1 0 0,-14-14 16,13-13-16</inkml:trace>
  <inkml:trace contextRef="#ctx0" brushRef="#br1" timeOffset="146142.88">20995 12687 0,'0'-13'0,"0"-1"0,-14 14 16,-12 0 15,26 14-31,-13-1 0,0 0 0,-1 0 0,1 0 16,0 14-16,0-14 0,-1 14 15,14-14-15,-13 0 0,0 0 16,13 14-16,0-14 0,0 0 0,-13-13 16,13 13-16,13 1 0,-13-1 15,13-13 1,0-13-16,1 13 0,-1-14 0,0 1 16,0 0-16,1 0 0,-14 0 0,13-1 15,0 1-15,-13 0 0,13 0 16,-13-1-16,0 1 0,13 13 15,-13-13-15,14 26 32,-14 0-32,0 1 15,0-1-15,0 0 0,13 0 0,-13 1 16,0-1-16,0 0 16,13 0-16,-13 0 0,0 1 15,13-14-15,-13 13 0,14-13 16,-1 0-16,13 0 15</inkml:trace>
  <inkml:trace contextRef="#ctx0" brushRef="#br1" timeOffset="147420.12">21259 12607 0,'0'0'15,"-13"0"-15,0 14 16,13-1-16,-13 0 0,13 0 16,-14 1-16,14-1 0,0 0 15,-13 13-15,13-12 0,0-1 16,0 0-16,0 0 0,13 1 0,-13-1 0,0 0 16,14-13-16,-1 13 0,0 1 15,0-14-15,0 0 16,1 0-16,-1 0 0,0-14 15,0 14-15,1 0 0,-1-13 0,0 0 16,0 13-16,-13-13 0,14-1 16,-14 1-16,13 0 0,-13 0 15,13-1-15,-13 1 16,0 0-16,-26 26 31,26 0-15,-14 1-16,14-1 15,0 0-15,0 0 16,14 1 0,-14-1-16,13-13 0,0 0 15,13 0 1,-12 0-16,-1 0 16,0-13-16,0 13 0,1-14 0,-1 1 15,0 0-15,-13 0 0,13-1 16,1 14-16,-14-13 0,0 0 0,13 0 15,-13 0-15,0-1 0,0 1 16,13 0 0,-26 0-16,13-1 15,-13 28 17,-1-1-32,14 0 15,-13 0-15,13 1 16,0-1-16,0 0 0,0 0 15,0 0-15,0 1 16,0-1-16,0 0 0,13 0 16,-13 1-16,0-1 15,14 0-15,-14 0 16,13-13-16,-13 14 16,13-1-1,0-13 1,14 0-1,-14-13 1,0 13-16,0 0 16,1 0-1,-14-14-15,13 14 16,0 0 0,-13-13-1,0 0-15,13 13 0,-13-13 16,0-1-16,0 1 0,0 0 15,14 0-15,-14-1 0,0 1 16,0 0-16,0 0 0,0-14 16,0 14-16,0-13 0,0-1 0,0 14 15,0-14-15,0 14 0,0-13 0,0 13 16,0-1-16,0 1 0,0 0 16,0 39 15,0-12-31,0 12 15,-14 0-15,14 1 0,0 13 0,0-1 16,0 1-16,0 13 0,0-27 0,0 14 16,0 0-16,0-14 0,0 1 15,0-1-15,0 1 0,0-14 0,0 13 16,0-12-16,0-1 0,0 0 0,0 0 16,-13-13-16,13 13 15,0-39 1,0 0-1,0 12-15,13-65 0,1 39 16,12-26-16,0 40 16,-12 12-16,-1-12 0,0 13 0,0 13 15,1-14-15,-1 14 0,0 14 16,-13-1 0,-13 0-16,13 0 0,-13 14 15,-1-14-15,1 14 0,0-14 16,0 0-16,-14 0 0,14 0 15,0 1-15,0-1 0,-1 0 16,1-13-16</inkml:trace>
  <inkml:trace contextRef="#ctx0" brushRef="#br1" timeOffset="147657.13">22119 12316 0,'0'0'15,"0"-13"-15,0 40 16,0-14-16,0 0 16,0 0-16,-13 14 0,13-1 15,0 1-15,0-1 0,0 1 16,0-1-16,0 0 0,0 1 0,0-1 16,0 1-16,0-1 0,0 1 0,0-14 15,13 13-15,-13-12 0,0-1 16,0 0-16,0 0 0,0 1 15</inkml:trace>
  <inkml:trace contextRef="#ctx0" brushRef="#br1" timeOffset="149003.84">22000 12700 0,'0'-13'0,"13"0"31,1-1-15,-1 14-16,0 0 0,0-13 0,14 13 16,-14-13-16,13 13 0,1-13 15,-1-1-15,1 14 0,-1-13 0,1 13 16,-1-13-16,-13 13 0,14-13 16,-14 13-16,14-14 0,-14 14 15,0-13-15,0 0 0,0 13 0,1-13 16,-41 26 31,14-13-47,13 13 15,-13 0-15,0 1 16,13-1-16,-14 0 0,14 0 16,0 1-16,0-1 15,14-13-15,-14 13 16,13-26-16,0 13 15,0 0-15,-13-13 16,13 13-16,-13-14 0,14 1 16,-14 0-16,13 0 15,0 26 17,-13 0-17,0 0-15,0 1 0,0-1 16,0 0-16,13 0 15,-13 1-15,0-1 0,14-13 16,-1 0-16,0 0 16,0 0-1,0 0-15,-13-13 0,14-1 16,-1 1-16,-13 0 16,0 0-16,13-1 0,-13 1 15,0 0-15,13 0 0,-13-14 0,0 1 16,0 13-16,0-14 0,0 1 0,0 12 15,0-12-15,0 13 0,0-1 16,0 1-16,0 0 0,0 0 0,0 0 16,-26 26 15,26 0-31,0 0 16,-13-13-16,13 13 0,0 1 0,0-1 15,-14 0-15,14 0 0,0 1 16,0-1-16,0 13 15,0-12 1,0-1-16,14-13 47,-1 0-47,0 0 16,0 0-16,1 13 15,-1-13-15,-13 13 16,13-13-16,-13 13 15,-13 1-15,13-1 16,-13 0-16,-1-13 16,14 13-16,-13-13 0,0 14 0,0-1 15,-1 0 1,1-13-16,13 13 16,13 1-1,14-14 1,-14 0-1,0 0-15,1 0 0,-1-14 0,0 14 16,0 0-16,1-13 0,-1 13 16,0-13-16,0 0 0,0-1 0,1 1 15,-1 0-15,0-14 0,0 14 16,1-13-16,-1-1 0,0 1 16,-13-1-16,13-12 0,1 12 0,-14 1 15,0 13-15,13-14 0,-13 14 0,0 0 16,0-1-16,13 1 0,-39 26 31,26 1-15,0-1-16,-14 13 0,14-12 15,0-1-15,0 13 0,0-13 16,0 1-16,0-1 0,0 0 0,0 0 16,0 1-16,14-1 0,-14 0 15,13-13-15,0 13 0,0-13 16,0-13-1,1 13-15,-1 0 0,0 0 16,0 0 0,1 13-16,-1-13 15,0 0-15,-13 14 16,13-14-16,-13 13 16,-13 0-1,0 0 1</inkml:trace>
  <inkml:trace contextRef="#ctx0" brushRef="#br1" timeOffset="149666.78">20479 12197 0,'26'14'0,"-26"-1"0,0 13 15,13 14-15,-13 0 0,14 26 16,-14 13-16,13 0 0,-13 1 0,0 12 16,13 14-16,-13 0 0,13 13 15,1-13-15,-14 13 0,13-13 0,0-27 16,-13 1-16,13-1 0,1-13 16,-1 14-16,0-14 0,0-13 0,0 0 15,1-14-15,-14-12 0,13-1 0,-13 1 16,0-14-16,13-13 0,-13 13 15,13-53-15,-13 27 16,0-13-16</inkml:trace>
  <inkml:trace contextRef="#ctx0" brushRef="#br1" timeOffset="150415.75">20320 12290 0,'26'-27'0,"41"-12"0,-28 26 16,451-54 15,-358 54-31,14 0 0,-1 0 0,14-1 16,0 1-16,-1 0 0,186-13 15,-172-1-15,0 14 0,159-27 16,-185 27-16,12-14 0,-12 1 16,-1 0-16,-12 12 0,-14-12 0,13-1 15,-26 1-15,-14 13 0,1 0 16,-14-1-16,1 14 0,-1-13 0,-26 13 16,0 0-16,0-13 0,-13 13 0,-14 0 15,14 0-15,-14 0 0,1 13 16,-14-13-16,13 0 0,-12 0 0,12 13 15,-13-13-15,0 14 0,1-1 0,-14 13 16,13-13-16,0 14 0,-13-1 16,13 14-16,-13 0 0,0-1 15,0 1-15,0 0 0,0 13 0,0-14 16,0 14-16,0-13 0,0 66 16,0-40-16,-13-13 0,13 0 15,0 13-15,0-13 0,0 0 16,0 0-16,0-14 0,0 14 0,0 40 15,0-53-15,0 13 0,0-14 0,13-12 16,-13-1-16,0 1 16,0-1-16,0 0 0,0-12 0,0 12 0,0-13 15,0 1-15,0-1 0,0 0 16,0 0-16,0 1 0,0-1 16,-13 0-16,13 0 0,-13-13 0,13 13 15,-13 1-15,-14-14 0,14 13 0,-13 0 16,-14 0-16,0 1 0,0-1 15,-26 0-15,0 0 0,13 1 0,-26-1 16,13-13-16,-27 13 0,14 0 0,-14 14 16,-26-14-16,0 0 0,0 0 0,0 14 15,-13-14-15,13 13 0,0-12 16,-1 12-16,1-13 0,0 1 16,27-1-16,-1 13 0,14-12 0,-14-1 15,14-13-15,13 13 0,13-13 16,0 13-16,0-13 0,13 0 0,14 0 15,-1-13-15,1 13 0,13-13 0,-1 0 16,14-1-16,-13 1 0</inkml:trace>
  <inkml:trace contextRef="#ctx0" brushRef="#br0" timeOffset="155523.01">23019 11483 0,'-27'13'32,"14"0"-32,13 1 15,-26-1-15,12 0 16,1 0-16,-13 14 0,12-1 0,-12-13 15,0 14-15,12-14 0,1 14 0,-13-14 16,12 0-16,1 0 0,0 1 16,13-1-16,-13-13 0,-1 13 0,1 0 15,0 0-15,0 1 16,0-14 0,-1 0 15</inkml:trace>
  <inkml:trace contextRef="#ctx0" brushRef="#br0" timeOffset="155924.81">22701 11628 0,'-13'27'31,"0"-14"-31,13 0 0,-13 1 0,13-1 16,-14 0-16,14 14 0,-13-14 0,13 0 15,-13 0-15,13 14 16,0-14-16,0 0 16,13 0-16,0-13 15,-13 14-15,14-14 16,-1 0-16,0 0 0,0 0 0,0 0 16,1 0-16,-1 0 15,0 13-15,0-13 0,1 0 16,-1 0-16,0 0 15,0 0-15,1 0 16,-1 0 0</inkml:trace>
  <inkml:trace contextRef="#ctx0" brushRef="#br0" timeOffset="157795.76">5331 12144 0,'27'0'62,"-14"0"-62,0 0 0,14 0 16,-1 0-16,1-13 0,-1 13 0,14-13 16,13 13-16,-14-13 0,14 13 0,0-14 15,0 1-15,13 0 0,0 0 16,-13 13-16,13-27 0,-13 14 0,14 0 15,-15 0-15,1 13 0,14-27 0,-28 27 16,1-13-16,13 0 0,-13-1 16,-1 1-16,-12 13 0,12-13 0,-25 13 15,12-13-15,-13 13 0,1-13 16,-1 13-16,0 0 0,0 0 16,0 0-16,-13-14 0,14 14 15,-1 0-15,-13-13 16,-13 0 15</inkml:trace>
  <inkml:trace contextRef="#ctx0" brushRef="#br0" timeOffset="158220.76">6562 11681 0,'39'27'32,"-25"-14"-32,12-13 15,-13 0-15,1 13 0,12-13 16,-13 14-16,14-14 0,-14 0 0,13 13 16,-12-13-16,-1 13 0,0-13 15,0 13-15,0-13 0,-13 13 0,14-13 16,-1 14-16,-13-1 0,0 0 15,0 0-15,-13 1 0,-1 12 16,1 0-16,0 1 0,-13-1 0,-1 1 16,1-1-16,-1 14 0,1-14 15,-1 1-15,1-1 0,-1 1 0,1-14 16,13 14-16,13-14 0,-14 0 16</inkml:trace>
  <inkml:trace contextRef="#ctx0" brushRef="#br0" timeOffset="162264.56">3585 12303 0,'-13'27'0,"13"-14"0,0 0 16,0 13-16,0 1 0,0-14 16,-13 14-16,13-1 0,0 14 15,0-14-15,0 1 0,0-1 0,0 1 16,0-1-16,0 1 0,0-14 0,0 13 15</inkml:trace>
  <inkml:trace contextRef="#ctx0" brushRef="#br0" timeOffset="162663.71">3519 12250 0,'26'-26'0,"-52"52"0,52-65 15,-12 39-15,-1 0 0,0-14 0,0 14 16,1 14-16,-1-14 16,0 13-16,-13 0 0,13 13 15,-13-12-15,0 12 0,0-13 0,-13 14 16,13-1-16,-13 14 15,0-14-15,13-12 0,-14 12 0,1-13 0,13 14 16,-13-14-16,13 0 0,-13 0 0,13 1 16,-14-14-1,14 13-15,0 0 0,0 0 16,14-13-16,-1 0 16,0 0-16,0 0 15,1 0-15,-1 0 0,0 0 0,13-13 16,-12 13-16,12-13 0,-13 13 0,14-13 15,-14-1-15,14 14 0,-14-13 16,13 0-16,-13 0 0</inkml:trace>
  <inkml:trace contextRef="#ctx0" brushRef="#br0" timeOffset="163443.64">3956 12369 0,'-14'-13'0,"-25"26"31,25-13-31,14 13 0,-13-13 0,0 14 15,0-1-15,-1 0 0,1 0 16,0 1-16,13-1 0,0 0 16,-13 0-16,13 1 0,0-1 15,13 0 1,0-26 0,0 13-16,1 0 15,-14-13-15,13 13 0,0-14 16,0 14-16,-13-13 0,14 13 15,-1 0-15,0 0 16,0 0 0,-13 13-16,14-13 0,-14 14 15,13-14-15,0 0 16,-13 13-16,13-13 16,0-13-1,1 13-15,-1 0 0,-13-14 16,13 14-1,0 0-15,-13-13 0,14 13 16,-1 0-16,-13-13 0,13 13 0,-13-13 16,13 13-16,-13-14 15,14 14-15,-14-13 0,13 13 0,0-13 16,-13 0-16,13 13 0,-13-14 0,13 14 16,-13-13-1,14 13-15,-28 27 31,14-14-31,-13 0 16,13 0-16,0 1 0,-13-1 0,13 0 16,-13 0-16,13 1 0,-13-1 0,13 13 15,-14-13-15,14 1 0,-13-1 16,0 13-16,13-12 16,-13-14-16,13 13 0,13-40 31,0 14-16,0 0-15,1 0 0,-1-1 16,0-12-16,-13 13 0,13 13 16,0-13-16,1-1 0,-1 1 15,0 13-15,0 0 16,1 0 0,-14 13-1,13-13 1,-13 14-16,13-14 15,0 13 1,-13-26-16,13 13 16,1 0-16,-1-14 0,0 14 15,-13-13-15,13 13 0</inkml:trace>
  <inkml:trace contextRef="#ctx0" brushRef="#br0" timeOffset="163576.76">4471 12422 0,'-26'0'15,"13"0"1,13-13 15</inkml:trace>
  <inkml:trace contextRef="#ctx0" brushRef="#br0" timeOffset="171999.51">12039 926 0,'0'13'15,"13"0"1,-40-26 15,14 0-15,13 0-16,-13-14 0,0 1 0,-1-1 16,1 1-16,0-14 0,-14 14 0,14-14 15,13 0-15,-13 14 0,0-14 16,0 14-16,13-1 0,0 14 0,-14-13 15,14 12-15,0 1 0,0 0 0,0 0 32,14 13-32,-1 13 0,13-13 15,-13 13-15,14 14 0,-1-1 0,14-13 16,-13 14-16,-1-1 0,-13-12 16,14 12-16,-1-13 0,-13 14 0,1-14 15,-1 0-15,0-13 0,0 13 0,-13 1 16,14-14-16,-14 13 0,13-13 0,-13 13 15,-13 0 1,-1-13-16,1 0 0,0 0 16,0 14-16,-14-14 0,1 0 0,-1 0 15,1 13-15,-14-13 0,14 0 16,-1 0-16,1 0 0,-1 0 16,14-13-16,-13 13 0,12 0 0,-12-14 15,13 1-15,-1 0 16,14 0-16,0-14 0,14 14 15,-1-14-15,0 1 0,14 0 0,-1 12 16,0-12-16,14-1 0,-13 1 0,12-1 16,-12 14-16,12 0 0,-12-13 15,-1 12-15,1 1 0,-1 0 0,1 13 16,-14-13-16,0-1 0,0 14 16,1 0-16,-1 0 0,0 0 0,0 14 15,-13-1 1,0 0-16,0 14 0,-13-1 0,0 0 15,0 14-15,-1 0 0,1 0 16,-13-1-16,13-12 0,-14 12 0,14-12 16,-14 13-16,14-14 0,0 0 0,-14 1 15,14-14-15,0 14 0,13-14 16,-13 0-16,0 0 0,13 0 0,-14-13 16,1 0-16,13 14 0,-13-14 15,13 13 1</inkml:trace>
  <inkml:trace contextRef="#ctx0" brushRef="#br0" timeOffset="175450.8">5450 2381 0,'0'-13'0,"0"0"0,0 0 0,0-1 15,0 1-15,0-13 16,0 12-16,0 1 0,0 0 0,0 0 16,0-1-16,-13 1 0,13 0 0,0 0 15,0 0-15,-13-1 16,13 1-16,0 0 0,0 0 16,-13-1 15,13 1-16</inkml:trace>
  <inkml:trace contextRef="#ctx0" brushRef="#br0" timeOffset="176588.63">22132 10663 0,'-13'13'0</inkml:trace>
  <inkml:trace contextRef="#ctx0" brushRef="#br0" timeOffset="177491.21">5556 10769 0</inkml:trace>
  <inkml:trace contextRef="#ctx0" brushRef="#br0" timeOffset="178931.77">22622 10676 0,'0'-13'16,"-27"39"15,27-13-15,-13 1-16,0-1 0,0 13 0,-1-12 0,1-1 16,-13 13-16,13 1 0,-14-1 0,1 1 15,12-1-15,1-13 0,0 1 16,0-1-16,0 13 0,-1-13 15,1 1-15,0-1 0,0 0 16,13 0-16,-14-13 16</inkml:trace>
  <inkml:trace contextRef="#ctx0" brushRef="#br0" timeOffset="179272.63">22662 10649 0,'0'-13'16,"-14"0"-1,1 13-15,0 13 16,0-13-16,-1 0 0,1 13 0,0-13 16,0 14-16,-14-1 0,14-13 15,-13 13-15,12 0 0,1 1 0,-13-14 16,12 13-16,1 0 0,-13-13 16,13 13-16,-1-13 0,14 14 15,-13-14-15,0 0 0,13 13 0,-13-13 16</inkml:trace>
  <inkml:trace contextRef="#ctx0" brushRef="#br0" timeOffset="179480.54">22529 10636 0,'0'0'16,"13"-13"-16,1 13 15,-1 13 1,0 0-16,0 1 15,1-1-15,-14 0 16,13-13-16,0 13 0,0 1 16,-13-1-16,14 0 0,-1 0 15,0-13-15,-13 14 0,13-1 0,0 0 16,-13 0-16,14-13 0,-14 13 16,0 1-16</inkml:trace>
  <inkml:trace contextRef="#ctx0" brushRef="#br0" timeOffset="181560.57">21709 11258 0,'-40'13'31,"40"0"-31,-13-13 0,13 14 16,-13-1-16,13 13 0,-13-12 15,13-1-15,0 0 0,-14 0 0,14 1 16,0-1-16,0 0 0,14 0 0,-14 0 16,0 1-16,13-1 0,0 0 15,0-13-15,1 0 16,-1 0-16,0 0 16,-13-13-16,13 13 0,-13-13 0,14 13 15,-14-14-15,0 1 0,13 0 0,-13 0 16,0 0-16,0-1 0,0 1 0,0 0 15,0 0-15,0-1 16,-13 1-16,13 0 0,-14 0 0,14-1 16,-13 14-16,13-13 15,-13 13-15,0 0 0,-14 0 16,14 0 0,0 0-16,-1 13 0,1 1 15,13-1 1,0 0-16,0 0 15,13-13-15,-13 14 0,14-14 16,-1 0-16,0 13 16,0-13-16,1-13 0,-1 13 15,0 0-15,0-14 0,1 14 16,-1-13-16,0 13 16,-13-13-16,13 0 0,0 13 0,-13-14 15,14 14-15,-14-13 0,13 13 16,-13-13-16,13 0 15,0 39 17,-13-13-17,0 1-15,0-1 16,14 0-16,-14 0 16,13-13-16,-13 14 15,13-14-15,0 13 16,1-13-16,-1 0 15,-13-13-15,13 13 16,0-14-16,0 1 16,-13 0-16,14 13 15,-1-13 1,-13 39 15,0-13-31,13 1 16,-13-1-1,13 0-15,-13 0 16,14-13 0,-14 14-16,13-14 15,0-14 1,0 14-16,-13-13 0,13 0 16,-13 0-16,14-1 0,-14 1 15,13 0-15,0-14 0,-13 14 0,13-13 16,-13 13-16,14-14 0,-14 14 0,0 0 15,13-14-15,-13 14 0,0 0 16,13-1-16,-13 1 0,0 0 16,13 0-16,-13 0 15,-13 39 17,13-13-32,0 0 15,0 1-15,0-1 0,0 0 0,0 0 16,0 1-16,0-1 0,0 0 15,0 0-15,13 1 0,-13-1 0,0 0 16,0 0-16,14 0 0,-14 1 0,0-1 16,13-13-16,-13 13 0,0 0 15,13 1-15,-13-1 16,-13-13 31,0 0-47,-1 0 15,14-13-15,-13 13 0,0 0 0,13-14 16,-13 14-16,-1 0 0,1-13 16,0 13-16,0-13 15,-1 13-15,14-13 16,14-1 15,-1 14-31,0-13 16,0 13-16,1-13 0,-1 13 15,0 0-15,0-13 0,1 13 16,12-13-16,-13 13 16,0 0-1,1-14 1,-1 14 15,0 0 0,-13-13-15,13 13 0,-13-13-1,0 0 1,14-1-16,-14 1 16,0 40 46,0-14-62,0 0 0,0 0 16,0 1-16,0-1 0,-14 0 0,14 0 15,0 0-15,14 1 0,-14 12 16,0-13-16,13 1 16,-13-1-16,13-13 15,0 13 1,1-13-16,-1-13 15,0 13-15,-13-13 0,13 13 16,-13-14-16,13 1 0,1 13 16,-1-13-16,0 26 31,0 0-15,-13 1-1,0-1-15,0 0 16,0 0-16,14 1 15,-14-1-15</inkml:trace>
  <inkml:trace contextRef="#ctx0" brushRef="#br0" timeOffset="181691.77">22542 11192 0,'0'-13'0,"-13"-1"31</inkml:trace>
  <inkml:trace contextRef="#ctx0" brushRef="#br0" timeOffset="182320.68">22701 11298 0,'13'0'16,"1"-14"0,-14 1-16,0 0 15,0 0 1,0 0 0,-14 13-1,1 13 16,13 26-15,0-25 15,13-14-31,14-14 16,-14 14 0,0 0-16,1 0 15,-1 0 1,0 0-16,0 0 0,-13 14 15,14-1 1,-14 0 0,0 0-16,-14 1 15,28-1-15,-1-26 47,-13-1-47,13 14 0,-13-13 0,13 0 16,0 0-16,1-1 0,-14 1 15,13 13-15,-13-13 0,13 0 0,0 13 16,-13-13-16,-13 39 31</inkml:trace>
  <inkml:trace contextRef="#ctx0" brushRef="#br0" timeOffset="182595.28">22053 11589 0,'40'-13'16,"92"-27"-1,-92 27-15,13-1 16,-14 14-16,14-13 0,-13 13 15,13-13-15,-14 13 0,-12-13 0,-1 13 16,1 0-16,-1 0 0,-12-14 16,-1 14-16,0 0 0,0 0 0,0 0 15,1 0-15,-41 14 32,27-1-32</inkml:trace>
  <inkml:trace contextRef="#ctx0" brushRef="#br0" timeOffset="182892.11">22079 11668 0,'27'0'16,"-14"0"-16,14-13 0,-1 13 0,1 0 16,12-13-16,14 13 15,-13-14-15,0 14 0,12-13 0,-12 0 16,0 13-16,-14-13 0,1 13 0,-1-13 15,-13 13-15,14 0 0,-14 0 16,0-14-16,1 14 0,-1 0 0,0 0 16,0 0-16,0-13 0,1 13 15,-1 0 1,0 0-16</inkml:trace>
  <inkml:trace contextRef="#ctx0" brushRef="#br0" timeOffset="187336.51">23799 9869 0,'40'-13'16,"-27"-1"-16,0 14 0,14-13 0,13-13 16,-14 13-16,14-14 0,-1 1 0,1-1 15,13-12-15,-13 12 0,-1-13 16,14 1-16,-13-1 0,0 0 0,-1 1 15,1-1-15,-13 0 0,-1 14 0,0-1 16,-12 1-16,-1 13 0,0-1 16,0 1-16,-13 0 0,14 13 0,-14-13 15,-27 13 1</inkml:trace>
  <inkml:trace contextRef="#ctx0" brushRef="#br0" timeOffset="187636.96">24209 9274 0,'27'-14'0,"-1"1"0,-12 0 0,78-13 31,-65 26-31,-1 0 0,1-14 16,25 14-16,-25 14 0,-1-14 0,1 13 16,-1 13-16,-13 1 0,14 12 15,-27 1-15,13 0 0,-13-1 16,0 14-16,0-13 0,0 13 0,0-13 16,-13 13-16,0-1 0,13 1 0,-14 0 15,1-13-15,-13 13 0,13-13 16,-1-1-16,-12-12 0,13 12 0</inkml:trace>
  <inkml:trace contextRef="#ctx0" brushRef="#br0" timeOffset="191732.77">450 10993 0,'0'14'16,"0"-1"-1,0 0-15,0 0 0,0 1 16,13-1-16,-13 13 0,0-13 0,0 1 16,0 12-16,0-13 0,0 1 0,13-1 15,-13 0-15,0 0 0,0 1 16,0-1-16,0 0 0,13 0 16</inkml:trace>
  <inkml:trace contextRef="#ctx0" brushRef="#br0" timeOffset="192099.56">622 10941 0,'0'-14'0,"-13"54"31,13-27-31,0 0 15,0 1-15,0 12 0,0-13 0,13 1 16,-13 12-16,0-13 0,13 0 0,0 1 16,-13 12-16,13-26 0,1 13 15,-1 1-15,0-14 0,0 13 0,1-13 16,-1 0-16,0 0 0,0-13 16,1 13-16,-1 0 0,-13-14 15,13 1-15,-13 0 0,0 0 16,0-1-16,0 1 0,0 0 0,-13 0 15,13 0-15,-13-14 16,13 14-16,-14 0 0,1 13 0,0-14 0,0 1 16,13 0-16,-14 13 0,1 0 15,0-13-15,-14 13 16,14 13 0</inkml:trace>
  <inkml:trace contextRef="#ctx0" brushRef="#br0" timeOffset="192700.27">992 10888 0,'27'-27'32,"-54"40"-1,27 1-15,-13-1-16,0 0 0,-1 0 15,14 1-15,-13-14 0,13 13 0,-13-13 16,13 13-16,0 0 15,13 0 1,0-13-16,1 0 16,-1 14-16,0-14 15,0 0-15,1 13 16,-1-13-16,0 13 0,0 0 16,-13 1-1,0-1 1,-13 0-16,0 0 0,0 0 15,13 1-15,-14-14 0,1 13 16,0 0-16,0-13 0,-1 13 16,1-13-1</inkml:trace>
  <inkml:trace contextRef="#ctx0" brushRef="#br0" timeOffset="193867.83">1363 10888 0,'26'-14'31,"-13"14"-15,1-13-1,-1 13-15,0 0 16,0 0-16,0-13 0,1 13 16,-1 0-1,0-13-15,0 13 0,-13-14 16,14 14-16,-1-13 0,0 13 16,-13-13-16,13 13 0,1-13 15,-1 0-15</inkml:trace>
  <inkml:trace contextRef="#ctx0" brushRef="#br0" timeOffset="194414.03">1892 10544 0,'0'0'0,"0"-14"16,-13 14-16,-1 0 0,14-13 0,-13 13 15,0 0-15,0 0 16,-1 0-16,1 13 0,0 1 15,-14 12 1,14-13-16,13 1 16,-13-1-16,13 0 0,0 0 0,0 0 0,0 1 15,0-1-15,0 0 16,13 0 0,0-26-16,1 13 15,-1-13-15,0 13 16,0-13-16,-13-1 0,14 14 0,-14-13 15,13 0-15,0 13 0,-13-13 0,13 13 16,-13-13 0,14 13-16,-1 13 15,0-13-15,-13 13 0,0 0 0,13 0 16,-13 1-16,13-1 0,-13 0 16,0 0-16,14 1 0,-14-1 0,0 0 15,13 0-15,-13 1 0,0-1 0,0 0 16,0 0-16,13 0 15,-13 1-15,13-1 16</inkml:trace>
  <inkml:trace contextRef="#ctx0" brushRef="#br0" timeOffset="195140.5">2315 10478 0,'-26'-14'15,"12"28"1,1-14-16,0 0 16,0 13-16,-1-13 15,14 13-15,0 0 16,14 0-16,-14 1 16,13-14-16,-13 13 15,13 0-15,0 0 0,-13 1 0,14-1 16,-14 0-16,13 0 0,0 0 0,-13 1 15,0-1-15,0 0 0,0 0 16,0 1-16,0-1 0,0 0 0,0 0 16,-13-13-16,13 14 0,-13-1 0,13 0 15,-14-13-15,1 0 16,0-13 0,26-14-1,-13 14-15,13-13 16,-13 12-16,14 1 0,-14 0 0,13 0 15,0-1-15,-13 1 0,13-13 16,-13 13-16,14-1 0,-14 1 16,0 0-16,0 0 0,0-1 0,0 1 15,0 0-15,0 0 0,-14 13 0,14-13 16,-13-1-16,0 14 16,13-13-16,-13 13 0,-14 0 15,1 0 1,12 0-16</inkml:trace>
  <inkml:trace contextRef="#ctx0" brushRef="#br0" timeOffset="197463.62">529 11933 0,'27'-14'15,"-27"1"1,13 13-16,0-13 0,0 0 16,1 13-16,-1-13 0,0-1 15,0 14-15,0-13 0,1 13 16</inkml:trace>
  <inkml:trace contextRef="#ctx0" brushRef="#br0" timeOffset="197670.67">569 12012 0,'26'0'47,"-26"-13"-32,14 13-15,-1-13 0,0 13 16,0-14-16,0 14 16</inkml:trace>
  <inkml:trace contextRef="#ctx0" brushRef="#br0" timeOffset="212743.85">21325 9723 0,'-13'0'0,"26"0"0,-39 0 0</inkml:trace>
  <inkml:trace contextRef="#ctx0" brushRef="#br0" timeOffset="213324.89">21193 9710 0,'0'-13'16,"13"13"0,1 0-16,-1 0 15,0 0-15,0 0 0,0 0 0,14 0 16,-1-13-16,-12 13 0,12 0 15,1 0-15,-1 0 0,0 0 0,1-13 16,-14 13-16,14 0 0,-14 0 0,0 0 16,14 0-16,-14 0 15,0 0-15</inkml:trace>
  <inkml:trace contextRef="#ctx0" brushRef="#br0" timeOffset="214020.57">21087 10649 0,'0'0'0,"-13"0"0,53 0 46,-27-13-46,13 13 16,1 0-16,13 0 0,-14 0 0,14-13 16,13 13-16,-27 0 0,14-13 15,-14 13-15,1 0 0,-1-13 0,1 13 16,-1 0-16,1-14 0,-14 14 0,0 0 16,0 0-16,0-13 0,1 13 15,-1 0-15,0 0 16,-13-13-1</inkml:trace>
  <inkml:trace contextRef="#ctx0" brushRef="#br0" timeOffset="-212149.27">6032 2897 0,'-26'0'31,"52"0"-15,-12 13-16,-1-13 16,13 0-16,14 0 0,13 0 15,0 0-15,0 0 0,13 0 0,13 0 16,1-13-16,-1 13 0,1-13 16,12 13-16,-13-13 0,14 13 0,0-13 15,-1 13-15,1-14 0,-14 14 0,1 0 16,-1-13-16,-13 13 0,14 0 15,-28-13-15,15 13 0,-14 0 0,-14 0 16,1 0-16,0 0 0,-14 0 0,-13 0 16,14 0-16,-14 0 0,0 0 15,0 0-15,1 0 0,-1-13 16</inkml:trace>
  <inkml:trace contextRef="#ctx0" brushRef="#br0" timeOffset="-211735.82">6945 2990 0,'53'0'15,"-13"0"1,0 0-16,26-13 0,0 13 0,0-14 15,0 1-15,0 13 0,14-13 16,-14 13-16,13-13 0,1 13 16,-1-14-16,-13 14 0,0-13 0,-13 13 15,0 0-15,-13-13 0,13 13 16,-14 0-16,-12 0 0,13 0 0,-14-13 16,0 13-16,-12 0 0,12 0 0,-13 0 15,1 0-15,-1 0 0,0 0 16,0 0-16,1 0 0,-1 0 15,0 0-15,0 0 0,0 0 16,1 0 0,-1 0 15</inkml:trace>
  <inkml:trace contextRef="#ctx0" brushRef="#br0" timeOffset="-209597.46">20849 2196 0</inkml:trace>
  <inkml:trace contextRef="#ctx0" brushRef="#br0" timeOffset="-208482.09">23270 10702 0,'0'-13'0,"0"26"0,0-39 0,0 52 47,0-12-47,0 12 0,0-13 15,0 14-15,0-1 0,0 1 16,0-1-16,0 1 0,0-1 0,0 1 16,0-1-16,0-13 0,0 14 0,0-1 15,0-13-15,0 14 0,0-14 16,0 0-16,0 14 0,0-14 16,0 0-16,-13-13 15</inkml:trace>
  <inkml:trace contextRef="#ctx0" brushRef="#br0" timeOffset="-208261.08">23349 10742 0,'0'-26'0,"-13"26"0,-53 39 32,40-12-32,-1-14 15,1 0-15,-1 14 0,1-1 0,-1-13 16,14 1-16,-13-1 0,12 13 16,1-12-16,0-1 0,0 0 15</inkml:trace>
  <inkml:trace contextRef="#ctx0" brushRef="#br0" timeOffset="-208020.83">23323 10663 0,'26'13'0,"-26"0"0,14 0 16,-14 1-16,13 12 0,40 53 31,-40-65-31,-13-1 0,13 0 0,1 0 16,-14 1-16,13-1 0,-13 0 15,0 0-15,13 1 0,-13-1 0,0 0 16,0 0 0</inkml:trace>
  <inkml:trace contextRef="#ctx0" brushRef="#br0" timeOffset="-203163.27">14221 3717 0,'0'0'0,"0"-13"0,-13 40 47,13-14-47,0 0 15,0 0-15,0 1 0,0 12 16,13-13-16,-13 14 0,14-14 0,-14 13 15,13-12-15,-13 12 0,13-13 16,0 14-16,-13-14 0,14 0 0,-1 0 16,-13 1-16,13-1 0,0 0 0,0-13 15,-13 13-15,14-13 0,-1 14 16,0-14-16,0 0 0,1 0 0,-1 0 16,0 0-16,27 0 0,-27-14 15,0 14-15,14 0 16,-14-13-16,13 13 0,-12-13 0,12 0 15,-13-1-15,14 14 0,12-26 0,-12 13 16,-1 0-16,-12-1 16,12 14-16,0-13 0,1 0 0,-14 0 15,27-1-15,-14 1 0,1 13 0,39-26 16,-40 26-16,14-14 16,-14 1-16,1 13 0,13 0 0,13-13 15,-14 13-15,-12 0 0,39 0 16,-40 0-16,14 0 15,-14 0-15,14 0 0,0 13 0,-14-13 16,14 13-16,0 1 0,-14-14 0,14 13 16,13 0-16,-27 0 15,14 1-15,-14-1 0,-12 0 0,12 0 16,-13-13-16,14 14 0,-14-1 16,0 0-16,14 0 0,-14 0 15,0 1-15,0-1 16,1-13-16,-14 13 0,13 0 15,0 1-15,0-14 16,-13 13 0,13-13-1,-13-13 17,14-1-17,-14 1-15,0 0 16,13 13-16,-13-13 0,13-1 15,-13 1-15,13 0 0,1 0 16,-1-27-16,0 27 0,0 0 16,27-14-16,-27 14 0,14 0 15,-1-14-15,1 14 16,-1 0-16,-13 13 0,14-13 0,-1 13 16,1-14-16,26 14 0,-27-13 15,-13 13-15,40 0 0,-26 13 16,-1-13-16,1 0 0,-14 0 15,13 0-15,1 14 0,-1-14 16,14 13-16,-27-13 0,14 0 0,-1 13 16,0-13-16,1 0 0,-14 13 15,14-13-15,-1 0 0,-13 13 0,27-13 16,-14 14-16,-12-14 0,25 0 16,-12 0-16,-14 0 15,0 13-15,14-13 0,-14 0 0,13 0 16,1 0-16,-14 0 0,0 0 15,1-13-15,-1 13 0,0 0 16,0 0-16,0 0 0,1-14 0,-1 14 16,0-13-16,0 13 0,-13-13 15,14 13-15,-14-13 0,13 13 0,-13-13 16,13-1 0,0 1-16,-13 0 15,13 13-15,-13-13 0,14 13 16,-14-14-16,13 14 31,-13-13-15</inkml:trace>
  <inkml:trace contextRef="#ctx0" brushRef="#br0" timeOffset="-197799.95">14354 622 0,'0'26'0,"0"-13"0,0 14 0,0-14 16,0 14-16,0-1 0,0 1 15,0-14-15,0 13 0,0 1 0,0-1 16,0 1-16,0-14 0,0 13 0,0-13 16,0 1-16,0 12 0,0 1 15,0-14-15,0 0 0</inkml:trace>
  <inkml:trace contextRef="#ctx0" brushRef="#br0" timeOffset="-197345.25">14301 635 0,'26'-26'0,"-13"26"0,1 0 0,-1 0 16,79 26 15,-78-13-31,-14 0 0,0 1 0,0-1 16,0 13-16,-14 14 0,1-13 15,0-1-15,-13 14 0,12-14 0,-12 1 16,13-14-16,-14 13 0,14-13 0,0-13 15,0 14-15,-1-1 16,1 0-16,13 0 16,-13-13-16,26 14 15,0-14 1,1 0-16,-1 13 0,0-13 16,13 0-16,-12 0 0,12 0 0,-13 0 15,14-13-15,-14 13 0,13 0 16,-12 0-16,12 0 0,-13-14 0,1 14 15,-1 0-15,0 0 0</inkml:trace>
  <inkml:trace contextRef="#ctx0" brushRef="#br0" timeOffset="-196578.97">14856 741 0,'-13'-13'16,"26"26"-16,-39-13 15,13 13 1,-1 0-16,14 1 0,-13-1 16,13 0-16,0 0 0,-13 0 15,13 1-15,0-1 16,0 0-16,0 0 0,13 1 16,0-1-1,-13-26 1,14 13-16,-14-14 15,13 1-15,-13 0 0,0 0 16,0-1 0,0 1-16,13 13 0,-13-13 0,0 0 15,0 0 1,13 26 15,1 0-15,-14 0-1,13-13 1,-13 13 0,26-26 15,-13 13-15,14 0 15,-14 0 0,0 0-31,1 0 47,-1-13-31,0 13-1,0 0 1,-13-13-16,14 13 0,-1 0 15,-13-13-15,13 13 0,0 0 0,0 0 16,1-14-16,-1 14 0,0 0 0</inkml:trace>
  <inkml:trace contextRef="#ctx0" brushRef="#br0" timeOffset="-195965.28">15293 622 0,'-27'0'15,"14"0"1,13 13-16,0 0 16,0 0-1,0 1-15,0-1 0,0 0 0,0 0 16,0 1-16,-13-1 0,13 0 0,0 0 15,0 1-15,-13-1 0,13 0 16,-13 0-16,-1 0 0,14 1 16,-13-1-16,0 0 15,39-39 17,-12 12-32,-1 1 15,0 0-15,0 0 16,0-14-16,1 14 0,-1 0 0,0 0 15,0-1-15,1 1 0,-1 0 16,-13 0-16,13 13 0,-13-14 16,0 41 15,0-14-15,0 0-16,0 1 15,0-1-15,0 0 0,13 0 16,-13 1-1,14-14-15,-14 13 0</inkml:trace>
  <inkml:trace contextRef="#ctx0" brushRef="#br0" timeOffset="-195695.98">14565 1230 0,'-26'14'15,"79"-41"1,-14 1-16,1 12 16,0-12-16,13 13 0,0-14 0,13 1 15,-13 13-15,0-14 0,13 14 16,26-27-16,-52 40 0,0-13 15,-14 0-15,1 13 0,-14 0 0,0 0 16,0 0 0</inkml:trace>
  <inkml:trace contextRef="#ctx0" brushRef="#br0" timeOffset="-195495.75">14671 1323 0,'-26'0'0,"52"0"0,-66 13 15,67-13 17,-1 0-32,-12-13 0,12 13 15,1-13-15,12 13 0,1-14 0,0 1 16,-1 0-16,1 0 0,0 0 16,-14-1-16,14 1 0,-1 0 15,1-14-15,0 14 0,-14 0 0,1 0 16</inkml:trace>
  <inkml:trace contextRef="#ctx0" brushRef="#br0" timeOffset="-195214.2">15756 741 0,'0'0'0,"26"-13"16,-12 13-1,-1 0-15,13-14 0,-12 14 16,12 0-16,-13-13 0,14 13 0,-1-13 15,-13 13-15,1 0 0,12-13 16</inkml:trace>
  <inkml:trace contextRef="#ctx0" brushRef="#br0" timeOffset="-194960.24">15941 529 0,'0'0'0,"40"0"16,-27 13 0,0-13-16,1 0 0,12 14 0,-13-14 15,14 13-15,-14-13 0,13 13 0,-12 0 16,12-13-16,-13 14 0,14-1 16,-14 0-16,-13 0 0,13 0 15,-13 1-15,0-1 0,0 0 16,0 0-16,-13 1 15,0-1-15,-1 0 0,14 0 16,-13 1-16,-13-1 0</inkml:trace>
  <inkml:trace contextRef="#ctx0" brushRef="#br0" timeOffset="-190800.93">7660 13375 0,'13'0'0,"-13"-14"32,0 1-32,0 0 0,0 0 15,0 0-15,-13-14 0,13 14 0,0-14 16,-14 1-16,1-1 0,0-12 0,-13-1 15,-1 0-15,-13-12 0,-39-28 16,26 40-16,0 1 16,0 12-16,-13 1 0,13-1 0,-13 14 0,0 0 15,13 13-15,0 0 16,-26 0-16,13 13 0,-14 14 0,14-1 16,0 1-16,-27 25 0,14-12 0,13 13 15,0 13-15,-1 0 0,1 0 16,13 1-16,0 12 0,14-13 0,12 0 15,14 0-15,0 1 0,0-1 0,26 0 16,0 0-16,14 13 0,12-26 16,1 27-16,26-1 0,0-26 15,0 0-15,1-13 0,-1-1 0</inkml:trace>
  <inkml:trace contextRef="#ctx0" brushRef="#br0" timeOffset="-190581.13">6390 14274 0,'1151'-39'0,"-940"-94"15,-171 80-15,26-26 16,-39 26-16,-1 0 0,-13-13 16,-13 13-16,14-13 0,-14 0 0,-14-14 15,1 14-15,0 0 0,-14 0 0,-12 0 16,-1 13-16,0 0 0,1 0 16,-14 13-16,0 14 0,-13 0 0,-1-1 15,1 27-15,0-13 0,-13 26 0,13-13 16,-14 27-16,14-14 0,-13 13 15,13 1-15,-1-1 0,15 14 16,-1-14-16,0 14 0,0-14 0</inkml:trace>
</inkml:ink>
</file>

<file path=ppt/ink/ink14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7:51.959"/>
    </inkml:context>
    <inkml:brush xml:id="br0">
      <inkml:brushProperty name="width" value="0.05292" units="cm"/>
      <inkml:brushProperty name="height" value="0.05292" units="cm"/>
      <inkml:brushProperty name="color" value="#0070C0"/>
    </inkml:brush>
  </inkml:definitions>
  <inkml:trace contextRef="#ctx0" brushRef="#br0">10716 2394 0,'13'27'15,"-13"-14"-15,0 27 0,13 0 0,-13 26 16,0 0-16,13 0 0,-13 0 0,0 14 16,14-14-16,-14 0 0,0 0 0,13 0 15,-13 0-15,0 0 0,0-13 16,0-13-16,0 13 0,0-13 0,13-14 15,-13 0-15,0 1 0,0-14 0,0 14 16,0-14-16</inkml:trace>
  <inkml:trace contextRef="#ctx0" brushRef="#br0" timeOffset="1601.6">10755 2289 0,'27'0'0,"-14"0"0,119-14 16,-92 14-16,26 0 15,0 0-15,0 0 0,14-13 0,-1 13 16,14-13-16,-1 13 0,1 0 0,13-13 16,-14 13-16,41-14 0,-14 1 15,13 13-15,0-13 0,-13 13 0,14-13 16,-1 13-16,0-13 0,1-1 0,12 14 15,-13-13-15,14 0 16,-1 13-16,1-13 0,-1 13 0,1-14 16,13 14-16,-14-13 0,14 13 0,159-13 15,-173 0-15,14 13 16,0-13-16,-1 13 0,1-14 0,13 1 16,-13 13-16,0-13 0,-1 13 0,1-13 15,0 13-15,0-14 0,-1 14 0,1-13 16,-13 13-16,12 0 0,-12-13 15,-1 13-15,14 0 0,-13-13 0,-1 13 16,1 0-16,-1-14 0,1 14 16,-1 0-16,1 0 0,-14-13 15,14 13-15,-14 0 0,0 0 0,-13 0 16,-13 0-16,0 0 0,0 0 0,0 0 16,-1 0-16,1 13 15,0-13-15,-13 0 0,-1 0 0,-12 0 0,-1 14 16,-13-14-16,0 0 0,-13 0 0,0 0 15,-13 13-15,-1-13 0,-12 0 16,13 0-16,-27 0 0,13 0 0,1 13 16,-14-13-16,0 0 0,0 0 15,1 0-15,-1 0 0,0 0 16,0 0-16,-13 13 0,14-13 16,-14 14-16,13-14 15,-13 13-15,13 0 0,-13 0 0,0 14 16,0-1-16,13 14 0,-13 0 15,0-1-15,0 1 0,0 13 0,14-13 16,-14 12-16,0 1 0,0 0 0,0 0 16,0 0-16,0-13 0,0 13 15,0 0-15,0 0 0,13-14 0,-13 14 16,13-13-16,-13 0 0,13-1 0,-13 1 16,13-14-16,1 1 0,-14-1 15,13 1-15,-13-14 0,13 13 16,-13-12-16,13 12 0,-13-13 0,14 1 15,-14-1-15,0 0 0,0 0 16,13 1-16,-13-1 16,-13 0-16,-1 0 15,1-13-15,0 13 0,-14-13 16,1 14-16,0-14 0,-27 13 16,13-13-16,-13 0 0,0 13 0,0-13 15,-13 13-15,-13-13 0,13 0 0,-14 14 16,1-14-16,-1 0 0,1 13 15,0-13-15,-14 0 0,0 13 0,1-13 16,-1 13-16,-13-13 0,14 13 0,-41-13 16,14 14-16,-13-14 15,-609 53 1,622-53-16,-13 13 16,0-13-16,13 13 0,-14-13 0,27 13 15,-26-13-15,-13 14 0,12-14 16,1 13-16,0-13 0,-1 0 0,1 13 15,-13-13-15,12 13 0,1-13 0,0 0 16,-1 13-16,1-13 0,13 0 16,13 14-16,-26-14 0,0 13 15,26-13-15,-13 0 0,-13 13 0,26-13 16,-13 13-16,13-13 0,13 14 16,-13-14-16,1 13 0,12-13 0,-39 0 15,39 13-15,-13 0 0,14-13 0,-1 0 16,-13 14-16,14-14 0,-14 13 15,13-13-15,-13 13 0,14-13 0,-1 13 16,-13-13-16,14 13 0,-1-13 0,0 14 16,1-1-16,-1-13 0,1 13 0,-1-13 15,14 0-15,-14 13 0,14-13 16,-14 14-16,14-14 0,-14 13 0,14-13 16,-1 0-16,1 13 0,0-13 0,12 13 15,-12-13-15,0 0 0,13 14 16,-1-14-16,1 0 0,0 13 15,13-13-15,0 0 0,0 0 0,-13 13 16,13-13-16,0 0 0,0 0 16,1 13-16,-1-13 0,0 0 0,0 0 15,13 13-15,0-13 0,1 0 0,12 0 16,1 0-16,-14 0 0,14 0 16,12 0-16,-12 0 0,0 0 0,12 14 15,-12-14-15,13 0 0,-1 0 0,1 0 16,0 0-16,0 0 15,-1 0-15,1 0 16,0 0-16,0 0 16,0 0-1,-1 0 32,1-14-31</inkml:trace>
  <inkml:trace contextRef="#ctx0" brushRef="#br0" timeOffset="3205.84">17013 2408 0,'0'39'16,"0"1"-16,-14 0 15,14 26-15,0 13 0,0-13 0,0 14 16,0-1-16,-13-13 0,13 14 16,0-14-16,0 0 0,0 0 0,0-26 15,13 13-15,-13-14 0,0 1 0,0 0 16,0-14-16,0-13 0,14 14 16,-14-14-16,0 0 0,0 1 15</inkml:trace>
  <inkml:trace contextRef="#ctx0" brushRef="#br0" timeOffset="3821.46">16907 2421 0,'0'0'0,"53"-13"0,-14 13 16,1-14-16,13 14 0,0-13 16,26 0-16,1 13 0,-1-13 0,14 0 15,-1-1-15,41 1 0,-14 0 16,13 13-16,-13-13 0,0-1 0,-13 14 16,0-13-16,0 13 0,-1 0 0,-12-13 15,13 13-15,0 0 0,-27 0 0,14-13 16,-14 13-16,-13 0 0,0 0 15,-13 0-15,0 0 0,-13 0 0,-14 0 16,1 0-16,-1 13 0,1-13 0,-14 0 16,13 0-16,-12 13 15,-1-13-15,0 13 0,0 1 0,1-1 16,-14 0-16,13 0 0,0 14 0,-13-1 16,13 14-16,-13 0 0,13-1 15,-13 14-15,14-13 0,-1 13 0,-13 0 16,13 0-16,-13 13 0,13-13 0,-13 0 15,14 0-15,-14-14 0,13 14 16,-13-13-16,13 0 0,-13-1 16,13 1-16,-13 0 0,0-14 0,0 1 0,0-1 15,0 0-15,0 1 0,0-14 16,-13 14-16,13-14 0,-26 13 16,-1 1-16,1-1 0,-14-13 0,0 1 15,-13 12-15,0-13 0,-26 1 0,13-1 16,-13 0-16,-14 0 0,0-13 15,14 13-15,-27 1 0,14-14 0,-1 13 16,0-13-16,1 13 0,12-13 0,1 0 16,13 0-16,13 0 0,0 0 15,13 0-15,14 0 0,-1-13 0,14 13 16,0 0-16,13-13 0,0-1 16,13 1-16</inkml:trace>
  <inkml:trace contextRef="#ctx0" brushRef="#br0" timeOffset="4274.26">19791 2884 0,'238'-26'31,"-159"26"-31,1-14 0,12 1 16,1 13-16,0-13 0,-1 13 0,1-13 15,-1-1-15,14 14 0,-13-13 0,13 13 16,-14-13-16,14 0 16,-13 13-16,-1-14 0,1 1 0,-1 13 15,-12-13-15,-1 13 0,-13 0 0,-13-13 16,0 13-16,0 0 0,-26 0 0,-1 0 15,0-13-15,1 13 0,-14 0 16,0 0-16,1 0 0,-1-14 16</inkml:trace>
  <inkml:trace contextRef="#ctx0" brushRef="#br0" timeOffset="4533.64">21788 2514 0,'0'0'0,"14"0"0,12 0 15,-13 0-15,1 13 0,12-13 16,1 13-16,-14-13 0,13 13 0,-13 0 16,14 14-16,-1-1 0,1 1 15,-14-14-15,-13 14 0,13-14 0,-13 13 16,13 1-16,-13-14 0,-13 13 0,0 14 15,0-13-15,0 12 0,-14-12 16,1-1-16,-1-13 0,1 14 0,-1-14 16,14 13-16,0-26 0,0 14 0,-1-1 15,1-13-15</inkml:trace>
  <inkml:trace contextRef="#ctx0" brushRef="#br0" timeOffset="4889.79">22900 2606 0,'-14'27'15,"1"-14"-15,0 0 0,-27 0 0,14 14 16,-1-1-16,-12-13 0,12 14 15,-12-1-15,12-12 0,-13 12 0,27-13 16,0 1-16,-14-1 0,27 0 0,-13-13 16,13 13-16,0 0 0,0 1 15,13-1-15,-13 0 0,27-13 16,-14 0-16,14 13 0,-14-13 0,13 0 16,1 14-16,-1-14 0,1 0 15,-1 0-15,1-14 0,12 14 16,-12 0-16,-1-13 0,1 13 0,-14-13 15,13 13-15,1-13 0,-14-1 0,0 1 16,1 0-16,-1 0 0,0 0 16,-13-1-16,0 1 0</inkml:trace>
  <inkml:trace contextRef="#ctx0" brushRef="#br0" timeOffset="5073.63">22900 2606 0,'-14'0'0,"-38"53"16,52-26-1,-14-1-15,1 0 0,0 1 0,0 13 16,-1-1-16,1-12 0,0 12 16,0 1-16,-1-13 0,14-1 15,-13 0-15,13-12 0,-13 12 0,13-13 16,0 14-16,-13-14 0,13 0 0,0 1 16</inkml:trace>
  <inkml:trace contextRef="#ctx0" brushRef="#br0" timeOffset="5528.76">22688 2222 0,'-79'14'0,"39"-1"0,0 0 0,-13 14 15,0 12-15,1 1 0,12 13 16,0 0-16,0 0 0,1 13 0,12 0 16,14 0-16,0 0 0,13 1 15,26 52-15,173 132 16,-146-211 0,0-14-16,-1 14 0,1-14 15,0-13-15,-13 1 0,0-1 0,13-13 16,-14 0-16,1 0 0,13 0 0,0-13 15,0-14-15,0 14 0,0-13 16,0-1-16,-14-13 0,14 1 0,-13-1 16,-1-13-16,1 13 0,-13-13 0,-1 1 15,-13-15-15,1 15 0,-14 12 16,0-13-16,-14 0 0,1-13 16,-13 13-16,-14 13 0,-13-13 0,0 14 0,-13-1 15,0 0-15,0 14 16,0-1-16,-1 1 0,-12 13 0,13-1 0,0 1 15,13 13-15,13 0 0,-13 0 16,13 0-16,14 13 0,0-13 0,-1 14 16,14-14-16,-14 13 0,14 0 15,0 0-15</inkml:trace>
  <inkml:trace contextRef="#ctx0" brushRef="#br0" timeOffset="8295.84">11615 4128 0,'53'0'15,"-26"-14"1,-1 14-16,14-13 0,13 13 0,0-13 16,-1 0-16,1 13 0,-13-14 0,13 1 15,0 13-15,0-13 0,0 13 16,0-13-16,-14 13 0,1 0 0,0 0 16,-14 0-16,14 0 0,-14 13 0,1-13 15,-14 13-15,13 0 0,1 14 16,-1-14-16,-12 14 0,-1 12 15,0-12-15,0 12 0,1 14 0,-14 0 16,13 0-16,-13 13 0,13 0 0,-13 1 16,0 12-16,13 0 0,-13 1 15,13-1-15,1 27 0,-14-14 0,13 1 16,0 13-16,0 0 0,1 0 16,-1-1-16,0 1 0,14-13 0,-14 13 15,0-1-15,0 1 0,14-13 0,-14 13 16,0-14-16,14 14 0,-14-26 0,0-1 15,0 0-15,1 1 0,-1-1 16,0-13-16,0 14 0,0-1 0,-13-13 16,14 0-16,-1 0 0,-13-13 0,13 13 15,-13-13-15,0-13 0,0 13 16,0-13-16,0-1 0,0 1 0,0 0 16,0-14-16,-13 1 0,13-14 0,-13 13 15,13 1-15,-27-1 0,14 1 16,0-14-16,0 0 0,-14 0 15,1 1-15,-14-1 0,0 0 0,1-13 16,-14 13-16,-14 1 0,1-14 0,-13 0 16,-14 0-16,1-14 0,-1 14 15,-39-26-15,13 13 0,-14-1 0,1-12 16,-13 0-16,-1-1 0</inkml:trace>
  <inkml:trace contextRef="#ctx0" brushRef="#br0" timeOffset="9140.71">4326 5133 0,'26'0'0,"1"0"16,-14 0-16,40-13 16,0 13-16,0-14 0,13 14 0,13-13 15,14 0-15,0 13 0,39-13 0,-40 0 16,14 13-16,-13-14 0,39 1 16,-13 13-16,-13-13 0,-13 13 0,13-13 15,-14 13-15,1-14 0,-1 14 0,1 0 16,-14-13-16,1 0 0,-1 13 15,-13 0-15,0-13 0,-26 13 0,13 0 16,-13 0-16,-14 0 0,1 0 0,-14 0 16,0 0-16</inkml:trace>
  <inkml:trace contextRef="#ctx0" brushRef="#br0" timeOffset="9420.67">5186 5265 0,'-13'0'0,"105"-13"31,-52 13-31,13-13 0,13 13 16,13-13-16,1-1 0,12 14 0,1-13 15,0 0-15,12 13 0,-12-13 0,0-1 16,-1 14-16,-12 0 15,-1-13-15,-13 13 0,-13 0 0,0-13 16,-13 13-16,-1 0 0,-12 0 0,-1 0 16,-13 0-16,14 0 0,-14 0 15,14 0-15,-14 0 0,0 0 0,0 0 16,0 0-16,1 0 0</inkml:trace>
  <inkml:trace contextRef="#ctx0" brushRef="#br0" timeOffset="10068.79">8083 4260 0,'0'39'31,"0"-12"-31,13-1 0,-26 14 0,26 13 15,-26 0-15,13 0 0,0 0 16,0-14-16,0 14 0,0 0 16,13-13-16,-13 0 0,0-1 0,13-12 15,-13 12-15,14-25 0,-14 12 0,0 1 16,13-14-16,-13 0 0,13 0 16,0 1-16</inkml:trace>
  <inkml:trace contextRef="#ctx0" brushRef="#br0" timeOffset="10689.63">8295 4075 0,'0'0'0,"92"-27"0,-39 14 0,13 13 16,0-13-16,14-1 0,-1 14 0,1-13 15,12 0-15,1 13 0,-1 0 16,-12 0-16,12 0 0,1 0 0,-14 0 16,14 0-16,-14 0 0,1 0 0,-14 0 15,-13 13-15,13-13 0,-26 0 16,13 0-16,-14 13 0,1-13 15,-14 0-15,1 0 0,-1 0 0,-12 14 16,-1-14-16,13 0 0,-13 0 0,1 13 16,-1-13-16,0 13 15,0-13-15,-13 13 0,14-13 0,-1 14 16,-13-1-16,13 0 0,0 0 16,-13 1-16,14-1 0,-1 13 0,-13-13 15,13 14-15,0-1 0,0 1 0,14-1 16,-14 14-16,0-14 0,14 1 15,-14-1-15,0 1 0,1 12 0,12-12 16,-13-1-16,0 1 0,1-1 16,-1-12-16,0 12 0,0-13 0,1 14 15,-1-14-15,0 0 0,-13 0 16,13 14-16,0-14 0,-13 0 0,14-13 16,-1 13-16,-13 1 0,13-1 15,-13 0-15,-13 0 16,0 1-16,-1-14 15,-12 13-15,0-13 0,-14 13 0,-13 0 16,13-13-16,-26 14 0,0-1 16,-13-13-16,-1 13 0,1 0 15,-1-13-15,-12 13 0,-1 1 0,-26-1 16,27-13-16,-27 26 0,13-26 0,-13 27 16,0-14-16,0 0 0</inkml:trace>
  <inkml:trace contextRef="#ctx0" brushRef="#br0" timeOffset="11717.99">701 4498 0,'-13'0'0,"26"-13"47,0-1-47,1 1 16,-14 0-16,13 0 0,0 13 0,0-27 16,1 27-16,-14-13 0,13 13 15,-13-13 1,13 26-16,-13 0 15,13 1-15,-13-1 0,0 13 0,0-13 16,0 14-16,13-1 0,-13 1 16,0-1-16,0 1 0,14-1 15,-14 1-15,0-1 0,0 1 0,13-14 16,-13 13-16,0-13 0,0 1 16,13 12-16,-13-13 0,0 1 0,13-1 0,-26-13 15,26 13-15,-13 0 0,0 1 16</inkml:trace>
  <inkml:trace contextRef="#ctx0" brushRef="#br0" timeOffset="11917.07">688 5014 0,'0'-13'16,"13"-1"-1,0 1-15,1 0 0,-1 0 16,13-1-16,1-12 0,12 13 15,-12-14-15,13 14 0,-14 0 16,0-14-16,14 14 0,-13 0 0,-14 0 16,13-1-16,-12 14 0,12 0 0,-26-13 15,26 13-15,-12 0 0,-1 0 16</inkml:trace>
  <inkml:trace contextRef="#ctx0" brushRef="#br0" timeOffset="12754.8">212 6231 0,'13'-27'0,"27"1"31,-27 26-31,0 0 16,0 0-16,1 0 0,-1 13 15,-13 0-15,13 1 0,-13-1 16,0 0-16,-13 14 0,13-14 0,0 13 15,-13 1-15,13-14 0,-14 13 0,1 1 16,13-14-16,-13 0 0,13 1 16,-13-1-16,13 0 0,-14 0 15,14 1-15,27-14 32,-14-14-17,0 1-15,1 13 0,-1-13 0,0 0 16,13 13-16,-12-14 0,-1 1 0,0 13 15,0-13-15,1 13 0,-1 0 16,0-13-16,0 13 0,0 0 0</inkml:trace>
  <inkml:trace contextRef="#ctx0" brushRef="#br0" timeOffset="14262.88">7660 6707 0,'39'0'0,"-12"-13"16,26 13-16,0-13 0,13 13 16,13-13-16,14-1 0,-1 14 0,41-13 15,-1 0-15,13 0 0,1 13 0,0-14 16,-1 1-16,1 13 16,12-13-16,-12 13 0,-1-13 0,1 13 15,105-14-15,-145 14 0,-13 0 16,13 0-16,-14 0 0,-12-13 0,-14 13 15,0 0-15,-13 0 0,0 0 16,-14 0-16,-12 0 0,-1 0 0,-13 0 16</inkml:trace>
  <inkml:trace contextRef="#ctx0" brushRef="#br0" timeOffset="14679.94">8321 6747 0,'53'0'16,"-13"-13"-16,26 13 0,331-40 31,-278 27-31,13 0 0,0 13 0,14-14 0,-14 1 16,1 13-16,12-13 0,-26 13 15,13-13-15,-26 13 0,-13-14 0,13 14 16,-14 0-16,1-13 0,-14 13 0,-13 0 16,1 0-16,-15-13 0,1 13 15,-13 0-15,-13 0 0,-1 0 16,0 0-16,-12 0 0,12 0 0,-13 0 16,1 0-16,-1 0 0,0 0 15,0 0-15,0 0 16,1 0-16,-1 0 15,0 0 1,0 0 0,1 13-1,-1-13 1</inkml:trace>
  <inkml:trace contextRef="#ctx0" brushRef="#br0" timeOffset="17189.07">5622 7435 0,'-13'26'15,"13"1"-15,0-1 0,0 14 16,-13 0-16,13 26 0,0 0 15,0 0-15,0 0 0,-13 14 0,13-14 16,0 0-16,0 0 0,0 0 0,0-13 16,0-13-16,0 13 0,0-14 15,0-12-15,0 12 0,0-12 0,13-14 16,-13 0-16,0 1 0,0-1 16,0 0-16</inkml:trace>
  <inkml:trace contextRef="#ctx0" brushRef="#br0" timeOffset="17840.79">5464 7395 0,'26'-13'15,"-13"0"-15,93-1 16,-53 1-16,26 13 0,1-13 16,12 13-16,1-13 0,39-1 15,1 1-15,-1 0 0,13 0 0,14 0 16,0-14-16,0 14 0,-1-14 0,14 1 16,-13 13-16,13-14 0,-13 1 15,13 13-15,-13-1 0,-1-12 0,-12 13 16,-1-1-16,1 1 0,-14 0 0,1 0 15,-28 0-15,-12-1 0,0 14 16,-14-13-16,0 13 0,-13-13 16,1 13-16,-14 0 0,-1-13 0,-12 13 15,0 0-15,-14 0 0,1 0 16,-14 0-16,0 0 0,0 0 0,1 0 16,-1-14-16,0 14 0,0 14 15,1-14 1,-14 13-16,13 0 15,-13 0-15,0 1 0,13 12 0,-13 0 16,13 14-16,0 0 0,1 0 16,-1 12-16,0 1 0,14 13 0,-14-13 15,13 0-15,1 0 0,-14 0 0,13 13 16,1-13-16,-1 0 0,1 0 16,-1 0-16,1-13 0,-1-1 15,1 14-15,-14-26 0,0 12 0,14-12 16,-14-1-16,0 14 0,0-14 0,-13-12 15,14 12-15,-14-13 0,0 27 16,0-27-16,0 14 0,-14-14 16,-12 13-16,-1-12 0,1 12 0,-14-13 15,-13 14-15,0-14 0,-13 14 16,-13-14-16,-1 0 0,-12-13 0,-27 13 16,-13 0-16,-14 1 0,0-14 0,1 13 15,-14-13-15,0 0 0,-13 13 16,-13-13-16</inkml:trace>
  <inkml:trace contextRef="#ctx0" brushRef="#br0" timeOffset="18867.96">238 8281 0,'0'0'0,"13"-13"0,1 0 15,-1 0 1,0 0 0,0 13-16,1 0 15,-1 0-15,-13 13 16,0 0-16,13-13 0,-13 13 15,0 0-15,0 1 0,0-1 0,13 0 16,-13 0-16,0 1 16,13-1-16,-13 0 0,14-13 0,-14 13 15,13 1-15,-13-1 0,13 0 0,-13 0 16,13 0-16,-13 1 16,14-1-16,-14 0 0,0 0 0,0 1 15,-14-1-15,14 0 0,-13 0 0,13 0 16,-13 1-16,0-1 15,-1-13-15,1 13 0,0-13 0,0 13 16,-14-13-16</inkml:trace>
  <inkml:trace contextRef="#ctx0" brushRef="#br0" timeOffset="19126.78">251 7845 0,'67'0'0,"-134"0"0,173 0 16,-66 13-16,0 0 15,-1 14-15,1-1 0,0 14 0,-1 0 16,1-1-16,0 14 0,-14 0 0,1 0 16,-1 13-16,-13-13 0,1 0 15,-14-13-15,0 13 0,0 0 0,-14-1 16,1 15-16,-13-14 0,-1 13 0,-26-13 15,27 0-15,-14-1 0,0 1 16,1-13-16,-14 0 0</inkml:trace>
</inkml:ink>
</file>

<file path=ppt/ink/ink14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08:19.320"/>
    </inkml:context>
    <inkml:brush xml:id="br0">
      <inkml:brushProperty name="width" value="0.05292" units="cm"/>
      <inkml:brushProperty name="height" value="0.05292" units="cm"/>
      <inkml:brushProperty name="color" value="#0070C0"/>
    </inkml:brush>
  </inkml:definitions>
  <inkml:trace contextRef="#ctx0" brushRef="#br0">304 1495 0,'-13'106'16,"13"-53"-16,13 330 15,-13-303-15,0 12 16,0-12-16,0 12 0,0-12 0,0-1 16,0-13-16,0 0 0,14 0 0,-14-13 15,0-13-15,0 13 0,0-13 0,13-14 16,-13 1-16,0-14 0,0 0 15,0 0-15</inkml:trace>
  <inkml:trace contextRef="#ctx0" brushRef="#br0" timeOffset="990.07">278 1468 0,'0'0'0,"66"0"0,-26 0 0,-1-13 15,14 13-15,13-13 0,14 13 0,-1-13 16,1 13-16,12-13 0,14 13 0,13-14 16,13 1-16,1 0 0,-1 0 15,0-1-15,14 1 0,-14 0 0,14 0 16,-1-1-16,1 1 0,12 0 0,-12 13 16,-1-13-16,1 0 0,-1 13 15,1-14-15,-14 1 0,14 13 16,-1-13-16,1 0 0,-1 13 0,1-14 15,-14 1-15,14 13 0,-1-13 0,-13 13 16,1-13-16,12-1 0,-26 14 16,14-13-16,-41 0 0,1 13 0,13-13 15,-14 13-15,1-13 0,-1-1 0,1 14 16,-14-13-16,1 13 0,-14-13 16,-13 13-16,0-13 0,0 13 0,-27 0 15,1 0-15,-1-14 0,-13 14 0,14 0 16,-14 0-16,0 0 0,0 0 15,1 0-15,-1 0 16,0 0-16,0 0 16,1 0-16,-1 0 15,0 14-15,0-1 16,-13 0-16,14 0 0,-1 1 16,0 25-16,0-12 0,0 12 0,1 14 15,-1 0-15,13 0 0,-12 13 16,-1 0-16,0 1 0,0 12 15,1-13-15,12 13 0,-13-12 0,0-1 16,1 0-16,-14 0 0,13 0 16,0-13-16,-13-13 0,13 13 0,-13-14 0,14 1 15,-14 0-15,0-1 0,13-12 16,-13-1-16,0-12 0,0 12 0,0-13 16,-13 14-16,13-14 0,0 0 15,-14 14-15,1-14 0,-13 0 0,12 0 16,-25 1-16,12-14 0,-26 13 0,14-13 15,-27 13-15,13-13 0,-27 0 16,1 0-16,-14-13 0,14 13 0,-14 0 16,1-13-16,-14 13 0,-26-14 0,-1 14 15,1 0-15,0-13 0,-14 13 16,1 0-16,-14 0 0,0 0 0,0 0 16,1 13-16,-14-13 0,0 0 0,-14 14 15,14-14-15,-13 13 0,0 0 16,0 0-16,0 1 0,-1-1 15,1 0-15,26 0 0,-13 0 0,14 1 16,-1-1-16,13 0 0,1 0 0,13 1 16,-1-1-16,14 0 0,13 0 15,14 1-15,-1-1 0,1-13 0,12 13 16,1-13-16,0 13 0,12-13 0,-38 13 16,78-13-16,-13 0 15,27 0-15,-13 0 0,13 0 0,-1 0 16,1 0-16,13-13 0</inkml:trace>
  <inkml:trace contextRef="#ctx0" brushRef="#br0" timeOffset="4049.14">900 4167 0,'0'0'15,"13"-13"1,0 0-16,13 13 0,1-13 0,13 13 16,13-14-16,13 14 0,13-13 0,0 13 15,1-13-15,-1 13 0,1-13 0,12 13 16,1-14-16,-14 14 0,14-13 15,-14 13-15,1-13 0,-1 13 16,-13 0-16,-13-13 0,0 13 0,-13 0 16,-1 0-16,-12-14 0,-14 14 15,13 0-15,-12 0 0</inkml:trace>
  <inkml:trace contextRef="#ctx0" brushRef="#br0" timeOffset="4309.08">1296 4273 0,'67'0'0,"-41"0"15,1 0-15,25-13 0,-12 13 0,13 0 16,265-40 15,-226 27-31,-65 13 0,-1 0 0,1 0 16,-1-13-16,-13 13 0,14 0 15,-14-14-15,0 14 0,0 0 16,1 0-16</inkml:trace>
  <inkml:trace contextRef="#ctx0" brushRef="#br0" timeOffset="5387.65">53 3889 0,'13'-13'47,"0"0"-47,1 13 15,-1-13-15,13 13 0,-12-14 16,12 14-16,-13 0 0,0-13 16,14 13-16,-14-13 0,14 13 0,-14-13 15,0 13-15,0 0 0,1 0 16,-14-13-16,13 13 0,0 0 0,0 0 15,0 0 1</inkml:trace>
  <inkml:trace contextRef="#ctx0" brushRef="#br0" timeOffset="5847.12">79 3519 0,'14'-27'16,"-1"-12"0,-13 26-1,13 26 1,0 13-1,1-13-15,-14 14 16,13-14-16,-13 14 0,13-1 0,-13-13 16,13 27-16,0-14 0,-13-12 0,14 12 15,-14-13-15,13 14 0,-13-14 0,13 0 16,-13 14-16,13-14 0,-13 0 16,0 0-16,14-13 0,-14 14 15,0-1-15,13-13 0,-13 13 0</inkml:trace>
  <inkml:trace contextRef="#ctx0" brushRef="#br0" timeOffset="8940.79">10795 3519 0,'0'26'0,"0"-12"16,0-1-16,-13 0 0,13 0 15,0 1 1,0-1-16,0 0 0,0 0 15,0-39 17,13-1-32,-13 1 15,0-1-15,13 1 0,0-14 0,1 1 16,-14 12-16,13-13 0,0 14 16,0 0-16,1-1 0,-1 14 15,-13 0-15,13-1 0,0 1 0,1 13 16,-1 0-16,13 0 15,-13 13-15,1 1 0,-1-1 16,0 0-16,0 14 0,-13-14 0,14 13 16,-1 1-16,0-1 0,-13 1 0,0-14 15,13 0-15,-13 13 0,0-12 16,0-1-16,0 0 0,0 0 0</inkml:trace>
  <inkml:trace contextRef="#ctx0" brushRef="#br0" timeOffset="9325.46">10821 3532 0,'0'0'0,"14"-26"16,-1 26-16,0-14 16,0 1-16,27 0 0,-13 0 0,12 0 15,1-14-15,0 14 0,-1 0 0,-12-1 16,12 1-16,-12 0 0,-1 0 15,-12 0-15,-1 13 0,0-14 0,0 14 16,-13-13-16,13 0 16,-13 26 31,0 0-47,14 1 0,-14-1 15,0 0-15,0 0 0,0 0 0,13 1 16,-13-1-16,0 13 0,0-12 0,0-1 15,0 0-15,-13 0 0,13 0 16,-14 1-16,14-1 0,0 0 0,-13 0 16,13 1-16,40-41 31,-27 14-31,14-14 16</inkml:trace>
  <inkml:trace contextRef="#ctx0" brushRef="#br0" timeOffset="9477.42">11443 3400 0,'0'-13'0,"0"26"0,-13 0 31,13 0-31,-13-13 0,13 14 16,0-1-16,0 0 0,0 0 15,13-13-15,-13 13 0,13-13 16,0 0-16,-13 14 0,14-14 16,-1 0-16,0 0 0,0 0 15,1 0-15,-1 13 0</inkml:trace>
  <inkml:trace contextRef="#ctx0" brushRef="#br0" timeOffset="9666.12">10597 3863 0,'-14'0'31,"41"-13"-31,26 13 0,0-14 16,13 1-16,13 0 0,-13 0 0,27 0 15,-14-1-15,1 1 0,-1 0 16,-13 0-16,14-1 0,-14 14 0,-13-13 16,-14 13-16,-12 0 0,-14 0 0,0 13 15</inkml:trace>
  <inkml:trace contextRef="#ctx0" brushRef="#br0" timeOffset="9916.43">10636 3995 0,'53'-13'0,"-26"13"0,12-13 16,1 13-16,13-13 0,13-1 15,13 1-15,-12 13 0,12-13 0,0 0 16,1-1-16,-1 14 0,0-13 0,1 0 16,-14 0-16,0 13 15,-13-14-15,0 14 0,-27 0 0,14 0 16,-27-13-16,14 13 0,-14 0 0,0 0 15,0 0-15,-52 0 47</inkml:trace>
  <inkml:trace contextRef="#ctx0" brushRef="#br0" timeOffset="13604.25">8070 10372 0,'-13'79'32,"-1"-52"-32,1-1 0,13 14 0,-13-14 15,13 14-15,-13-14 0,13 14 16,-14-14-16,14-12 0,-13 12 0,0 1 16,13-14-16,-13 13 0,13-13 0,-13 1 15,13-1-15,-14-13 0,14 13 16</inkml:trace>
  <inkml:trace contextRef="#ctx0" brushRef="#br0" timeOffset="13819.23">8149 10372 0,'-53'13'31,"40"0"-31,0 0 0,-14 1 0,14 12 16,-27-13-16,14 14 0,0-1 0,-1 1 15,1-14-15,-1 13 0,1 1 16,-1-14-16,14 0 0,-13 0 0,12 1 0,1-1 16</inkml:trace>
  <inkml:trace contextRef="#ctx0" brushRef="#br0" timeOffset="14013.36">7871 10398 0,'119'119'16,"-105"-92"-1,12-1-15,-13-13 0,14 14 16,12 12-16,1 1 0,-27-27 15,1 1-15,12-1 0,-13 0 16,14 0-16</inkml:trace>
  <inkml:trace contextRef="#ctx0" brushRef="#br0" timeOffset="14864.98">10795 10041 0,'0'26'16,"0"1"0,0-1-16,0 1 0,0 12 0,-13 1 15,13 0-15,-13 0 0,13-1 16,0 1-16,-14 0 0,14-1 16,-13-12-16,13-1 0,-13 1 0,13-14 15,-13 13-15,13-12 0,-14-1 16,14 0-16,-13 0 0,13 0 0</inkml:trace>
  <inkml:trace contextRef="#ctx0" brushRef="#br0" timeOffset="15081.18">10821 10120 0,'0'0'0,"-13"0"0,0 14 16,0-14-16,0 13 0,-14 13 16,14-13-16,-14 14 0,1-1 0,-1 1 15,1-1-15,0 1 0,-1-1 0,14 1 16,-14-14-16,14 13 0,0-12 0,0-1 16,13 0-16</inkml:trace>
  <inkml:trace contextRef="#ctx0" brushRef="#br0" timeOffset="15295.23">10597 10081 0,'26'13'0,"-13"-13"0,53 40 31,-52-14-31,12-13 0,1 14 0,-1-14 0,0 13 15,-12-12-15,12-1 0,-13 0 16,14 0-16,-14 1 0,0-1 0,14 0 16,-14 0-16,0-13 0,0 13 15,1-13-15,-1 14 0</inkml:trace>
  <inkml:trace contextRef="#ctx0" brushRef="#br0" timeOffset="16287.16">13216 10160 0,'0'-13'0,"0"39"16,0-13-1,0 1-15,0 12 0,-13 1 0,13-1 16,13 1-16,-13 12 0,0 1 0,0-14 15,0 14-15,0 0 0,-13-1 16,13-12-16,0-1 0,0 1 0,0-1 16,0 1-16,-14-14 0,14 0 0,0 0 15</inkml:trace>
  <inkml:trace contextRef="#ctx0" brushRef="#br0" timeOffset="16644.32">13348 10120 0,'-53'27'0,"40"-14"0,0 0 16,-14 14-16,1-14 0,-1 13 15,1 1-15,0-1 0,-1 1 0,-13 12 16,1-12-16,12-1 0,1 1 0,-1-1 15,1 1-15,-1-14 0,14 0 16,0 0-16,0 1 0</inkml:trace>
  <inkml:trace contextRef="#ctx0" brushRef="#br0" timeOffset="16861.09">13189 10147 0,'27'39'16,"39"41"-1,-53-67-15,1 14 0,-1-14 16,-13 13-16,13-13 16,0 14-16,0-14 0,1 0 0,-14 1 15,13 12-15,-13-13 0,0 1 0,13-14 16,-13 13-16</inkml:trace>
  <inkml:trace contextRef="#ctx0" brushRef="#br0" timeOffset="20717.2">10663 9274 0,'13'0'0</inkml:trace>
  <inkml:trace contextRef="#ctx0" brushRef="#br0" timeOffset="21275.19">13163 9432 0</inkml:trace>
  <inkml:trace contextRef="#ctx0" brushRef="#br0" timeOffset="25376.86">8030 6006 0,'0'0'0,"13"66"0,-13-26 15,14 26-15,-1 13 0,-13 14 16,13 26-16,-13 0 0,0 13 0,0-13 15,0 14-15,0-1 0,-13 0 0</inkml:trace>
  <inkml:trace contextRef="#ctx0" brushRef="#br0" timeOffset="26639.47">10504 5384 0,'13'318'16,"-13"-212"-1,0 13-15,0 0 0,0 0 0,0 0 16,0 0-16,0-13 0,0-14 0,0-12 15,13 12-15,-13-12 0,0-14 16,0 13-16,14-13 0</inkml:trace>
  <inkml:trace contextRef="#ctx0" brushRef="#br0" timeOffset="27940.37">13044 5159 0,'26'40'16,"-26"0"-1,14 26-15,-14 0 0,0 13 16,13 1-16,-13 12 0,0 27 0,0 1 16,0 12-16,-13-13 0,13 13 0,0 0 15,0 1-15,0-14 0,0 0 16,0-40-16,0 14 0,0-14 0</inkml:trace>
  <inkml:trace contextRef="#ctx0" brushRef="#br0" timeOffset="29595.25">8731 5384 0,'0'-13'16,"0"26"-16,0 1 31,0 12-31,0 14 0,0 13 16,0 13-16,0 0 0,0 26 0,0-12 15,0 39-15,0 13 0,0-13 16,0 14-16,0 12 0,0 1 0,0-14 16,-13 27-16,13-27 0,0 13 15,0 1-15,0-14 0,13 1 0,-13-14 16,13 0-16,-13 0 0,14-13 0,-1-27 16,-13 14-16,13-14 0,-13 0 0,13-13 15,-13 1-15,14-1 0</inkml:trace>
  <inkml:trace contextRef="#ctx0" brushRef="#br0" timeOffset="30700.46">11073 5292 0,'13'238'15,"0"93"1,-13-212-16,0 13 16,0 0-16,0 14 0,0-14 0,13 0 0,-13 14 15,0-14-15,0 0 0,0 1 16,14-14-16,-14 0 0,13 0 16,-13-40-16,13 1 0</inkml:trace>
  <inkml:trace contextRef="#ctx0" brushRef="#br0" timeOffset="31315.4">13917 4815 0,'-13'291'0,"13"-171"0,0 12 16,0 0-16,0 27 0,-13 0 0,13-1 16,-14 28-16,14 38 0,-13-52 15,13 0-15,0 0 0,13 0 0,1-26 16,-1-1-16,0 1 0</inkml:trace>
</inkml:ink>
</file>

<file path=ppt/ink/ink14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2:29.150"/>
    </inkml:context>
    <inkml:brush xml:id="br0">
      <inkml:brushProperty name="width" value="0.05292" units="cm"/>
      <inkml:brushProperty name="height" value="0.05292" units="cm"/>
      <inkml:brushProperty name="color" value="#0070C0"/>
    </inkml:brush>
  </inkml:definitions>
  <inkml:trace contextRef="#ctx0" brushRef="#br0">2910 4723 0,'27'0'47,"13"13"-31,-1 27-1,41-27-15,39 0 16,79-13-16,1 27 15,-14-27-15,132 0 16,120 0-16,251 26 16,-186 1-16,-25-14 15,-14-13-15,119 26 16,-251-26-16,-107 27 16,-118-27-16,-53 0 15</inkml:trace>
</inkml:ink>
</file>

<file path=ppt/ink/ink14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10:13.086"/>
    </inkml:context>
    <inkml:brush xml:id="br0">
      <inkml:brushProperty name="width" value="0.05292" units="cm"/>
      <inkml:brushProperty name="height" value="0.05292" units="cm"/>
      <inkml:brushProperty name="color" value="#0070C0"/>
    </inkml:brush>
  </inkml:definitions>
  <inkml:trace contextRef="#ctx0" brushRef="#br0">2686 2950 0,'-14'40'15,"1"-27"-15,13 0 0,0 0 0,0 14 16,0-14-16,0 14 0,0-14 0,-13 27 15,13-14-15,0-13 16,0 0-16,0 1 0,0 25 16,0-25-16,0-1 15,13-40 17,-13 14-32,13-13 0,-13-1 15,27-39-15,-14 26 16,0 14-16,0-1 0,1 1 0,-1 13 15,13-14-15,1 14 16,-1 13-16,1 13 16,-14-13-16,0 14 15,0 12-15,1-13 0,-14 0 0,13 14 16,0-14-16,0 27 16,-13-14-16,14 1 15,-14-14-15,0 13 0,13 1 0,-13-14 16,0 0-16,0 1 15,0-1-15,13-13 16</inkml:trace>
  <inkml:trace contextRef="#ctx0" brushRef="#br0" timeOffset="228.49">3241 3043 0,'0'-14'16,"13"14"-16,14 0 15,-27-13-15,13 13 0,0 0 16,1 0-16,12 0 15,-13 0-15</inkml:trace>
  <inkml:trace contextRef="#ctx0" brushRef="#br0" timeOffset="439.99">3201 3241 0,'27'-13'31,"-14"13"-15,0-13-16,1 13 0,-1-14 15,13 14-15,-12-13 0,-1 13 0,0-13 16,13 13-16,-12-13 0,-1 13 16,0-13-16,14 13 0</inkml:trace>
  <inkml:trace contextRef="#ctx0" brushRef="#br0" timeOffset="1698.4">3863 3268 0,'13'-14'31,"0"1"-16,-13 0-15,14 0 16,-1-1-16,-13 1 0,0-26 16,0 25-16,0 1 0,0 0 0,0 0 15,0-1-15,0-12 16,-13 13-16,13-1 0,-14 14 16,14-13-16,-13 13 31,0 0-31,13 27 0,0-14 15,0 0-15,0 0 0,0 1 16,13-1-16,-13 0 16,27 14-16,-27-14 0,26 13 15,1-13-15,-14 1 16,0-14-16,0 13 16,27-26-1,-27 13-15,-13-14 16,13 14-16,-13-13 0,14 0 15,-14 0-15,13-14 16,-13 1-16,13-14 16,-13 0 31,13 27-47,1 26 15,-1-13 1,0 14-16,-13-1 0,13 0 15,14 14-15,-14-27 16,13 39 0,-12-25-1,-1-1-15,-13 0 0,13 0 32,0-13-17,-13-13 1,0 0-1,0 0-15,0-1 0,13 1 16,-13 0-16,0 0 16,0-1-16,14 14 15,-14-13-15,13 13 0,0-26 16,0 12-16,1-12 16,-1 26-16,0-26 15,0 26-15,1-14 0,-1 1 16,-13 0-1,13 13-15,-13-13 0,0 39 63,0-13-63,0 1 16,0-1-1,13-13 1,-13 13-16,13 0 15,1 0 1,-1 1 0,-13-1-16,0 0 15,13-13-15,-13 13 16,13-13-16,1 0 31,-1-13-15,0 13-16,-13-13 15,13 13-15,1 0 0,-1-13 16,0 13-16,0 0 16,0 0-16,1 0 15,-1 0-15,0 0 0,0 0 16,1 0 0,-14 13-16,13-13 0,-13 13 15</inkml:trace>
  <inkml:trace contextRef="#ctx0" brushRef="#br0" timeOffset="2010.19">3321 3492 0,'0'0'16,"39"-13"-16,-12 0 16,12 13-16,1-13 0,13 0 15,0-1-15,79-12 0,-66 13 16,0-1-16,1 1 0,-14 0 16,-1 13-16,41-26 0,-40 26 15,-13-14-15,26 1 0,-40 13 16,14 0-16,-27 0 15,0 0-15,1-13 0</inkml:trace>
  <inkml:trace contextRef="#ctx0" brushRef="#br0" timeOffset="2264.02">3387 3585 0,'0'0'16,"39"0"-16,-25 0 0,12 0 15,0 0-15,41-13 0,356-80 47,-357 67-31,-39 26-16,-1-13 0,14-1 15,-1 1-15,1 0 16,-13 0-16,-14-1 16,0 14-16</inkml:trace>
  <inkml:trace contextRef="#ctx0" brushRef="#br0" timeOffset="3024.35">4538 2990 0,'0'-13'16,"-14"39"-1,14-13 1,-13 0-16,13 1 0,-13-1 16,13 0-16,0 0 15,0 1-15,0-1 0,-13 0 16,13 0-16,0 1 0,13-1 16,0-13 15,0-13-16,1 13-15,-14-14 0,13 1 16,13 13-16,-26-13 0,27 13 0,-14-13 16,0 13-16,0 0 15,1 0-15,-1 0 0,0 0 0,0 0 16,1 13-16,-1-13 0,0 0 16,0 0-16,0 0 15,-13 13-15,14-13 0,-1 0 16,0 0-1,0 0 1,1 0-16,-1 0 16</inkml:trace>
  <inkml:trace contextRef="#ctx0" brushRef="#br0" timeOffset="4594.2">8361 2831 0,'-13'66'16,"13"-53"-16,0 14 16,-14-14-16,14 14 0,0-14 0,0 13 15,-13-13-15,13 14 0,0-14 16,0 0-16,-13 14 0,13-14 0</inkml:trace>
  <inkml:trace contextRef="#ctx0" brushRef="#br0" timeOffset="4807.22">8520 3096 0,'0'13'0,"0"0"15,0 0-15,0 1 16,-14-1-16,14 0 0,0 13 16,-13-12-16,0-1 0,13 0 15,-13 0-15,-1 1 0,14-1 0,-13 0 16,13 0-16,-13-13 0</inkml:trace>
  <inkml:trace contextRef="#ctx0" brushRef="#br0" timeOffset="5031.24">8797 2910 0,'14'27'31,"-28"-14"-31,14 0 0,0 1 0,0-1 15,-13 13-15,13-13 0,-13 14 0,13-14 16,-13 0-16,13 14 0,0-14 16,-14 0-16,14 1 0,0-1 0,0 0 15,0 0-15,-13-13 0</inkml:trace>
  <inkml:trace contextRef="#ctx0" brushRef="#br0" timeOffset="5250.41">8969 3175 0,'0'13'16,"0"0"-16,0 14 15,-13-14-15,13 0 0,-13 1 16,0-1-16,13 13 0,-14-12 0,1-1 15,13 0-15,-13 0 0,13 0 0,0 1 16</inkml:trace>
  <inkml:trace contextRef="#ctx0" brushRef="#br0" timeOffset="6101.27">9366 2937 0,'0'26'15,"0"-12"-15,0-1 0,0 0 0,0 0 16,0 0-16,-13 14 0,13-14 16,-13 14-16,13-14 0,0 13 15,-13-12-15,13-1 0,-14 13 0,14-13 16,0 1-16,0-1 0,0 0 15</inkml:trace>
  <inkml:trace contextRef="#ctx0" brushRef="#br0" timeOffset="6343.11">9644 3188 0,'0'13'0,"0"40"15,0-39 1,-13 12-16,13-13 0,-13 1 16,13 12-16,-14-13 0,1 0 0,13 1 15,-13-1-15,13 0 0,0 0 16,-13-13-16</inkml:trace>
  <inkml:trace contextRef="#ctx0" brushRef="#br0" timeOffset="6577.96">10028 2963 0,'13'14'0,"-13"-1"16,0 0-16,0 0 0,0 0 16,0 1-16,0-1 0,-13 13 15,13 1-15,0-14 0,-14 14 0,14-1 0,-13 0 16,0-12-16,13 12 0,-13-13 16,0 14-16,13-14 0,-14 14 15,1-14-15,13 0 0</inkml:trace>
  <inkml:trace contextRef="#ctx0" brushRef="#br0" timeOffset="6995.2">10451 3281 0,'13'13'0,"-13"53"16,-13-53-1,13 1-15,-13-1 0,13 13 0,-13-12 16,13-1-16,-14 0 0,1 0 15,13 0-15,0 1 0,-13-1 0</inkml:trace>
  <inkml:trace contextRef="#ctx0" brushRef="#br0" timeOffset="7463.9">10848 3043 0,'13'0'16,"27"39"-1,-40-25-15,0-1 16,0 0-16,0 0 0,-13 1 0,-1 12 16,1-13-16,0 14 0,0-14 0,-1 0 15,14 0-15,-13 1 16,0-1-16,13 0 0,-13-13 0,13 13 15,-13 1-15,13-1 0,13 0 32,0-13-32,0 0 15,0 0-15,1 0 0,12 0 16,-13 0-16,1 0 0,-1-13 16,0 13-16,0 0 0,1 0 15,-1 0-15,0 0 0,0 0 16</inkml:trace>
  <inkml:trace contextRef="#ctx0" brushRef="#br0" timeOffset="7657.89">11152 3254 0,'40'27'31,"-40"-14"-15,0 0-16,0 1 0,-13-14 0,13 26 15,0-13-15,-14 0 0,14 1 0,-13-1 16,13 13-16,-13-12 0,0-1 16,-1 0-16,14 0 0</inkml:trace>
  <inkml:trace contextRef="#ctx0" brushRef="#br0" timeOffset="8150.33">11655 3056 0,'26'0'0,"-52"0"0,66 0 15,-27 0-15,0 0 0,-13 13 16,13-13-16,1 13 0,-1 1 15,-13-1-15,0 0 0,-13 0 16,13 14-16,-14-14 0,1 0 16,-13 0-16,12 1 0,14-1 15,-13-13-15,0 13 0,0 0 0,-1 1 16,1-1 0,26 0 15,1-13-31,-1 0 15,0 0-15,0 0 0,1 0 0,-1 0 16,0 0-16,0 0 0,1 0 16,12 0-16,-13 0 0,0 0 15,1 0-15</inkml:trace>
  <inkml:trace contextRef="#ctx0" brushRef="#br0" timeOffset="8426.85">12078 3228 0,'0'0'0,"13"13"0,-13 0 16,0 1-16,14-1 15,-14 0-15,0 14 0,0-14 16,-14 0-16,14 13 0,-13-12 0,0 12 16,13-13-16,-13 14 0,-14-14 15,14 0-15,-13 14 0,12-14 0,1 0 16,0 0-16,13 1 0,-13-14 0</inkml:trace>
  <inkml:trace contextRef="#ctx0" brushRef="#br0" timeOffset="8946.28">12369 3029 0,'27'0'0,"-14"0"16,27 14-1,-27-1-15,-13 0 16,13 0-16,-26 1 0,13 12 16,-13-13-16,-1 1 0,1 12 15,13-13-15,-13 0 0,0 1 0,-1-1 16,1 0-16,13 0 15,-13-13-15,13 14 0,13-1 32,0-13-17,1 0-15,-1 0 0,0 0 0,0 0 16,1 0-16,12-13 0,-13 13 16,14 0-16,-14 0 0,13-14 0,-12 14 15,-1-13-15</inkml:trace>
  <inkml:trace contextRef="#ctx0" brushRef="#br0" timeOffset="9102.04">12846 3175 0,'13'0'0,"13"66"31,-26-53-15,-13 1-16,13 12 0,-13-13 0,-14 14 15,14-1-15,-13 1 0,-1-1 16,-13 1-16,27-1 0,-13-13 0,-1 14 15,14-14-15</inkml:trace>
  <inkml:trace contextRef="#ctx0" brushRef="#br0" timeOffset="9735.12">13666 2937 0,'53'13'0,"-40"-13"0,0 13 16,0 40 0,-13-40-16,-13-13 15,13 14-15,0-1 0,-13 0 16,13 0-16,13-13 31,0 0-31,1 14 0,-1-14 16,0 0-16,13 13 0,-12-13 0,-1 0 15,0 13-15,0 0 0,1-13 0,-1 14 16,0-14-16,0 13 0,-13 0 16,0 0-16,0 0 15,-13 1-15,0-1 0,0-13 0,-1 13 16,1 0-16,0-13 0,0 0 16,-1 14-16,1-14 0,0 0 0,0 0 15,0 0-15,-1 0 31</inkml:trace>
  <inkml:trace contextRef="#ctx0" brushRef="#br0" timeOffset="9999.98">14354 3188 0,'0'13'15,"13"1"-15,-13-1 16,-13 0-16,13 0 16,-14 14-16,14-14 0,-13 14 15,-13 12-15,13-26 0,-1 1 16,14-1-16,-13 13 0,0-12 15,0-1-15</inkml:trace>
  <inkml:trace contextRef="#ctx0" brushRef="#br0" timeOffset="10523.82">14777 2963 0,'13'0'16,"0"0"-16,1 27 31,-28-14-31,1 0 0,0 0 15,0 1-15,0-1 16,13 0-16,-14-13 16,14 13-16,0 1 15,14-1-15,-14 0 0,13 0 16,-13 1-16,0-1 0,13 0 0,-13 0 16,0 0-16,13 1 15,-13-1-15,0 0 0,-13-13 0,13 13 16,0 1-16,-13-14 0,0 13 0,13 0 15,-14-13-15,1 13 0,0-13 16,0 0-16,-1 14 16,1-14-16</inkml:trace>
  <inkml:trace contextRef="#ctx0" brushRef="#br0" timeOffset="10698.63">14896 3254 0,'26'14'0,"-12"-14"16,-14 13-16,13-13 0,-13 13 16,13-13-16,-13 13 0,0 1 0,-66 78 31,40-79-31,12 14 0,-12-14 16,13 0-16,-1 0 0,1 1 15,0-14-15</inkml:trace>
  <inkml:trace contextRef="#ctx0" brushRef="#br0" timeOffset="11813.78">15465 3003 0,'40'13'31,"-54"0"-15,14 1 0,0-1-16,0 0 15,0 0 1,14-13-16,-1 14 16,0-1-16,0 0 15,1 0-15,-1 1 16,-13-1-16,0 13 15,-13-13 1,-1 1-16,1-14 16,0 13-16,0-13 0,-1 13 15,1-13-15,-13 0 16</inkml:trace>
  <inkml:trace contextRef="#ctx0" brushRef="#br0" timeOffset="12213.2">16259 3016 0,'13'13'16,"-26"1"0,-1-1-16,1 0 15,0-13-15,0 13 0,-1 1 0,1-1 16,0 0-16,0 0 0,0 1 16,-1-1-16,14 0 15,-13-13-15,13 13 16,-13-13-16,13 13 0,13 1 15,0-1-15,1-13 16,-1 0-16,0 13 16,0-13-16,0 0 0,14 0 0,-14 0 15,0 0-15,1 0 0,12 0 0,-13 0 16,1 0-16,-1 0 0,0 0 16,0 0-16,0-13 0,1 13 15,-14-13-15,13 13 0,0 0 16,-13-14-16</inkml:trace>
  <inkml:trace contextRef="#ctx0" brushRef="#br0" timeOffset="12413.99">16298 3096 0,'-13'26'0,"26"-52"0,-26 65 15,13-25-15,-13-1 0,13 0 16,0 13-16,-13-12 0,13-1 0,0 13 15,-14-12-15,14 12 0,0-13 0,-13 14 16,13-14-16,0 0 0,0 14 16,-13-14-16,13 0 0,0 0 0,0 1 15,-13-1-15,13 0 0,0 0 16</inkml:trace>
  <inkml:trace contextRef="#ctx0" brushRef="#br0" timeOffset="14553.87">8427 2924 0</inkml:trace>
  <inkml:trace contextRef="#ctx0" brushRef="#br0" timeOffset="17137.04">13904 3096 0</inkml:trace>
  <inkml:trace contextRef="#ctx0" brushRef="#br0" timeOffset="19409.06">16867 3149 0,'0'13'15,"0"0"-15,13-13 16,-26 13-16,13 0 0,0 1 0,-13-1 15,13 13-15,-26 1 0,12-1 0,1 14 16,-13-14-16,12 1 0,1-14 0,-13 0 16,26 14-16,-14-14 0,1 0 15,0 0-15</inkml:trace>
  <inkml:trace contextRef="#ctx0" brushRef="#br0" timeOffset="20190.11">17462 3029 0,'-13'27'16,"0"-14"-16,0-13 15,0 13-15,-1 1 0,1-1 16,0-13-16,0 13 0,-1 0 0,1 1 16,0-14-16,13 13 0,-13-13 15,13 13-15,-13 0 16,13 0-16,13-13 15,0 0-15,0 14 0,14-14 16,-14 0-16,0 0 16,14 13-16,-14-13 0,13 0 0,1 0 15,-1 0-15,-13 0 0,14 0 0,-1-13 16,-12 13-16,12 0 0,-13 0 16,0 0-16,1-14 0,-1 14 0</inkml:trace>
  <inkml:trace contextRef="#ctx0" brushRef="#br0" timeOffset="20390.97">17515 3003 0,'-13'26'0,"26"-52"0,-26 66 16,13-27-16,-13 0 0,13 14 15,0-14-15,-13 13 0,13-12 0,-14 12 16,14 0-16,0 1 0,-13-1 0,13-12 15,-13 12-15,13 1 0,0-14 16,0 0-16,13 0 0,-13 14 0,13-27 16,1 13-16,-1-13 0</inkml:trace>
  <inkml:trace contextRef="#ctx0" brushRef="#br0" timeOffset="21581.28">20148 2910 0,'0'-13'0,"0"40"31,0-14-31,0 0 16,0 0-16,0 1 0,0-1 0,0 0 15,0 13-15,0-12 0,-13-1 0,13 0 16,0 14-16,0-14 0,0 0 0,0 0 16,-13-13-16,13 14 0,0-1 0,13 0 15</inkml:trace>
  <inkml:trace contextRef="#ctx0" brushRef="#br0" timeOffset="21959.25">20466 2884 0,'79'0'32,"-66"0"-32,-13 13 0,13-13 0,-13 13 15,14 1-15,-14-1 0,-14 0 16,14 0-16,-13 1 0,0-1 16,0 13-16,-1-13 0,14 1 0,-13-1 15,0 0-15,0 0 0,0 1 16,13-1-1,0 0 1,13-13-16,0 13 0,0-13 16,0 0-16,1 0 0,12 0 0,-13 0 15,1 0-15,12 0 16,-13 0-16,1 0 0,-1 0 0,0 0 16,0 0-16,0 0 0,1 0 15</inkml:trace>
  <inkml:trace contextRef="#ctx0" brushRef="#br0" timeOffset="22474.18">20069 3321 0,'39'13'0,"-25"-13"0,12 0 16,0 0-16,14 0 0,225-13 31,-212 13-31,0 0 0,0 0 0,13-14 16,-13 14-16,-1-13 0,15 0 0,-14 0 15,-14-1-15,14 1 16,-13 0-16,0 0 0,-14-1 0,14-12 0,-14 13 15,1-14-15,-1 1 0,-13 13 16,0-1-16,-13-12 0,14 13 16,-14-14-16,0 1 0,0-1 0,-14-12 15,1-1-15,0 14 0,0-14 0,-14 0 16,14 14-16,-27-14 0,14 14 16,-14-1-16,1 1 0,-1 12 0,0-12 15,-13 13-15,0 13 0,0-14 0,1 14 16,-28 0-16,14 14 0,-13-1 15,13 13-15,-1 1 0,14-1 0,-13 14 16,13-14-16,0 14 0,1 0 0,-1 13 16,0-14-16,13 1 0,0 0 15,14-1-15,-1 1 0,1-13 0,13-1 16,13 1-16,-13-1 0,26 0 16,-13-12-16,0-1 0,13 13 0,13-12 15,-12-1-15,25 0 0,-12 0 16,-1 1-16,14-14 0,-14 0 0,27 0 15</inkml:trace>
  <inkml:trace contextRef="#ctx0" brushRef="#br0" timeOffset="23079.98">22185 2831 0,'0'0'16,"0"13"-16,0 1 15,-13-1-15,13 0 16,-13 0-16,13 0 0,-13 1 15,13-1-15,0 0 0,0 0 16,-14 1-16,14-1 0,-13 0 16,40-26 15,-27 0-15,13-1-16,0 14 0,0-13 0,1-13 15,-1 26-15,0-14 0,0 1 0,0 0 16,1 13-16,-1-13 0,0 13 15,14 0-15,-14 13 16,-13 0-16,13-13 16,-13 13-16,0 1 15,13-1-15,-13 0 0,0 0 16,-13 1-16,13-1 0,0 0 16,-13 0-16,0 0 15,-1 1-15</inkml:trace>
  <inkml:trace contextRef="#ctx0" brushRef="#br0" timeOffset="23339.77">21669 2924 0,'27'0'15,"-14"0"-15,0 0 0,1 0 16,12 0-16,-13 0 0,14-14 0,-1 14 16,-13 0-16,14 0 0,-14 14 15,0-14-15,1 0 0,-1 0 0,0 0 16</inkml:trace>
  <inkml:trace contextRef="#ctx0" brushRef="#br0" timeOffset="23486.03">21696 3056 0,'-13'0'0,"39"0"31,-13 0-31,14 0 0,-14 0 0,13 0 15,1-13-15,-14 13 0</inkml:trace>
  <inkml:trace contextRef="#ctx0" brushRef="#br0" timeOffset="27542.15">2844 4855 0,'-13'27'16,"13"-14"-16,-13 0 16,13 0-16,-13 0 0,13 14 15,0-1-15,-14 1 0,14-14 0,0 14 16,-13-1-16,13-13 0,0 14 0,0-14 16,0 0-16,0 0 0,13 1 0,-13-1 15,14 13 1,-1-26-16,0 14 0,0-14 15,14-14-15,-14 14 0,13-13 0,-12 0 16,12 0-16,-13-1 16,1 1-16,-1 0 0,0-14 0,0 14 15,0-13-15,-13 13 0,14-14 0,-14 14 16,0-14-16,0 1 0,-14-1 16,14 14-16,-26-26 0,13 25 0,0-12 15,-1 13-15,1-1 0,0 1 0,0 0 16,-1 0-16,1 13 0,0-14 15,0 14-15,0 0 0,-14 14 16,14-1-16,13 0 16,0 0-16,0 1 15,0-1-15,0 13 0,13 1 0,-13-1 0,13 1 16,1 12-16,-1-12 0,0 13 16,0-14-16,0 0 0,1 14 15,12-13-15,-13-1 0,1 1 0,-14-14 16,13 13-16,0-13 0,-13 14 0,13-14 15,-13 0-15,0 1 0,13-14 0,-13 13 16,0 0-16,14 0 16,-14 1-16</inkml:trace>
  <inkml:trace contextRef="#ctx0" brushRef="#br0" timeOffset="27767.08">3307 5133 0,'14'40'31,"-14"-27"-31,0 13 0,0-12 16,0 12-16,0-13 0,0 14 0,-14-14 15,14 0-15,0 0 0,0 1 16,0-1-16,0 0 0,0 0 16,14-13-16</inkml:trace>
  <inkml:trace contextRef="#ctx0" brushRef="#br0" timeOffset="28110.28">3929 4961 0,'-13'0'0,"26"0"16,14-13 15,-14 13-31,0 0 16,0 0-16,0 0 0,1 0 0,12 0 15,-13 0-15,1 0 0,-1 0 16,0 0-16,0 0 0,1 13 15</inkml:trace>
  <inkml:trace contextRef="#ctx0" brushRef="#br0" timeOffset="28294.5">3863 5133 0,'0'0'0,"26"0"31,-12 0-31,-1 0 16,13 0-16,-12 0 0,-1-13 0,13 13 16,-13 0-16,1 0 0,12 0 15,-13-14-15,1 14 0,12 0 0,-13 0 16,1-13-16,-1 13 0</inkml:trace>
  <inkml:trace contextRef="#ctx0" brushRef="#br0" timeOffset="28978.04">4908 4802 0,'-13'27'0,"13"-14"16,0 0-16,0 0 0,-13 1 15,13-1-15,0 0 0,0 13 0,0-12 16,0-1-16,-14 0 0,14 0 0,0 1 15,0-1-15,0 0 16,0 0-16,0-39 47,14 13-47,-14-1 16,0 1-16,13 0 0,-13 0 0,13-1 15,0 1-15,-13 0 0,13 0 16,1 0-16,-1-1 0,0 14 0,-13-13 15,13 13-15,1 0 0,-1 0 0,0 13 16,0 1-16,1-14 16,-14 13-16,13-13 0,-13 13 0,13 0 15,-13 0-15,0 1 16,13-14-16,-13 13 0,0 0 16,0 0-16,0 1 15,13-14 16</inkml:trace>
  <inkml:trace contextRef="#ctx0" brushRef="#br0" timeOffset="29224.96">5278 4617 0,'14'26'31,"-14"-12"-31,0-1 16,0 0-16,0 14 16,-14-14-16,14 0 0,0 13 0,-13-12 15,13-1-15,0 0 0,-13 0 0,13 1 16,0-1-16,0 0 0</inkml:trace>
  <inkml:trace contextRef="#ctx0" brushRef="#br0" timeOffset="29579.02">5411 4617 0,'13'26'32,"-13"1"-17,0-14 1,0 0-16,-13 1 16,13-1-16,0 0 0,0 0 15,0 0 1,0 1-1,0-1 1,13-13 0,-13 13-16,13-13 0,0 13 15,1-13-15,-1 0 16,0 0-16,-13 14 16,13-28-1</inkml:trace>
  <inkml:trace contextRef="#ctx0" brushRef="#br0" timeOffset="29775.49">5212 4710 0,'53'0'31,"-40"0"-31,14 0 0,-14 0 15,14 0-15,-14 0 0,0 0 16,14 0-16,-14 0 0,0 0 0,0 0 16,0 0-16,14 13 0,-14-13 15</inkml:trace>
  <inkml:trace contextRef="#ctx0" brushRef="#br0" timeOffset="30142.17">4723 5318 0,'92'-40'16,"-39"40"-16,-13-13 0,13 0 16,66 0-16,-66 0 0,0-1 15,0 14-15,0-13 0,0 13 16,-14-13-16,1 13 0,13 0 0,-27-13 16,14 13-16,-14 0 0,1-14 15,-1 14-15,1 0 0,-14 0 16,0 0-16,1 0 0,-1 0 0,0 0 15,0 0-15,-13 14 16,-13-1 0,0 0-16,0-13 0</inkml:trace>
  <inkml:trace contextRef="#ctx0" brushRef="#br0" timeOffset="30478.86">5292 5450 0,'-27'27'16,"14"-27"-16,-13 13 0,12 0 0,1-13 16,0 14-16,-27 12 0,27-13 15,-27 27 1,27-40-16,13 13 0,-13 0 0,13 1 15,0-1-15,13 0 16,0 0 0,0-13-16,14 0 0,-14 0 15,14 0-15,-1 0 0,1 0 0,-1 0 16,14 0-16,-14-13 0,1 13 0,-1 0 16,1-13-16,-1 13 0,0-13 15,-12 13-15,-1 0 0,13-14 0,-12 1 16,-1 0-16,-13 0 15</inkml:trace>
  <inkml:trace contextRef="#ctx0" brushRef="#br0" timeOffset="30667.58">5305 5464 0,'-13'39'0,"13"-25"16,-14 52-1,28-40-15,-14 1 0,0-1 16,0 1-16,0-14 0,0 13 16,0 1-16,0-14 0,0 13 0,0-12 15,0-1-15,-14 13 0,14-12 16</inkml:trace>
  <inkml:trace contextRef="#ctx0" brushRef="#br0" timeOffset="31690.74">6099 4974 0,'-27'13'16,"27"1"-16,0-1 16,-13 0-16,13 0 0,0 1 0,0-1 15,0 0-15,13-13 0,-13 13 16,0 0-16,13-13 0,-13 14 0,14-14 15,-1 0-15,-13 13 16,13-13-16,0 0 0,1-13 0,-1 13 16,0-14-16,0 14 0,-13-13 15,13 0-15,-13 0 0,0 0 0,0-1 16,0 1-16,0 0 0,0 0 0,-13-1 16,13 1-16,-13 0 0,0 0 15,0 13-15,-1-14 16,1 14-16,0 14 0,0-14 0,-1 0 15,14 13-15,-13-13 0,0 13 16,0 0-16,13 14 16,13-27-16,0 13 15,0-13-15,1 0 16,-1 0-16,0 0 0,14 0 16,-14 0-16,0-13 0,0 13 0,0-13 15,1-1-15,-1 14 0,0-13 0,0 0 16,-13 0-16,14-14 0,-1 14 15,0-13-15,-13-1 0,13 14 16,-13 0-16,0-1 0,14-12 0,-14 13 0,0-1 16,0 1-16,13 13 15,-40 27 17,27-14-32,-13 0 0,13 0 0,-13 1 15,13-1-15,-13 0 0,13 0 16,0 1-16,-14-1 0,14 0 15,14-13 1,-1 0 0,0 0-16,0 13 0,1-13 15,12 0-15,-13 0 0,0 0 16,1 13 0,-1-13-16,0 14 0,0-14 15,-13 13-15,0 0 0,0 0 16,-13 1-1,0-1-15,0 0 0,-1-13 16,14 13-16,-13-13 0,0 14 0,0-14 16,0 0-16,-1 0 0,14 13 15,-13-13-15,0 0 0,0 0 16,13 13-16</inkml:trace>
  <inkml:trace contextRef="#ctx0" brushRef="#br0" timeOffset="31965.62">6522 4908 0,'-26'13'31,"26"0"-31,13 1 15,-13-1-15,0 0 0,13-13 0,-13 13 16,13 1-16,-13-1 0,0 0 16,0 0-1,0 1-15,0-1 0,-13 0 16,0 0-16,0-13 0,-14 13 16,14 1-16,0-14 15,-14 13-15,1-13 0,12 13 0,-12-13 16,0 0-16,-1 0 0</inkml:trace>
  <inkml:trace contextRef="#ctx0" brushRef="#br0" timeOffset="33957.97">2765 7501 0,'-40'26'16,"27"-12"-1,13-1-15,-13 0 0,13 0 0,-13 14 16,13-1-16,-14 1 0,14-1 0,0-13 15,0 14-15,0-1 0,0-12 16,0 12-16,0-13 0,14 0 0,-14 1 16,13-1-16,-13 0 0,13 0 0,0-13 15,0 14-15,1-14 0,-1 0 16,13-14-16,-12 14 16,-1-13-16,0 0 0,0-14 0,1 14 0,-1-13 15,0-1-15,-13 1 0,13-1 0,-13 1 16,0-14-16,-13 1 0,13-14 15,-13 13-15,13 13 0,-13-12 0,-1 12 16,1 1-16,0-1 0,0 14 16,-1 0-16,1 0 0,13-1 15,-13 14-15,13-13 0,-13 13 0,-1 13 16,14 1 0,0-1-16,0 0 0,0 0 15,0 14-15,0-1 0,14-12 0,-14 12 16,13 14-16,0-14 0,0 14 0,1-14 15,-1 14-15,0-14 0,0 14 16,1-13-16,-1 12 0,0-12 16,0 12-16,0-25 0,1 12 0,-14 1 15,13-14-15,-13 0 0,13 0 16,-13 1-16,0-1 0,13 0 0,-13 0 16,0 0-16,14 1 0,-14-1 15,13 0-15</inkml:trace>
  <inkml:trace contextRef="#ctx0" brushRef="#br0" timeOffset="34315.04">3228 7832 0,'13'0'16,"-26"0"-16,26 13 0,0-13 0,-13 13 16,0 0-16,0 1 15,-13-1-15,13 0 16,0 0 0,13 1-16,-13-1 15,14 0-15,-14 0 16,0 0-16,13-13 15,-13 14-15,0 12 16,-13-13 0,13 1-16,-14-1 0,1 0 15,0 0-15,0 0 0,-1-13 16,1 14 0</inkml:trace>
  <inkml:trace contextRef="#ctx0" brushRef="#br0" timeOffset="34497.16">3598 7686 0,'27'0'0,"-14"-13"16,40 26-1</inkml:trace>
  <inkml:trace contextRef="#ctx0" brushRef="#br0" timeOffset="34678.31">3572 7871 0,'40'0'16,"-27"0"0,0 0-16,0-13 15,0 13-15,1 0 0,-1 0 0,0 0 16,0-13-16,1 13 0,12 0 0,-13 0 16</inkml:trace>
  <inkml:trace contextRef="#ctx0" brushRef="#br0" timeOffset="35378.97">4868 7474 0,'0'0'0,"14"0"16,-1 14-16,-13-1 15,13-13-15,-13 13 0,0 0 0,-13 1 16,13-1-16,0 0 16,-13 0-16,-1 1 0,14-1 15,0 0-15,14 0 31,-1-13-31,0 0 16,0 0-16,0 0 0,1 13 16,-1-13-16,0 0 0,0 14 0,1-14 15,-1 13-15,0-13 0,-13 13 16,0 0-16,0 1 16,-13-1-16,13 0 0,-13-13 0,-1 13 15,1-13-15,0 14 0,0-1 16,-1-13-16,1 0 0,0 0 0,0 13 15,-14-13-15</inkml:trace>
  <inkml:trace contextRef="#ctx0" brushRef="#br0" timeOffset="35754.07">5186 7488 0,'0'0'16,"13"13"-16,-13 0 15,0 0-15,13 1 0,-13-1 16,0 0-16,0 0 16,0 1 15,27-28-16,-27 1-15,13 13 0,-13-13 0,13 0 16,0 13-16,1-14 0,-1 14 16,0-13-16,0 13 0,1 0 15,-1 0-15,0 0 16,0 13-16,1 1 16,-1-1-16,-13 0 15,0 0-15,13 1 0,-13-1 16,0 0-16,0 0 15,0 0-15,0 1 0,-13-14 16,13 13-16,0 0 0</inkml:trace>
  <inkml:trace contextRef="#ctx0" brushRef="#br0" timeOffset="36039.1">4670 7938 0,'0'0'0,"40"-14"0,-14 14 16,-13-13-16,27 13 0,0 0 16,13 0-16,13 0 0,-13 0 15,26-13-15,-26 13 0,13 0 0,-13 0 16,0 0-16,0 0 0,0 0 0,-14 0 15,-12 0-15,-1 0 0,1 0 16,-14 0-16,0 0 0,0 0 0,1 13 16,-1-13-16,-13 13 15,-13 1-15</inkml:trace>
  <inkml:trace contextRef="#ctx0" brushRef="#br0" timeOffset="36459.86">5054 8308 0,'-27'13'31,"1"0"-31,12-13 0,1 14 0,-13-1 16,-1 13-16,1-12 0,-1-1 0,14 0 16,0 0-16,0 0 0,-1-13 15,1 14-15,0-14 0,0 13 0,13 0 16,0 0-16,0 1 15,13-14-15,0 13 16,0-13-16,14 0 0,-14 13 0,27-13 16,-14 0-16,1 13 0,12-13 15,-12 0-15,13 0 0,-27 0 16,13 0-16,1 0 0,-1-13 0,-13 13 16,1 0-16,12-13 0,-13 13 15,1-13-15,-1-1 16</inkml:trace>
  <inkml:trace contextRef="#ctx0" brushRef="#br0" timeOffset="36636.81">5173 8334 0,'-14'0'15,"-25"40"17,39-27-32,-14 14 0,14-14 0,-13 13 15,13-12-15,-13 12 0,13 1 0,-13-14 16,0 13-16,13 1 0,0-14 15,-14 0-15,14 14 0,0-14 16,0 0-16,14-13 0,-14 13 0,13-13 16,0-13-16</inkml:trace>
  <inkml:trace contextRef="#ctx0" brushRef="#br0" timeOffset="36960.96">5609 7448 0,'0'-13'0,"0"39"31,0-13-15,0 1-16,0-1 0,0 0 0,-13 0 15,13 1-15,0-1 0,0 0 16</inkml:trace>
  <inkml:trace contextRef="#ctx0" brushRef="#br0" timeOffset="37157.99">5702 7422 0,'0'26'46,"0"-13"-46,0 0 16,0 1-16,0-1 0,-13 0 0,13 0 16,0 1-16,0-1 0,-14 0 0,14 0 15,-13 1-15</inkml:trace>
  <inkml:trace contextRef="#ctx0" brushRef="#br0" timeOffset="37284.92">5583 7607 0,'0'0'0,"-14"-13"0,28-1 31,-14 1-31,13 13 16,0 0-16,0-13 0,14 13 15,-14 0-15,0 0 0,1 0 0</inkml:trace>
  <inkml:trace contextRef="#ctx0" brushRef="#br0" timeOffset="37690.67">5927 7766 0,'-14'13'0,"28"-26"0,-41 26 0,27 0 16,0 0-16,0 0 16,0 1-16,0-1 0,13 0 0,-13 0 15,14-13-15,-1 14 0,0-1 0,0-13 16,14 13-16,-14-13 0,0 0 16,14 0-16,-14 0 0,13 0 15,-12-13-15,12 13 0,-13-13 0,1 13 16,-1-14-16,-13 1 0,13 0 15,-13 0-15,0-1 0,-13 1 16,13 0-16,-13 0 0,-1 13 0,1-13 16,0-1-16,-14 14 15,14-13-15,0 13 0,0 0 0,-1 0 16,1 0-16,0 0 0,0 0 16</inkml:trace>
  <inkml:trace contextRef="#ctx0" brushRef="#br0" timeOffset="38102.82">6297 7527 0,'13'14'16,"-13"-1"-16,14 0 0,-14 80 31,0-67-31,0 1 0,13-14 15,-13 13-15,0 1 0,0-14 0,0 0 16,0 0-16,0 1 0,0-1 0,0 0 16,0 0-1,13-13-15,0-13 16,0 13-16,1-13 16,-1 0-16,0-1 15,0 14-15,1-13 0,-1 13 0,0 0 16,0 0-16,14 0 15,-14 13-15,-13 1 16,13-14-16,-13 13 0,0 0 16,-13 0-16,13 1 15,0-1-15,-13-13 0,13 13 0,-13 0 16,-1-13-16,1 14 0,0-14 16,0 13-16,-1-13 0,1 0 0,0 0 15,0 0-15,-1 0 0,1 0 16,0 0-16,0-13 0,0 13 15,-1-14-15</inkml:trace>
  <inkml:trace contextRef="#ctx0" brushRef="#br0" timeOffset="38961.07">7051 5278 0,'27'0'31,"-14"0"-31,0 0 16,0 0-16,1 0 0,12 0 0,0-13 16,1 13-16,-14 0 0,0 13 15,14-13-15,-14 0 0,0 0 0,0 0 16</inkml:trace>
  <inkml:trace contextRef="#ctx0" brushRef="#br0" timeOffset="39149.87">6998 5437 0,'27'0'31,"-14"0"-31,0 0 15,0 0-15,1 0 0,-1 0 0,0 0 16,0 13-16,1-26 0,-1 26 16,0-13-16,0 0 0,14 0 0</inkml:trace>
  <inkml:trace contextRef="#ctx0" brushRef="#br0" timeOffset="40564.75">8652 5093 0,'0'40'31,"-13"-27"-31,13 14 16,0-14-16,0 0 0,-14 14 0,14-14 0,0 13 15,-13-13-15,13 1 0,0 12 16,0-13-16,-13 1 0,13-1 0,0 0 16,0 0-16,0 1 0</inkml:trace>
  <inkml:trace contextRef="#ctx0" brushRef="#br0" timeOffset="40909.04">8956 5106 0,'13'14'0,"-26"-28"0,40 28 0,-14-14 16,-13 13-16,13 0 0,0 0 15,-13 1-15,0-1 0,0 0 16,0 0-16,-13 14 0,13-14 0,-13 13 16,0-12-16,-1 12 0,1-13 15,0 1-15,0-1 0,13 0 16,-14-13-16,14 13 0,-13 1 0,13-1 16,0 0-1,13-13 1,1 0-16,-1 0 0,0 0 15,0 0-15,1 0 0,12 0 0,-13-13 16,14 13-16,-1 0 0,-13 0 16,1 0-16,-1 13 0,0-13 0,0 0 15,1 0-15</inkml:trace>
  <inkml:trace contextRef="#ctx0" brushRef="#br0" timeOffset="41171.22">8321 5622 0,'40'-13'32,"-14"13"-32,1 0 0,26 0 15,0-13-15,-1 13 0,-12 0 16,13-13-16,0 13 0,0 0 0,0 0 15,-13-14-15,12 14 0,-25 0 0,13 0 16,-14 0-16,14 0 0,-14 0 16,-13 0-16,14 0 0,-1 0 0,-12 0 15,-1 14-15,0-14 0,-13 13 16</inkml:trace>
  <inkml:trace contextRef="#ctx0" brushRef="#br0" timeOffset="41537.37">8850 5913 0,'-39'14'15,"-41"25"1,54-39-16,-14 14 0,14-1 16,12 0-16,-12 0 0,13-13 0,-1 13 15,1-13-15,0 14 0,0-14 0,13 13 16,-13-13-16,13 13 16,0 0-16,0 1 15,13-14-15,0 13 0,13-13 0,1 13 16,-1-13-16,1 0 0,-1 13 0,1-13 15,12 0-15,-12 0 0,-1 0 16,1-13-16,-1 13 0,1 0 0,-1 0 16,-13 0-16,14-13 0,-14 13 0,0-13 15,1 13-15,-1-14 0</inkml:trace>
  <inkml:trace contextRef="#ctx0" brushRef="#br0" timeOffset="41733.11">8916 5940 0,'-13'0'15,"26"0"-15,-39 13 0,13 0 0,0-13 16,13 14-16,-14-1 0,1 0 16,0 13-16,13-12 0,-13 12 0,-1 1 15,1 12-15,13-12 0,-13 12 0,0 1 16,-1-13-16,14-1 0,0 1 16,-13-1-16,13-13 0,0 14 0,0-14 15,0 0-15,0 0 0,13 1 0,1-14 16,-1 0-16,0 0 0,0-14 15,14 1-15</inkml:trace>
  <inkml:trace contextRef="#ctx0" brushRef="#br0" timeOffset="41999.04">9776 5477 0,'40'0'31,"-27"0"-31,0 0 0,14 0 0,-14 0 16,0 0-16,14 0 0,-14 0 15,0 0-15,1 0 0,-1 13 0,0-13 16</inkml:trace>
  <inkml:trace contextRef="#ctx0" brushRef="#br0" timeOffset="42163.23">9684 5649 0,'13'0'31,"0"0"-31,0 0 0,1 0 0,12 0 0,1 0 16,-14 0-16,13 0 0,1-13 0,-1 13 15,-13 0-15,14 0 0,-14-14 16</inkml:trace>
  <inkml:trace contextRef="#ctx0" brushRef="#br0" timeOffset="43921.16">10914 5358 0,'13'-13'0,"1"13"16,-1 0-1,0 0 1,0 0-16,0 13 0,1-13 16,-14 13-16,0 0 15,-14 1-15,14-1 16,-13-13-16,13 13 0,0 0 15,-13-13-15,13 13 16,13 1 0,0-14-1,-13 13-15,14 0 0,-1-13 16,-13 13-16,13 1 16,-26-1-1,13 0-15,-13-13 0,-1 13 16,1-13-16,0 13 0,0-13 15,0 0-15,-1 14 0,1-14 16,0 0-16,0 0 0,-1 13 0,1-13 16,0 0-16,0 0 0,-1 0 15,1 13-15,0-13 16</inkml:trace>
  <inkml:trace contextRef="#ctx0" brushRef="#br0" timeOffset="50825.02">9366 2858 0,'13'-14'16,"-13"1"15,-13 13 1,13-13-17,-13 0 16,0 13-31,13-14 16,-13 14-16,-1 0 16,1 0-1,0 0-15,0 0 16,-1 0-16,1 0 16,0 0-16,0 0 15,0 14-15,-1-14 0,1 13 16,0-13-16,0 13 0,-1 0 15,1 1-15,0-14 16,0 13-16,13 0 0,-14 0 16,1 0-16,0 14 0,13-14 0,-13 0 15,0 14-15,-1 12 16,14-25-16,-13 12 0,13 1 0,0-14 16,-13 13-16,13-12 0,0-1 0,0 13 15,0-13-15,0 14 0,0-14 16,0 0-16,0 14 0,13-14 0,-13 0 15,13 1-15,-13-1 0,14 0 0,-1 0 16,-13 0-16,13 1 16,0-1-16,0 0 0,1 0 0,-1-13 0,0 14 15,14-14-15,-14 0 0,0 13 16,0-13-16,14 0 0,-14 0 16,0 0-16,14 0 0,-14 0 0,0 0 15,0-13-15,14 13 0,-14 0 0,0-14 16,0 14-16,1 0 0,-1-13 15,0 13-15,0-13 0,1 13 0,-1-13 16,0 13-16,0-14 0,1 14 16,-14-13-16,13 0 0,0 13 15,-13-13-15,13 13 0,-13-13 0,13-1 16,1 14-16,-14-13 0,13 0 0,-13 0 16,13 13-16,-13-14 0,13 1 0,-13 0 15,0 0-15,14 13 16,-14-14-16,13 1 0,-13 0 0,13 0 15,-13 0-15,0-1 0,13 14 16,-13-13-16,0 0 0,0 0 16,0-1-16,14 1 0,-14 0 0,0 0 15,0-1-15,0 1 0,13 0 16,-13 0-16,0 0 16,-13-1-16,13 1 0,0 0 15,0 0-15,-14 13 0,14-14 0,-13 1 16,13 0-16,-13 13 0,0-13 15,-1 0-15,1-1 0,0 14 0,0-13 16,-1 0-16,1 13 0,-13-13 16,13 13-16,-14-14 0,14 14 0,0 0 15,-14 0-15,14 0 0,0 0 16,-1 0-16,-12 0 0,13 14 0,0-1 16,-1-13-16,1 26 0,0-12 0,0-1 15,-1 13-15</inkml:trace>
  <inkml:trace contextRef="#ctx0" brushRef="#br0" timeOffset="51324.11">9274 3559 0,'0'26'47,"0"-13"-47,0 1 0,-14-1 16,14 0-16,-13 13 0,0 14 0,0-13 16,0 12-16,-1-12 0,1 12 15,0 1-15,0 0 0,-1-14 0,1 14 16,0-14-16,13 1 0,-13-14 15,-1 27-15,14-27 16,-13 0-16,13 1 0,0-1 16,-13 0-16,13 0 0,13-39 47,-13 13-32</inkml:trace>
  <inkml:trace contextRef="#ctx0" brushRef="#br0" timeOffset="51623.6">9287 3559 0,'0'0'0,"-40"13"31,27 0-31,0 0 0,0-13 0,-1 14 16,1-1-16,0 0 0,0 0 0,-1 0 16,-12 14-16,13-14 0,-1 0 15,1 1-15,0-1 16,0 0-16,0 0 15</inkml:trace>
  <inkml:trace contextRef="#ctx0" brushRef="#br0" timeOffset="51841.81">9128 3545 0,'13'14'0,"1"-14"0,-14 13 0,13-13 16,27 53 0,-27-40-16,0 0 0,0 0 15,0 1-15,1-1 0,-1 0 0,0 0 16,-13 1-16,13-14 0,1 13 0,-1 0 16,-13 0-16,13-13 0,-13 14 15,0-1-15,13 0 0,-13 0 0,0 0 16,0 1-16</inkml:trace>
  <inkml:trace contextRef="#ctx0" brushRef="#br0" timeOffset="52638.57">8705 4419 0,'-13'0'0,"13"-14"31,-14 14-31,1 14 0,13-1 16,-13 0-16,13 0 0,-13 0 15,13 1-15,0-1 0,-14 13 16,1 1-16,13-14 0,0 14 16,0-14-16,0 0 0,0 0 0,13 0 15,-13 1-15,14-14 16,-14 13-16,13-13 0,0 0 0,0 0 16,1 0-16,-1 0 0,0 0 0,0 0 15,0-13-15,1 13 0,-1-14 16,0 1-16,0 13 0,1-13 0,-1 0 15,0 0-15,-13-1 0,13 1 0,-13 0 16,14-14-16,-14 14 0,0 0 16,0 0-16,-14-14 0,14 14 15,0 0-15,-13 0 0,13-1 0,-13 1 16,13 0-16,-13 0 0,-1 13 0,14-14 16,-13 1-16,-13 0 15,12 13 1,1 13-16,13 0 15,0 1 1,0-1-16,13 0 0,-13 0 16,14 1-16,-14-1 0,13 13 0,0-13 15,0 14-15,-13-14 0,14 14 16,-1-14-16,0 0 0,-13 14 16,13-14-16,-13 0 0,14 0 0,-14 0 15,13 1-15,-13-1 0,13 0 16,-13 0-16,0 1 0,13-14 15,-13 13-15,0 0 16,13-13-16</inkml:trace>
  <inkml:trace contextRef="#ctx0" brushRef="#br0" timeOffset="52881.8">9155 4524 0,'13'14'16,"-13"-1"-16,0 0 15,0 0-15,0 1 16,-13-1-16,13 0 0,0 0 16,0 0-16,-14 1 0,14-1 0,0 0 15,-13 0-15,13 1 16,0-1-1,13-13-15,14-13 16,-14 13-16,0-14 16</inkml:trace>
  <inkml:trace contextRef="#ctx0" brushRef="#br0" timeOffset="53257.66">9684 4538 0,'26'0'31,"-13"0"1</inkml:trace>
  <inkml:trace contextRef="#ctx0" brushRef="#br0" timeOffset="53456.01">9618 4643 0,'0'14'16,"13"-14"-16,0 0 15,0 13-15,1-13 16,-1 0-16,0 0 0,0 0 16,0-13-16,1 13 0,-1 0 0,0 0 0,0 0 15,1 0-15,-1 0 0</inkml:trace>
  <inkml:trace contextRef="#ctx0" brushRef="#br0" timeOffset="55057.98">9115 4591 0,'0'-14'0,"-13"28"47,13-1-47,-14 0 15,14 0-15,0 0 0,0 1 16,0-1-16,-13 0 0,13 0 16,0 1-16,0-1 0,0 0 0,0 0 15,0 0-15,-13 1 0,13-1 16,0 0-16,0 0 16,13-13-16,0-13 31,-13 0-16,0 0-15,0-1 0,14 1 16,-14 0-16,0-13 0,0 12 16,0 1-16,13 0 0,-13 0 0,0-1 15,0 1-15,0 0 16,0 53 15,0-27-31,-13 0 0,13 14 16,0-14-16,-14 13 0,14-13 0,0 1 15,-13 12-15,13-13 0,0 1 0,0-1 16,0 0-16,0 0 16,-13-13-16,13 14 15,13-41 17,-13 14-32,0 0 0,0-1 15,0 1-15,0-13 0,0 12 0,0-12 16,0 13-16,0-14 0,0 1 15,0-1-15,0 14 0,0-13 0,0-1 16,0 14-16,0 0 0,0 0 16,0-1-16,0 41 31,-13-27-15,13 13-16</inkml:trace>
  <inkml:trace contextRef="#ctx0" brushRef="#br0" timeOffset="55725.83">7131 7805 0,'13'-13'0,"-13"0"15,13 13-15,0 0 0,0 0 16,1 0-16,-1 0 0,0 0 16,0 0-16,1 0 0,-1-13 15,0 26-15,0-26 0,0 13 0,1 13 0,-1-13 16</inkml:trace>
  <inkml:trace contextRef="#ctx0" brushRef="#br0" timeOffset="55874.79">7078 7951 0,'-27'26'0,"54"-52"0,-67 52 16,66-26 15,-12 0-31,12 0 0,1-13 15,-1 13-15,14-13 0,-1 13 16,1-13-16,0-1 0</inkml:trace>
  <inkml:trace contextRef="#ctx0" brushRef="#br0" timeOffset="56452.63">8572 7620 0,'40'0'0,"-80"0"0,93 0 0,-39 0 15,-1 0-15,0 0 0,0 0 0,1 0 16,-1 0-16,-13 13 0,13-13 15,-13 13-15,0 1 0,-13-1 16,0 0-16,13 0 16,-14-13-16,14 14 0,-13-14 15,13 13-15,-13-13 0,13 13 16,0 0 0,13-13-16,0 14 15,1-14-15,-1 13 0,0-13 16,0 13-16,-13 0 15,0 0 1,0 1-16,-13-1 0,0 0 16,0 0-16,-1 1 0,-12-1 0,13 0 0,-14 0 15,14-13-15,0 14 0,-1-14 16,1 13-16,0-13 0,13-13 31,13-1-31</inkml:trace>
  <inkml:trace contextRef="#ctx0" brushRef="#br0" timeOffset="56635.02">8983 7607 0,'13'0'0,"-26"0"0,39 13 16,-26 0-16,-13-13 16,13 13-16,0 1 0,0-1 15,-13 13-15,13-12 0,-14 12 16,1-13-16,13 14 0,-13-1 0,0-13 15,13 14-15,-14-14 0,1 14 16,13-14-16,-13 0 0,13 0 0,-13 1 16</inkml:trace>
  <inkml:trace contextRef="#ctx0" brushRef="#br0" timeOffset="56813.81">8824 7818 0,'26'14'32,"-26"-1"-32,14-13 0,-1 13 15,0-13-15,0 13 0,0-13 0,-13 14 16,14-14-16,-1 0 0,0 13 16,0-13-16,1 0 0,-1 13 0</inkml:trace>
  <inkml:trace contextRef="#ctx0" brushRef="#br0" timeOffset="57064.03">9313 7620 0,'-13'13'16,"13"0"-16,-13 1 0,13-1 15,0 0-15,0 0 0,0 1 0,0-1 16,-13 13-16,13-12 0,0 12 16,0-13-16,0 14 0,0-14 0,0 0 15,0 0-15,13 1 0,-13-1 0,0 0 16,13-13-16,0 13 0,1 1 16</inkml:trace>
  <inkml:trace contextRef="#ctx0" brushRef="#br0" timeOffset="57422.34">9578 7660 0,'13'-14'0,"14"28"31,-14-1-31,0 0 0,-13 0 15,0 1-15,0-1 0,0 13 16,-13-12-16,-93 131 31,93-132-31,13 1 0,-13-14 0,13 13 16,-14 0-16,1-13 0,13 13 16,13 0-1,1-13-15,12-13 16,-13 13-16,0 0 15,1 0-15,-1 0 0,0 0 16,14 0-16,-14-13 0,0 13 0,0 0 16,1 0-16,-1 0 15,0 0-15,-13 13 16</inkml:trace>
  <inkml:trace contextRef="#ctx0" brushRef="#br0" timeOffset="57685.99">8612 8149 0,'146'-13'15,"-93"13"1,79-13-16,-53 13 0,67-14 15,-67 14-15,1 0 0,-14 0 16,0 0-16,-13-13 0,0 13 16,0 0-16,0 0 0,-14 0 0,1 0 15,-14 0-15,1 0 0,-1 0 0,1 0 16,-14 13-16,0-13 0,-13 14 16</inkml:trace>
  <inkml:trace contextRef="#ctx0" brushRef="#br0" timeOffset="58085.74">9115 8612 0,'-53'27'16,"53"-14"0,-13 0-16,-14 0 0,14 1 0,0-14 15,0 13-15,-1 0 0,1 0 0,13 0 16,-13-13-16,13 14 0,-13-1 15,26 0-15,-13 0 16,13 1-16,0-14 0,1 13 0,-1-13 16,13 0-16,1 13 0,-1-13 15,1 0-15,-1 0 0,1 0 0,-1 0 16,1 0-16,-1 0 0,-13 0 0,14 0 16,-14-13-16,13 13 0,-12-13 15,-1 13-15,0-14 0,0 14 0,-13-13 16</inkml:trace>
  <inkml:trace contextRef="#ctx0" brushRef="#br0" timeOffset="58281.76">9287 8639 0,'0'0'0,"-13"0"0,-1 0 16,1 13-16,0-13 0,13 13 16,-13 0-16,0 14 0,13-14 0,-14 13 15,1 1-15,0-1 0,13 14 16,-13 0-16,13-14 0,-14 14 15,14-14-15,0 1 0,0-1 0,0 1 16,0-1-16,0-13 0,0 14 0,14-14 0,-14 0 16,13 1-16,0-14 15,0 13-15,1-13 0,-1 0 0</inkml:trace>
  <inkml:trace contextRef="#ctx0" brushRef="#br0" timeOffset="59006.62">10147 7898 0,'13'13'0,"27"-26"31,-27 13-31,0 0 16,0 0-16,1 0 0,-1 0 16</inkml:trace>
  <inkml:trace contextRef="#ctx0" brushRef="#br0" timeOffset="59182.9">10094 8070 0,'26'13'16,"-12"-13"-16,-1-13 15,0 13-15,0 0 0,14 0 0,-14 0 16,13 0-16,1 0 0,-1 0 16,-12-13-16</inkml:trace>
  <inkml:trace contextRef="#ctx0" brushRef="#br0" timeOffset="59793.16">11602 7792 0,'-13'-13'0,"13"0"0,-13 13 15,-1 0-15,1-14 0,0 14 0,0 0 16,-1 0-16,-12 0 0,13 14 16,-14-14-16,1 0 0,13 13 0,-14-13 15,1 13-15,12 0 0,1-13 16,0 13-16,0 1 0,-1-14 15,14 13-15,-13 0 0,26-13 16,1 13-16,-1-13 0,0 0 16,0-13-16,14 13 0,-1 0 15,1-13-15,-1 13 0,-13-13 0,14 13 16,-14-14-16,14 14 0,-14 0 0,0 0 16,0 0-16,1 0 15,-14 14-15,13-14 0,-13 13 0,0 0 16,0 0-16,0 1 0,0-1 0,0 0 15,0 0-15,-13 14 0,13-14 16,0 0-16,0 14 0,-14-14 16,14 0-16,0 0 0,0 1 0,0-1 15,0 0-15,0 0 0,0 0 0,-13 1 16</inkml:trace>
  <inkml:trace contextRef="#ctx0" brushRef="#br0" timeOffset="67422.46">14883 2818 0,'-13'-27'31,"-1"14"-31,1 0 16,0 13 0,0 0-16,-1 13 15,-12-13-15,13 13 0,-14 1 0,14-1 16,-13 13-16,-1-12 0,14 12 0,-14 0 15,1 1-15,13-1 0,-14 14 16,14-14-16,0 14 0,0-13 16,-1 12-16,1-12 0,13 12 0,-13-12 0,13-1 15,0 1-15,0-1 0,0 1 16,0 12-16,0-12 0,13 13 0,-13-14 16,13 0-16,1 1 0,-1-1 0,0-12 15,0 12-15,1 1 16,12-14-16,-13 0 0,0 0 0,14-13 15,-14 13-15,14-13 0,-14 14 0,13-14 16,-12 0-16,12 0 0,0-14 16,1 14-16,-14 0 0,14-13 0,-1 0 15,0 0-15,14 0 0,-13-14 0,-1 14 16,-13-14-16,14 14 0,-1-13 0,1 12 16,-14-12-16,0 13 15,0-14-15,1 14 0,-1 0 0,0-14 0,0 14 16,1-13-16,-1 13 0,-13-1 15,13-12-15,-13 13 0,13-1 0,-13-12 16,13 13-16,-13-1 0,0-12 16,14 13-16,-14 0 0,0-1 0,0 1 15,0-13-15,0 12 0,0 1 0,-14 0 16,14-14-16,0 14 0,-13 0 16,13 0-16,-13 0 0,13-1 0,-13 1 15,0 0-15,-1-14 0,1 14 0,0 13 16,0-13-16,-14 0 0,14 13 15,0-13-15,-14-1 0,14 14 0,-13 0 16,-1-13-16,14 13 0,-14 13 0,1-13 16,13 0-16,-14 14 0,1-1 15,13 0-15,-1 0 0,1 14 16,0-14-16,13 13 0,-13 1 0</inkml:trace>
  <inkml:trace contextRef="#ctx0" brushRef="#br0" timeOffset="67933.77">14936 3903 0,'0'26'31,"0"1"-31,0-14 0,0 26 16,0 1-16,-14 0 0,14 26 0,-13 0 16,13-13-16,-13 26 0,13-12 15,-13-1-15,13 13 0,-13-13 0,-1 14 16,1-1-16,13-13 0,-13 0 0,0 0 16,13 1-16,-14-28 0,14 14 15,-13-13-15,13 0 0,-13-1 16,13-12-16,-13-14 0,13 13 0,0-12 0,0-1 15,-13 0-15,13-39 32,0 12-32,0 1 15,0 0-15,0-14 0,0 1 16,13 13-16,-13-14 0,0 1 16,0-1-16,0 1 0</inkml:trace>
  <inkml:trace contextRef="#ctx0" brushRef="#br0" timeOffset="68349.88">15055 3876 0,'-27'13'31,"14"1"-31,0-1 0,0 0 16,-1 14-16,1-1 0,-13 0 0,-1 1 16,14-1-16,0 1 0,-14-1 15,14 1-15,-13-1 0,12-13 0,14 14 16,-13-14-16,0 0 0,0 1 0,13-1 16,-13 0-16,-1-13 0,14 13 15,0 0-15,-13-13 0,13 14 16</inkml:trace>
  <inkml:trace contextRef="#ctx0" brushRef="#br0" timeOffset="68585.14">14883 3889 0,'0'0'0,"13"0"16,-13 14-16,13-1 0,0 0 0,1 0 15,-1 1-15,0 12 0,0 0 0,14 1 16,-14-1-16,14 14 0,-1-13 16,-13-1-16,14 0 0,-1 1 0,1-14 15,-14 14-15,13-14 0,-12 0 0,-1 13 16,0-12-16,0-14 0,0 13 16,1 0-16,-1-13 0,0 13 0,0-13 15,1 14-15</inkml:trace>
  <inkml:trace contextRef="#ctx0" brushRef="#br0" timeOffset="69607.94">14830 5808 0,'0'-14'16,"-13"1"-1,-1 26 1,1 1-16,0 12 0,0-13 16,0 27-16,-1-14 0,1 14 0,0 0 15,0-1-15,13 1 0,-14 0 0,14-14 16,0 1-16,0-1 0,0 1 0,0-1 15,14-13-15,-14 14 0,13-14 16,-13 0-16,13 1 0,0-1 16,1 0-16,-1-13 0,0 0 15,13-13-15,-12 13 0,12-13 16,-13-1-16,14 1 0,-1 0 0,1-14 16,-1 1-16,-13-14 0,1 14 0,-1-14 15,0 0-15,0 14 0,-13-27 0,14 13 16,-14 1-16,-14 12 0,14-12 15,0-1-15,-13 27 0,0-14 0,0 14 16,-1-14-16,1 14 0,0 0 0,0 0 16,-1 13-16,1-13 15,0 13-15,-53 13 16,53 0-16,-1 0 16,1 14-16,13-14 0,-13 13 0,13 1 15,0-1-15,0 1 0,0-1 16,0 14-16,13 0 0,0-1 0,-13 1 15,14-14-15,-1 14 0,0-13 0,-13 12 16,13-12-16,-13-1 0,14-13 16,-1 14-16,-13-1 0,0-12 0,13-1 15,-13 0-15,13 13 0,-13-12 0,13-14 16,-13 13-16,0 0 0,14 0 16,-1 1-1,0-14 1,0 0-16,1 0 0,-1 0 15</inkml:trace>
  <inkml:trace contextRef="#ctx0" brushRef="#br0" timeOffset="70243.56">15319 6231 0,'14'-13'16,"12"26"-1,-13-13-15,-13 13 0,14 0 16,-14 1-16,0-1 16,-14 0-16,14 0 0,-13 1 15,13-1 1,0 0-1,13 0-15,1-13 0,-14 13 16,13-13-16,0 0 0,0 14 16,0-14-16,1 13 0,-1 0 15,0-13-15,-13 13 0,0 1 16,0-1-16,0 0 0,-13-13 16,13 13-16,-13 1 0,-1-1 0,1-13 15,-13 13-15,13 0 0,-1 0 0,-12-13 16,-1 14-16,14-14 0,0 13 15,-14-13-15,14 0 0,0 0 0,-13 13 16</inkml:trace>
  <inkml:trace contextRef="#ctx0" brushRef="#br0" timeOffset="71418.97">3254 10808 0,'0'-13'15,"-26"39"17,13-12-32,-1-1 0,14 0 0,-13 14 0,13-1 15,-13-13-15,13 14 0,0-1 16,0 1-16,0-1 0,0 1 0,0-1 16,0 0-16,0-12 0,13 12 0,-13-13 15,13 1-15,1-1 0,-14 0 16,13 0-16,0-13 0,0 14 15,1-14-15,12-14 0,-13 14 0,1-13 16,12 13-16,-13-26 0,14 12 16,-1-12-16,27-133 15,-53 120 1,-13-1-16,13 0 0,-13 0 0,-1 1 16,1-1-16,-13 14 0,12-1 15,1 1-15,0 12 0,0 1 0,0 0 16,-1 0-16,1 13 0,0-13 0,0 13 15,-1 0-15,1 13 16,0 0-16,0-13 0,13 13 16,-14 14-16,14-14 0,0 13 0,0-12 15,0 12-15,14 14 0,-14-14 0,13 14 16,-13 0-16,13-14 0,0 14 16,1-14-16,-1 14 0,0-14 0,0 14 15,1-14-15,-1 1 0,0-1 0,0 1 16,0-14-16,-13 14 0,14-14 15,-1 13-15,-13-13 0,13 1 0,-13-1 16,0 0-16,13 0 0,-13 1 16,0-1-16,0 0 0,14 0 15,-1 1 1</inkml:trace>
  <inkml:trace contextRef="#ctx0" brushRef="#br0" timeOffset="71857.96">3731 11165 0,'13'-13'31,"0"13"-31,0 0 0,1 0 16,-1 0-16,0 0 16,0 0-16,0 13 15,1-13-15,-14 14 16,0-1-16,0 0 16,-14 0-16,14 1 15,-13-1-15,13 0 16,-13-13-16,13 13 0,-13-13 15,13 13-15,0 1 16,0-1 0,13 0-1,0-13 1,0 0-16,-13 13 0,14-13 16,-1 0-16,0 0 0,0-13 0,1 13 15,-1 0-15,0 0 0,14-13 16,-14 13-16,0-13 0,13-1 0,-12 1 15,12 13-15,1-13 0</inkml:trace>
  <inkml:trace contextRef="#ctx0" brushRef="#br0" timeOffset="72113.99">4352 10967 0,'27'13'32,"-14"-13"-17,0 0-15,14 0 0,-14 0 0,0 0 0,0 0 16,1 0-16,-1 0 15,0 0-15,0 0 0,1 13 0,-1-13 16</inkml:trace>
  <inkml:trace contextRef="#ctx0" brushRef="#br0" timeOffset="72309.42">4366 11152 0,'-14'0'0,"28"0"0,-28 13 16,41-13 15,-14 0-31,0 0 0,1 0 16,-1 0-16,13 0 0,-13 0 0,14 0 15,-14 0-15,14 0 0,-1 0 16,-13 0-16,14 0 0,-1-13 0,1 13 16,-1 0-16,-13 0 0</inkml:trace>
  <inkml:trace contextRef="#ctx0" brushRef="#br0" timeOffset="72962.14">5596 10967 0,'-13'13'0,"13"14"16,0-14-16,-14-13 0,14 13 16,0 0-16,0 1 0,0-1 15,0 0 1,0 0-1,14-39 17,-14 13-32,0-14 0,13 14 15,-13 0-15,0-14 0,13 14 0,-13 0 16,13 0-16,-13-1 0,0 1 16,14 0-16,-14 0 0,13 13 15,0 13 1,-13 0-16,13 0 15,-13 1-15,0-1 0,0 0 16,14 0-16,-14 0 16,0 1-16,13-14 15,0-14 1,0 1-16,0 0 16,-13 0-16,14 0 0,-1-1 0,0 1 15,0 0-15,1 13 16,-14-13-16,13 13 0,0 0 15,-13 13-15,13-13 0,-13 13 0,14-13 16,-14 13-16,0 1 0,13-1 16,-13 0-16,0 0 0,0 0 0,0 1 15,0-1-15,13 0 0,-13 0 16,0 1-16,13-1 0,0-13 16,-13 13-16,14-13 0,-1 0 15,13 0-15,-12 0 0,12 0 0,-13 0 16,14-13-16</inkml:trace>
  <inkml:trace contextRef="#ctx0" brushRef="#br0" timeOffset="73394.3">6271 11099 0,'39'-26'31,"-39"13"-31,14 13 0,-1-14 16,-13 1-16,13 0 0,-13-14 0,13 14 15,-13 0-15,0 0 0,0 0 16,0-1 0,-13 14-16,0 0 15,0 14-15,-1-14 16,14 13-16,-13 0 0,0 0 0,0 0 16,13 1-16,0-1 0,0 0 15,0 0-15,0 1 16,13-14-16,0 13 0,0-13 0,1 13 15,-1-13-15,0 0 0,13 0 0,-12 0 16,12 0-16,-13 0 0,14 0 16,-1-13-16,-12 13 0,12 0 0</inkml:trace>
  <inkml:trace contextRef="#ctx0" brushRef="#br0" timeOffset="73955.03">6760 10888 0,'-13'-14'31,"0"14"-31,-1 0 0,1 0 16,0 14-16,0-14 0,0 13 15,-1 0-15,1 0 0,0-13 0,13 14 16,-13-1-16,-1 13 0,1-13 0,13 1 16,-13-1-16,13 0 15,0 0-15,0 1 0,13-1 16,0 0-1,14-26 1,-14 13-16,-13-13 0,13-1 16,1 1-16,-1-13 0,0 12 0,0-12 15,0 0-15,1-14 0,-14 13 16,13-12-16,0-1 0,-13 14 16,0-14-16,13 13 0,-13 14 0,0 0 0,0 0 15,0-1-15,0 1 0,0 0 0,-13 26 47,13 0-47,-13 14 0,13-14 0,-13 14 16,13-1-16,-14 1 0,14-1 0,0 0 15,0 1-15,0-1 0,0-12 16,0 12-16,0-13 0,0 14 0,0-14 16,14-13-16,-14 13 0,13 0 0,0-13 15,14-13 1,-14 13-16,0-13 0,0 13 15,0 0-15,1 0 16,-1 0-16,-13 13 16,13-13-16,-13 13 0,0 1 15,0-1-15,0 0 16,13-13-16,-13 13 0,0 1 0,0-1 16,14-13-1,-1 0-15</inkml:trace>
  <inkml:trace contextRef="#ctx0" brushRef="#br0" timeOffset="74117.5">6998 10689 0,'-13'0'0,"-13"0"31,26 13-31,0 1 16</inkml:trace>
  <inkml:trace contextRef="#ctx0" brushRef="#br0" timeOffset="74974.94">7250 10914 0,'13'-13'0,"-13"0"0,-27-14 31,14 27-31,0 0 16,-14 0-16,14 0 0,0 13 16,0-13-16,0 14 0,-1-1 15,-12 0-15,13 0 0,-1 1 0,1-1 16,13 0-16,-13 0 0,13 0 16,-13-13-16,13 14 0,0-1 0,0 0 15,13-13-15,-13 13 0,13-13 0,-13 14 16,13-14-16,1 0 0,12 0 15,-13 0-15,1 0 0,-1 0 16,0-14-16,0 14 0,0-13 0,1 13 16,-14-13-16,13 0 0,0 13 15,-13-14-15,13 1 0,1 0 16,-14 0-16,13 13 0,-13-13 16,13 13-16,-13-14 15,0 28 32,0-1-31,13 0-16,-13 0 15,0 0-15,0 1 16,13-1 0,1-13-1,-1 0 1,-13-13-16,13 13 0,0 0 15,1-14-15,-1 14 16,0-13-16,0 13 16,1 0-16,-14 13 15,13-13-15,-13 14 16,13-14-16,-13 13 0,0 0 16,0 0-16,0 14 15,0-14 1,0 0-1,13 0 1,0-13 15,1 0-15,-1-13 0,0 13-16,0 0 15,1 0-15,-1 0 0,-13-13 0,13 13 16,0 0-16,1 0 0,-14-13 0</inkml:trace>
  <inkml:trace contextRef="#ctx0" brushRef="#br0" timeOffset="76109.32">7501 11086 0,'-13'13'16,"-1"0"-16,14 1 16,0-1-16,0 0 15,0 0-15,0 1 16,14-14 15,-1-14-15,0 1-16,0 13 15,1-13-15,-1 13 16,-13-13-16,13 13 0,0 0 16,1 0-16,-1 0 0,0 13 15,0-13-15,0 0 16,14 13-16,-14-13 16,0 13-16,1-13 0,-1 0 15,-13 14-15,13-14 0,0 0 16,1 0-16,-1 0 0,0 0 0,0 0 15,0-14-15,1 14 0,-1 0 0</inkml:trace>
  <inkml:trace contextRef="#ctx0" brushRef="#br0" timeOffset="85100.9">8308 2619 0,'-13'14'15</inkml:trace>
  <inkml:trace contextRef="#ctx0" brushRef="#br0" timeOffset="86777.01">8533 2355 0,'-40'13'16,"27"0"-16,0 0 0,-1 1 15,-12-1-15,0 13 0,12 1 16,-12-14-16,-1 14 0,1-14 15,-1 13-15,14-13 0,0 14 0,0-14 0,0 0 16,-1-13-16,1 14 16,13-1-16,-13 0 0,0 0 15</inkml:trace>
  <inkml:trace contextRef="#ctx0" brushRef="#br0" timeOffset="87209.97">9088 2328 0,'-52'27'31,"38"-1"-31,1-13 0,-13 14 0,-1-1 0,1 14 16,-14 0-16,14-1 0,-14 1 16,13-13-16,1 12 0,-1-12 0,1-1 15,13 1-15,0-14 0,-1 13 0</inkml:trace>
  <inkml:trace contextRef="#ctx0" brushRef="#br0" timeOffset="91869.81">9644 2421 0,'-26'13'16,"12"0"0,1 1-16,0-1 0,0-13 0,-1 13 15,1 14-15,-26-14 0,12 13 0,1-13 16,-1 14-16,1-14 0,-1 14 15,1-14-15,13 0 0,-1 0 0,1 1 16</inkml:trace>
  <inkml:trace contextRef="#ctx0" brushRef="#br0" timeOffset="92381.68">10226 2394 0,'-13'14'32,"0"-1"-17,-1 0-15,-12 14 0,13-14 16,-14 13-16,1-12 0,-1 12 0,1 0 15,13 1-15,-14-1 0,14-12 16,-13 12-16,12-13 0,1 1 16,0-1-16</inkml:trace>
  <inkml:trace contextRef="#ctx0" brushRef="#br0" timeOffset="95126.18">10782 2474 0,'-40'13'78,"27"0"-78,0-13 16,-1 14-16,1-1 0,0 0 0,-14 0 16,14 0-16,0 1 0,-13-1 0,12 13 15,-12-12-15,13-1 0,-1 0 16,1 0-16,0 1 0,0-1 0,0 0 15,13 0-15,-14-13 0,1 13 16,13 1 0,-13-14-1,0 13-15,-1-13 47,14 13 78</inkml:trace>
  <inkml:trace contextRef="#ctx0" brushRef="#br0" timeOffset="96502.3">14010 2553 0,'-27'27'0,"54"-54"0,-67 67 0,27-27 16,-14 0-16,14 1 0,0 12 15,0-13-15,-1 1 0,1-1 16,0 0-16,0 0 0,-1 0 0,1 1 15,0-14-15,13 13 0,-13 0 0,13 0 16</inkml:trace>
  <inkml:trace contextRef="#ctx0" brushRef="#br0" timeOffset="96874.7">14922 2408 0,'-26'13'0,"52"-26"0,-65 39 0,39-13 16,-13 1-16,-1-1 0,1-13 0,0 13 15,0 0-15,13 1 0,-14-1 16,1-13-16,0 13 0</inkml:trace>
  <inkml:trace contextRef="#ctx0" brushRef="#br0" timeOffset="97234.83">15663 2447 0,'-26'14'0,"52"-28"0,-65 41 0,25-27 0,1 13 16,13 0-16,-13 1 0,0-1 15,0 0-15,-1 0 0,1 0 16,0 1-16,0-1 0,-1 0 0,1 0 15,13 1-15,-13-1 0</inkml:trace>
  <inkml:trace contextRef="#ctx0" brushRef="#br0" timeOffset="97645.78">16338 2527 0,'-26'13'47,"12"0"-31,1-13-16,13 13 0,-13 1 0,0-1 15,-1-13-15,1 26 0,-13-12 0,12-1 16,1 0-16,0 0 0,0 1 16,13-1-16,-13 0 0,-1-13 0,14 13 15</inkml:trace>
  <inkml:trace contextRef="#ctx0" brushRef="#br0" timeOffset="98153.68">17396 2553 0,'-13'13'0,"0"1"0,0-1 0,-27 13 16,27 1-16,-14-14 16,1 14-16,-1-1 0,1 0 0,-1 1 15,14-14-15,0 0 0</inkml:trace>
  <inkml:trace contextRef="#ctx0" brushRef="#br0" timeOffset="99039.92">11430 2791 0,'0'-13'0,"0"26"0,-13 14 31,13-14-15,0 14-16,0-1 0,0 14 0,0-1 15,-13 1-15,13 0 0,0-1 16,-14 1-16,14-13 0,-13 12 0,13-12 15,0-1-15,0 1 0,-13-1 0,13 1 16,0-14-16,-13 13 0,13-13 16,0 1-16,0-1 0,-14 0 0,14 0 15</inkml:trace>
  <inkml:trace contextRef="#ctx0" brushRef="#br0" timeOffset="100258.18">11324 2738 0,'13'0'16,"14"-13"0,-14 13-16,0 0 0,1 0 15,12 0-15,-13 0 0,0 0 0,14 0 16,-1 0-16,1 0 0,-1 0 0,1 0 15,12 0-15,-12 0 0,26 0 16,-13-13-16,12 13 0,-12 0 0,13 0 16,0-13-16,0 13 0,-13 0 0,12-13 15,1 13-15,0 0 0,13 0 16,-13-14-16,0 14 0,0 0 16,0 0-16,0 0 0,-13 0 0,-1-13 15,1 13-15,-13 0 16,12 0-16,-12 0 0,131 0 15,-144 0 1,12 0-16,-13 0 0,1 0 16,-1 0-16,0 0 0,0 0 15,1 0-15,-1 0 16,0 0-16,0 0 31,0 0-31,-13 13 16,0 1-1,14-1-15,-14 0 0,0 0 0,0 14 16,0-14-16,0 13 0,0 1 0,0-1 16,-14 14-16,14 0 0,0-1 15,-13 1-15,13 0 0,0-1 0,-13 1 16,13 0-16,0-1 0,0 1 0,0 0 16,0-14-16,0 1 0,0 12 15,0-12-15,0-1 0,0 1 0,0-1 16,0 1-16,0-14 0,13 13 15,-13-12-15,0 12 0,0-13 0,0 1 16,0-1-16,0 0 0,0 0 16,0 0-16,0 1 15,0-1-15,0 0 16,-13-13 0,-13 0-1,12 0-15,1 0 0,0 0 16,0 0-16,-14-13 0,1 13 15,-1 0-15,1 0 0,-14 0 0,0-13 16,-13 13-16,14 0 0,-1 0 0,-13 0 16,13 0-16,-12 0 15,12 0-15,-13 0 0,0 0 0,0 0 16,0 0-16,14 0 0,-14 0 0,0 13 16,13-13-16,0 0 0,1 0 0,-1 0 15,0 0-15,14 13 0,-14-13 16,14 0-16,-14 0 0,14 0 0,-1 0 15,1 0-15,-1 0 0,1 0 16,12 0-16,-12 0 0,13 0 0,-14 13 16,14-13-16,0 0 0,0 0 0,-1 0 15,1 0-15,-13 0 16,12 0 0,1 0-16,0 0 15,0 0 1,0 0 31,13-13-16,0-13-31,0 12 16,13-12-16,-13 0 0,0-14 15,0 0-15,13 0 0,-13 1 16,0-1-16,0 0 0,0 14 15,13 0-15,-13 12 0,0-12 0,0-1 16,0 14-16,0 0 16,0 0-16</inkml:trace>
  <inkml:trace contextRef="#ctx0" brushRef="#br0" timeOffset="101550.81">8824 10941 0,'40'0'31,"-27"0"-15,0 0-16,0 0 0,0 0 0,1 0 0,-1 0 15,0 0-15,0 0 0,1 0 16,-1 0-16,0 0 0</inkml:trace>
  <inkml:trace contextRef="#ctx0" brushRef="#br0" timeOffset="101714.95">8811 11086 0,'0'13'0,"0"-26"0,13 26 16,0-13 0,0 0-16,1 0 0,-1 0 0,0 0 15,0 0-15,0 0 0,1 0 16,-1 0-16</inkml:trace>
  <inkml:trace contextRef="#ctx0" brushRef="#br0" timeOffset="108253.8">9988 10861 0,'0'0'0,"13"-13"0,0 13 0,1 0 16,-1 0-16,0 0 0,0 0 16,1 0-16,-1 0 0,0 13 15,0-13-15,1 13 0,-14 1 16,13-14-16,-13 13 0,13 0 0,-13 0 16,0 1-16,-13-1 0,13 0 0,-13 0 15,13 0-15,-14 1 16,-12-1-16,13 0 0,-1 0 0,1 1 15,0-1-15,0-13 0,-1 13 0,1-13 16,0 13-16,0-13 0,0 13 16,-1-13-16,54 0 47,-27 0-47,0 0 0,1 0 0,-1 0 15,0 0-15,14 0 0,-14-13 0,0 13 16,0 0-16,1 0 0,-1 0 15,0 0-15,0 0 0,0 0 16,1 0-16,-1 0 0,0 0 0</inkml:trace>
  <inkml:trace contextRef="#ctx0" brushRef="#br0" timeOffset="108676.65">10610 10795 0,'0'0'0,"-27"26"31,27-12-31,0-1 0,-13 0 0,13 0 16,0 1-16,0-1 0,-13 13 16,13-12-16,0 12 0,0-13 0,-13 0 15,13 1-15,0 12 0,0-13 0,-14 1 16,14-1-16,0 0 16</inkml:trace>
  <inkml:trace contextRef="#ctx0" brushRef="#br0" timeOffset="108925.45">10372 10993 0,'53'14'32,"-40"-14"-32,13 0 0,-12 0 15,12 0-15,0 0 0,1 0 0,-1 0 16,1 0-16,-1 0 0</inkml:trace>
  <inkml:trace contextRef="#ctx0" brushRef="#br0" timeOffset="110758.34">10914 10821 0,'53'-13'31,"-40"13"-31,0 0 0,1 0 16,12 13-16,-13-13 16,1 14-16,-1-14 0,-13 13 0,13-13 0,-13 13 15,0 0-15,-13 1 16,13-1-16,-13 13 0,-14-12 15,14-1-15,0 0 0,-1 0 0,-12 0 16,13 1-16,0-1 0,13 0 0,-14-13 16,1 13-16,0 1 15,13-1-15,13 0 16,0-13 0,1 13-16,-1-13 0,13 0 15,-13 13-15,14-13 0,-14 0 0,14 0 16,-14 14-16,13-14 0,-13 0 0,1 0 15,-1 13-15,0-13 16,0 0-16,1 0 0,-1 13 16</inkml:trace>
  <inkml:trace contextRef="#ctx0" brushRef="#br0" timeOffset="111992.8">10041 11351 0,'79'13'0,"133"-26"31,-146 13-31,14 0 0,-1 0 0,-13-14 16,13 14-16,-26 0 0,13 0 16,-13 0-16,0-13 0,0 13 0,-13 0 15,-14 0-15,1 0 0,-1 0 16,-13 0-16,1 0 0,-1 13 0,0-13 15,0 14-15,-26-1 16</inkml:trace>
  <inkml:trace contextRef="#ctx0" brushRef="#br0" timeOffset="112892.96">10491 11708 0,'0'0'0,"13"0"16,40 0 0,-40 0-16,0 0 0,1 13 15,-1 0-15,0-13 0,0 14 16,-13-1-16,0 0 0,0 0 0,-13 14 15,13-14-15,-13 13 0,0-12 16,-14 12-16,14-13 0,0 0 0,-1 14 16,1-14-16,0 0 0,0-13 0,0 14 15,-1-1-15,1 0 16,0-13-16,13 13 16,-13-13-16,26 14 15,0-14 1,14 0-16,-14 0 0,13 0 15,-13 0-15,27 0 0,-13-14 0,12 14 16,1-13-16,13 0 0,-13 0 0,-1-1 16,1 1-16,0 0 15</inkml:trace>
  <inkml:trace contextRef="#ctx0" brushRef="#br0" timeOffset="113254.84">11615 11245 0,'40'-13'31,"-27"13"-31,0 0 0,1 0 0,12 0 15,-13 0-15,1 13 0,-1-26 0,0 26 16,0-13-16,0 13 0</inkml:trace>
  <inkml:trace contextRef="#ctx0" brushRef="#br0" timeOffset="113430.75">11602 11456 0,'40'0'32,"-14"0"-32,-13 0 15,14 0-15,13 0 0,-14 0 0,27 0 16,-13-13-16,12 13 0,1 0 0,0 0 16</inkml:trace>
  <inkml:trace contextRef="#ctx0" brushRef="#br0" timeOffset="113866.62">12832 11126 0,'14'-14'15,"-1"14"1,0 14-16,0-14 0,0 13 16,-13 0-16,14-13 0,-14 13 15,0 1-15,0-1 0,-14 0 16,1 14-16,13-14 0,-13 13 0,0-13 15,0 1-15,-1-1 0,1 0 0,13 0 16,-13 1-16,13-1 16,0 0-1,0 0-15,13-13 0,-13 14 16,13-14-16,1 0 0,-1 0 0,0 0 16,13 0-16,-12 0 0,12 0 15,1 0-15,-1 0 0,-13-14 0,14 14 16,-1 0-16,-13 0 0,1-13 0,12 13 15,-13-13-15,1 0 0,-1 13 16</inkml:trace>
  <inkml:trace contextRef="#ctx0" brushRef="#br0" timeOffset="114321.69">12607 10941 0,'-39'52'0,"-107"279"32,146-265-32,-13 0 15,26 54-15,0-54 0,1-13 16,25-14-16,-12 14 0,12-13 15,14-14-15,-13 1 0,13-1 0,-13-13 16,13 1-16,-14-1 0,14-13 16,0 0-16,0-13 0,0-1 0,13 1 15,0-13-15,-13-1 0,0 1 16,0-1-16,0-12 0,26-54 16,-39 53-16,-14-12 0,14-41 15,-27 27-15,1 26 0,-14 0 0,0-13 16,-14 14-16,1-14 15,-27 0-15,1 13 0,-14 14 0,-13-1 16,-14 1-16,1-1 0,-14 14 0,1 0 16,-27 0-16,13 13 0,0 0 15,-92 0-15,92 13 0,13 0 16,14 0-16,-1 1 0,27-1 16,1 0-16,-1 0 0,39 1 0</inkml:trace>
  <inkml:trace contextRef="#ctx0" brushRef="#br0" timeOffset="114465.99">13904 11060 0,'13'0'15,"-26"0"-15</inkml:trace>
  <inkml:trace contextRef="#ctx0" brushRef="#br0" timeOffset="116113.99">12237 3717 0,'-13'27'31,"0"-14"-31,13 14 0,0 12 0,0 14 0,-14-13 16,14 13-16,0 0 0,0 0 16,0-14-16,0 14 0,0 0 0,0-13 15,0 13-15,0-14 0,0-12 0,0 13 16,0-14-16,0 0 15,0-12-15,0-1 0,0 0 0,0 0 16</inkml:trace>
  <inkml:trace contextRef="#ctx0" brushRef="#br0" timeOffset="116342.92">12316 3823 0,'-26'0'0,"-67"80"15,67-67 1,-14 27-16,14-14 0,-14 0 16,14 1-16,-1 13 0,1-14 0,-1 1 15,14-1-15,0-13 0,-1 0 0,1 1 16,0-14-16</inkml:trace>
  <inkml:trace contextRef="#ctx0" brushRef="#br0" timeOffset="116506.35">11986 3863 0,'0'0'0,"26"-27"0,-13 27 0,1 0 16,-1 0-16,13 0 0,-13 14 15,14-14-15,-1 13 0,14 0 0,-13 14 16,12-14-16,-12 0 0,12 14 0,1-14 15,0 0-15,-14 13 0,14-12 16,0 12-16,-14-13 0,14 14 0,-14-14 16</inkml:trace>
  <inkml:trace contextRef="#ctx0" brushRef="#br0" timeOffset="117202.9">12171 4789 0,'-27'0'16,"14"0"-16,0 13 16,0 0-16,-1 14 0,14-14 15,-13 27-15,0-14 0,0 14 0,0 0 16,13-1-16,0 1 0,0 0 16,0-14-16,13 1 0,-13-1 15,13 1-15,0-1 0,0-13 0,1 14 0,-1-14 16,0-13-16,0 13 0,1-13 15,-1 0-15,13 0 0,-12-13 0,-1 0 16,13-1-16,1-12 0,-14-14 0,0 14 16,0-14-16,1 0 0,-14 1 0,13-1 15,-26-13-15,13 13 0,0 1 16,-14-14-16,1 26 0,0-12 16,13 12-16,-13 1 0,-1 13 0,1-14 15,0 14-15,0 13 0,0-13 16,-1 13-16,1 0 0,0 13 0,0 0 15,-1 0-15,1 1 0,13 12 0,-13 0 16,13 1-16,-13-1 0,26 1 16,-13 13-16,0-1 0,13-12 0,0 12 15,1 1-15,-1-13 0,0 12 0,0-12 16,1-1-16,-1 1 0,13-14 0,-13 0 16,1 14-16,-1-14 15,0 0-15,-13 0 0,13 0 0</inkml:trace>
  <inkml:trace contextRef="#ctx0" brushRef="#br0" timeOffset="117506.05">12568 5054 0,'26'0'15,"-52"0"-15,65 0 16,-25 13-16,-14 0 0,0 0 15,-14 0-15,14 14 0,-13-1 0,0 14 16,-14-13-16,14 12 0,0-12 16,-13-1-16,26 1 0,-14-14 0,1 0 15,13 0-15,0 1 0,0-1 16,0 0-16,0 0 16,13 0-16,1-13 0,-1 0 15,0 0-15,0-13 0,14 13 0,-14 0 16,13-13-16,-12 0 0,-1 13 15,13-13-15,-12-1 0,-1 1 0,-13 0 16,13 13-16,-13-13 0,0-1 0</inkml:trace>
  <inkml:trace contextRef="#ctx0" brushRef="#br0" timeOffset="117794.32">11893 4643 0,'-13'14'0,"26"-28"0,-26 54 0,13-27 16,0 27-16,-13 0 0,13-1 0,0 28 16,0-1-16,0 0 0,0 13 15,0-13-15,13 14 0,-13-1 0,0-13 16,13 14-16,-13-14 0,13 0 0,0-13 15,1 13-15,-1-13 0,0-13 16,0-14-16,1 14 0,-14-14 16,13-13-16,0 1 0,14-28 15,-27-12 1,0-14-16</inkml:trace>
  <inkml:trace contextRef="#ctx0" brushRef="#br0" timeOffset="118305.58">11867 4643 0,'105'-39'16,"-52"26"-16,13-1 15,1-12-15,-1 13 0,13-1 0,0 14 16,1-13-16,12 0 0,-12 13 0,-1-13 15,1 13-15,-1-14 0,0 14 0,-26 0 16,13 0-16,-13 0 0,0 0 16,-26 0-16,12 14 0,-12-14 0,-1 0 15,14 26-15,-27-13 0,14 1 16,-27-1-16,13 13 0,0-12 0,-13 12 16,0 0-16,13 14 0,-13 13 15,0-13-15,0-1 0,14 1 0,-14 13 16,13 0-16,-13 0 0,13 0 15,0 0-15,-13-14 0,14 14 16,-1-13-16,-13 0 0,13-1 0,0 1 16,0 0-16,1-14 0,-1 14 0,-13-14 15,13 1-15,-13-14 0,13 13 16,-13-12-16,0-1 0,14 13 0,-14-12 16,0-1-16,-14 0 0,14 0 15,-13 1-15,-13-1 0,12 0 16,-25 0-16,-1 0 0,0 1 15,-13-1-15,-13 0 0,0 14 0,0-14 16,-13 0-16,-1 0 0,-12 14 0,12-14 0,-26 13 16,1 1-16,12-14 0,14 14 15,-27-1-15,26-13 0,14 14 16,-13-14-16,13 13 0,13-12 0,-13-1 16,13 0-16</inkml:trace>
  <inkml:trace contextRef="#ctx0" brushRef="#br0" timeOffset="124382.96">1720 2249 0,'-27'53'32,"27"39"-17,-13-25-15,13 38 16,0-12-16,0 0 0,0-27 16,0 26-16,0-39 15,0 0-15,13 13 16,1 1-1,-1 12-15,0-26 16,-13-13-16,13-14 16,-13 14-16</inkml:trace>
  <inkml:trace contextRef="#ctx0" brushRef="#br0" timeOffset="126215.92">1707 2275 0,'-14'0'31,"14"27"-15,40-14 0,53 14-16,39-1 0,-26-13 15,66-13-15,53 13 16,145 27-16,-13-40 15,14 0 1,198 0-16,-93 27 16,26-27-16,-105 0 15,-145 0-15,-80 0 16,39 0-16,14 0 16,-119 0-16,-40 0 15,-39 0-15,-14 0 16,-13 26 124,0 53-140,-13-26 16,-1 27-16,1-14 16,13 27-16,-13 52 0,0-26 15,-14-26-15,1-1 16,13 1 0,-14-1-16,27-39 15,0-13-15,0 0 16,0-27-16,0 13 15,0-12-15,0-1 32,-26-13 15,-1 13-32,-26 14 1,-13-14-16,-79 0 15,-14-13-15,13 0 16,-118 0-16,79 0 16,-27 0-16,-53 0 15,40-13 1,-251 0-16,304-1 16,13 1-16,-13-13 15,27 26-15,-1 0 0,67 0 16,-27 0-16,27 0 15,-14 0-15,-26-27 16,27 14 0,-14 13-16,40 0 15,-27 0-15,14 0 16,26 0-16,-13 0 16,13 0-16,-14 0 15,15 0-15,25 0 16,1 0-16,-1 0 15,-12 0-15,25 0 16,-12 0-16,13 0 16,-1 0-16,1 0 15,0 0-15,0 0 16,-1 0 0,1 0 62,13-26-31,-13 26-32,13-14-15,0-25 16,0-1-16,0-13 15,0 40-15,0 0 16,-13 13-16,13-14 16,0 1-1</inkml:trace>
</inkml:ink>
</file>

<file path=ppt/ink/ink1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2:25.088"/>
    </inkml:context>
    <inkml:brush xml:id="br0">
      <inkml:brushProperty name="width" value="0.05292" units="cm"/>
      <inkml:brushProperty name="height" value="0.05292" units="cm"/>
      <inkml:brushProperty name="color" value="#FFFFFF"/>
    </inkml:brush>
    <inkml:brush xml:id="br1">
      <inkml:brushProperty name="width" value="0.05292" units="cm"/>
      <inkml:brushProperty name="height" value="0.05292" units="cm"/>
      <inkml:brushProperty name="color" value="#0070C0"/>
    </inkml:brush>
  </inkml:definitions>
  <inkml:trace contextRef="#ctx0" brushRef="#br0">12171 4458 0,'0'0'0,"-13"27"32,39-54-17,-13 14-15,1-13 0,12-1 0,-13-13 16,14 14-16,-14-14 0,13 1 0,1-1 15,-1 13-15,-13 1 0,1 13 16,-1 0-16,0 13 0,0 0 0,1 13 16,-14 0-16,0 0 0,0 14 15,0-1-15,-14 14 0,14-1 0,-13 1 16,0 0-16,0-14 0,13 1 16,-14-1-16,14-13 0,0 1 15,0-1-15,0 0 0,14-13 16,-1-13-1,0 0-15,14-1 0,-1-12 0,1-14 16,-1 14-16,0-1 0,1 1 0,-1 13 16,1-14-16,-1 27 0,1-13 0,-14 13 15,0 0-15,0 13 0,1 0 16,-1 1-16,-13-1 0,13 0 0,-13 14 16,0-14-16,13 0 0,-13 0 0,14 1 15,-14-1-15,0 0 0,13 0 16,0 0-16,14-26 15,-14 0-15,13 0 16,1-14-16,-1 1 0,1-14 0,12 0 16,-12 1-16,-1-1 0,1-13 15,12 14-15,-12-1 0,-1 0 0,14 0 16,0 1-16,-14 26 0,14-14 0</inkml:trace>
  <inkml:trace contextRef="#ctx0" brushRef="#br0" timeOffset="815.69">18005 4749 0,'-79'106'16,"65"-93"-16,14 1 0,-13-14 0,26 0 15,27-14-15,-14-12 16,27-1-16,0-12 0,13-1 0,-13 0 16,0 1-16,13 12 0,-26 1 15,0 13-15,-14 13 0,1 13 0,-14 0 16,0 0-16,-13 14 0,0-1 16,-13 14-16,0 13 0,-1 0 0,1 0 15,-13-1-15,13-12 0,-1 13 16,1-13-16,26-27 15,14-26 1,-1 0-16,1-14 0,-1 14 0,1-14 16,-1 27-16,-13-13 0,14 13 0,-14 13 15,0-13-15,0 27 0,1 13 16,-14-1-16,0 1 0,0 26 0,-14 0 16,14 0-16,-13-13 0,-13 13 15,13 1-15,-1-15 0,-12 1 0,13-13 16,-1 0-16,-12-14 0,13 1 15,13-14-15,-14 0 0,14 0 0,-13-13 16</inkml:trace>
  <inkml:trace contextRef="#ctx0" brushRef="#br1" timeOffset="20324.21">11020 4379 0,'-27'79'0,"27"-66"15,-13 27 1,0-27-16,13 1 0,0-1 0,0 0 15,0 0-15,0 1 16,0-1-16</inkml:trace>
  <inkml:trace contextRef="#ctx0" brushRef="#br1" timeOffset="20880.59">11205 4379 0,'-13'26'16,"13"-12"-1,-13-1-15,13 0 0,0 0 16,0 0-16,0 1 0,0-1 15,0 0-15,0 0 0,0 1 0,0-1 16,13 0-16,0 0 0,0-13 16,1 0-16,-1 0 15,0 0-15,0 0 0,0-13 16,1 0-16,-1 13 0,0-13 0,0-1 16,-13 1-16,14 0 0,-14 0 15,0-1-15,0 1 0,0 0 16,0 0-16,0 0 0,0-1 0,0 1 15,-14 0-15,14 0 0,-13-1 16,13 1-16,-13 13 0,0-13 16,-1 0-16,1 13 15,0 13 1,0-13-16</inkml:trace>
  <inkml:trace contextRef="#ctx0" brushRef="#br1" timeOffset="21366.1">11708 4247 0,'-13'0'0,"-1"0"0,1 13 16,13 0-16,-26 0 0,12 14 0,1-1 16,-13 14-16,-1-14 0,14 14 15,-13 0-15,-1-1 0,14 1 16,-14-13-16,1 12 0,13-12 0,-14-1 15,14 14-15,0-14 0,0 1 0,-1-14 16,1 13-16,0-12 0,13-1 16,-13 0-16,13 0 0,-14-13 0,14 14 15,0-1-15,0 0 16</inkml:trace>
  <inkml:trace contextRef="#ctx0" brushRef="#br1" timeOffset="21743.57">11800 4617 0,'40'13'31,"-40"0"-31,0 1 0,0-1 15,0 0-15,-13 0 0,0 14 0,-1-14 16,1 13-16,-13 1 0,13-1 16,-1-12-16,-12-1 0,13 0 0,-1 0 15,14 1-15,-13-1 0,0 0 16,0 0-16,13 0 0,-14-13 16,14 14-1,14-1-15,-1 0 16,0-13-16,0 13 0,1-13 15,-1 0-15,0 0 0,0 0 16,1 0-16,-1 0 0,0 0 0,0 0 16,0-13-16,1 13 0,-1 0 0,0-13 15,0 13-15,1 0 0,-1-13 16</inkml:trace>
  <inkml:trace contextRef="#ctx0" brushRef="#br1" timeOffset="22043.42">12621 4524 0,'26'-13'31,"-13"26"-31,1-13 0,12 0 0,-13 0 16,0 0-16,1 0 0,-1 0 0,0 0 15,0 0-15,1 0 0,-1 14 0,0-14 16</inkml:trace>
  <inkml:trace contextRef="#ctx0" brushRef="#br1" timeOffset="22261.06">12594 4723 0,'27'0'31,"-14"0"-31,13 0 0,-12-13 0,-1 13 15,13 0-15,-13 0 0,14 0 16,-14-14-16,14 14 0,-14 0 0,0 0 16,14 0-16,-14 0 0,0 0 15,0-13-15,0 13 16,1 0-16,-14 13 16</inkml:trace>
  <inkml:trace contextRef="#ctx0" brushRef="#br1" timeOffset="28020.27">14539 4379 0,'13'-13'0,"0"-1"16,1 14-16,-1-13 15,-40 26 32,14 1-47,-13-14 0,12 13 16,-12 0-16,13 0 0,-14 1 0,14-14 15,0 13-15,-14 0 0,14-13 16,13 13-16,-13 0 0,0-13 0,13 14 16,-14-14-16,14 13 0,14-13 15,-14 13-15,13-13 16,0 13-16,0-13 16,1 14-16,-1-14 0,0 13 15,0 0 1,-13 0-16,-13 1 15,0-1-15,0 0 16,-14 0-16,14-13 0,0 13 16,-14 1-16,14-14 0,-13 13 15,12-13-15,1 0 0,0 0 0,0 13 16,-1-13-16,1 0 0,0 0 16</inkml:trace>
  <inkml:trace contextRef="#ctx0" brushRef="#br1" timeOffset="28288.28">14896 4524 0,'-26'14'16,"12"-1"-16,1 0 0,0-13 0,0 13 16,-14 14-16,1-14 0,-1 13 15,-12 1-15,12-14 0,1 14 0,-1-14 16,1 13-16,-1-13 0,14 1 0,-13-1 16,12 0-16,1 0 15,0-13-15,0 14 0,-1-1 0,1-13 16</inkml:trace>
  <inkml:trace contextRef="#ctx0" brushRef="#br1" timeOffset="28505.1">15028 4551 0,'-119'92'16,"80"-65"0,-1 13-16,-13-14 0,13 0 0,1 14 15,-1-13-15,0 12 0,1-12 0,12-1 16,1 1-16,-1-14 0,1 13 0</inkml:trace>
  <inkml:trace contextRef="#ctx0" brushRef="#br1" timeOffset="29896.29">7355 5027 0,'27'13'15,"-1"-13"-15,-12 0 16,12 0-16,14 0 0,-14 0 0,27 0 16,0 0-16,0 0 0,0 0 0,0 0 15,-14 0-15,14 0 0,-13 0 16,0 0-16,-14 0 0,1 0 0,12-13 16,-25 13-16,12 0 0,-13 0 15,14 0-15</inkml:trace>
  <inkml:trace contextRef="#ctx0" brushRef="#br1" timeOffset="30208.23">7514 5186 0,'40'0'31,"-27"0"-31,14-13 0,-1 13 0,0 0 15,14-14-15,13 14 0,-13 0 16,-1-13-16,1 13 0,-13 0 0,12-13 16,-12 13-16,-1 0 0,1 0 15,-1 0-15,1 0 0,-14-13 16,0 13-16,0 0 0,0 0 0,1 0 16,12 0-16,-13 0 15,1 0 1,-14-14-1,26 28 17</inkml:trace>
  <inkml:trace contextRef="#ctx0" brushRef="#br1" timeOffset="31936.64">6271 6813 0,'53'-13'16,"-27"13"-16,0 0 0,27 0 15,-13-13-15,26 13 0,-13 0 0,13 0 16,0 0-16,14 0 0,-1 0 0,1 0 16,-14 0-16,0 0 0,-13 0 15,0 0-15,0 0 0,-1 0 0,-25 0 16,-1 0-16,1 13 0,-14-13 15,0 0-15,1 0 0</inkml:trace>
  <inkml:trace contextRef="#ctx0" brushRef="#br1" timeOffset="32171.52">6310 6919 0,'0'0'0,"27"0"15,-1 0-15,1 0 0,-1 0 0,27 0 16,0 0-16,13 0 0,-13 0 0,26 0 16,1 0-16,-27 0 15,13 0-15,-13 0 0,0 0 0,0 0 0,-14 0 16,-12 0-16,-1 0 0,1 0 16,-1 13-16,-13-13 0,14 0 15,-14 0-15,0 0 0,0 0 16,-13 13-16</inkml:trace>
  <inkml:trace contextRef="#ctx0" brushRef="#br1" timeOffset="33044.44">11681 7527 0,'14'0'0,"-1"14"15,0-14-15,0 13 0,1-13 16,-14 13-16,13-13 0,-13 13 16,-13 1-16,13-1 15,0 0-15,-14-13 0,14 13 16,-13-13-16,13 13 16,0 1-1,13-14-15,1 13 16,-1-13-1,0 13-15,0 0 16,-13 1-16,0-1 16,0 0-16,-13 0 15,0-13-15,0 14 0,-1-1 0,1-13 16,0 13-16,0-13 0,-14 13 0,14-13 16,0 13-16,-1-13 15,1-13 1,26 0-16</inkml:trace>
  <inkml:trace contextRef="#ctx0" brushRef="#br1" timeOffset="33245.25">11986 7474 0,'0'0'0,"13"0"0,0 0 16,-13 14-1,13-14-15,-13 13 0,0 0 16,0 0-16,0 1 0,0-1 0,0 0 15,0 14-15,0-14 0,0 0 0,0 0 16,0 0-16,0 14 0,0-14 16,0 0-16,0 1 0,0-1 0,-13-13 15,13 13-15,13 0 0,-13 1 16</inkml:trace>
  <inkml:trace contextRef="#ctx0" brushRef="#br1" timeOffset="33463.83">11906 7633 0,'0'0'0,"27"0"16,-14 0-1,0 0-15,0 0 0,1 0 16,-1 0-16,0 0 0,0 0 0,14 0 15,-14 0-15,0-13 0,14 26 16,-14-26-16,0 13 0,0 0 16,1 0-16,-1 0 0</inkml:trace>
  <inkml:trace contextRef="#ctx0" brushRef="#br1" timeOffset="33768.28">12343 7514 0,'0'-13'0,"26"13"31,-13 0-31,1 13 0,-1 0 16,0 1-16,-13-1 15,13 0-15,-13 0 0,0 1 0,0-1 16,0 0-16,0 0 0,0 0 16,0 1-16,0 12 0,-13-13 0,13 1 15,0-1-15,0 0 0,-13-13 0,13 13 16,0 1-16,-13-1 0,13 0 16</inkml:trace>
  <inkml:trace contextRef="#ctx0" brushRef="#br1" timeOffset="33955.33">12250 7726 0,'40'-13'32,"-27"13"-17,0 0-15,1 0 0,-1 0 0,13 0 16,-13 0-16,1-14 0,12 14 15,-13 0-15,1 0 0,-1 0 0,0 0 16,14-13-16,-14 13 0,0 0 0</inkml:trace>
  <inkml:trace contextRef="#ctx0" brushRef="#br1" timeOffset="34171.37">12766 7514 0,'13'0'0,"-26"0"0,40 13 47,-14 1-47,-13-1 0,0 0 16,13 0-16,-13 1 0,13 65 15,-13-66 1,14 0-16,-14 1 0,0-1 0,0 0 16,0 0-16,13 1 0,-13-1 0,0 0 15,0 0-15,0 0 16</inkml:trace>
  <inkml:trace contextRef="#ctx0" brushRef="#br1" timeOffset="34383.55">12674 7726 0,'0'-13'16,"26"13"-1,-13 0 1,0 0-16,1-14 0,-1 14 0,0 0 16,0 0-16,1 0 0,-1 0 0,13 0 15,-12 0-15,-1 0 0,0-13 16,0 13-16,0 0 0,1 0 16,-1 0-16</inkml:trace>
  <inkml:trace contextRef="#ctx0" brushRef="#br1" timeOffset="34835.87">13203 7501 0,'0'0'0,"0"13"0,0 0 16,13 1-16,-13-1 0,0 0 16,13 14-16,-13-14 0,13 13 0,-13-13 15,0 1-15,14 12 16,-28-13-16,14 1 0,0-1 0,-13 13 16,0-12-16,13-1 0,-13 0 15,-1 0-15,1-13 16,26-26 15,1 13-31,-1-1 0,0 1 16,0 0-16,14 0 0,-14-14 0,0 14 15,1 0-15,-1-14 0,-13 14 0,13 0 16,-13-14-16,0 14 0,0 0 0,0 0 16,0-1-16,0 1 15,-13 0-15,0 0 0,13-1 16,-14 14-16,1-13 0,0 13 15,-14 0-15,14 13 16,-13-13-16,-1 14 0,1-1 0,-14 0 16,14 0-16</inkml:trace>
  <inkml:trace contextRef="#ctx0" brushRef="#br1" timeOffset="35144.25">11589 8004 0,'0'0'0,"53"-14"0,-27 14 16,14-13-16,13 13 0,13-13 0,13 0 16,1 13-16,12-13 0,1-1 0,-1 14 15,1 0-15,13-13 0,-14 13 0,1-13 16,-14 13-16,14 0 0,-14-13 15,1 13-15,-14-14 0,13 14 0,-26 0 16,0 0-16,-13-13 0,0 13 0,-14 0 16,-13 0-16,14 0 15,-14 0-15,0 0 0,0 0 16,-13 13-16,-26 1 16,13-14-16,-14 13 15</inkml:trace>
  <inkml:trace contextRef="#ctx0" brushRef="#br1" timeOffset="35736.4">12488 8123 0,'14'13'31,"-1"0"-31,-26 0 16,13 1-16,-14-1 16,14 0-1,0 0 1,14-13-16,-1 14 0,0-14 16,0 13-16,0-13 0,-13 13 0,14 0 15,-1-13-15,-13 13 0,0 1 16,0-1-16,0 0 15,-13-13-15,13 13 0,-14-13 0,1 14 16,0-14-16,-13 13 0,12-13 16,1-13-16,-13 26 0,-1-13 15,14 0-15,-14 0 0,-12-13 0,-1 13 0</inkml:trace>
  <inkml:trace contextRef="#ctx0" brushRef="#br1" timeOffset="36895.4">9221 7514 0,'13'-26'31,"0"26"-31,0-14 16,1 14-16,-1 0 0,0-13 15,0 13-15,1 0 0,12 0 0,-13 0 16,0 0-16,1 0 0,-1 0 0,0 13 16,0-13-16,1 14 15,-14-1-15,13-13 0,-13 13 0,0 0 16,0 1-16,-13-1 0,13 0 15,-14 0-15,1 1 0,0-1 16,0 0-16,-1 0 0,-12 0 0,13 1 16,-14-1-16,14-13 0,-13 13 15,-1 0-15,1 1 0,13-14 16,-14 13-16,14-13 0,0 13 0,-1-13 16,1 0-16,0 0 0,0 13 0,-1-13 15,1 0 1,40 14-1,-1-14 1,-13 0-16,14 0 0,-1 13 0,1-13 16,12 0-16,-12 13 0,-1-13 15,1 0-15,-1 13 0,1-13 0,-14 13 16,0-13-16,0 0 0,1 14 16,-1-1-16,-13 0 15,0 0-15,-13 1 0,-1-1 16,1 0-16,0 0 0,-14 1 0,1-1 15,-14 0-15,14 0 0,13 0 16,-14 1-16,1-14 0,13 13 0,-14-13 16,14 13-16,-14-13 0,14 0 0,0 0 15,0 13-15,-1-13 0,1 0 16,0 0-16,0 0 16</inkml:trace>
  <inkml:trace contextRef="#ctx0" brushRef="#br1" timeOffset="37748.83">13930 7752 0,'66'-13'32,"-52"13"-32,12 0 0,1-13 15,-14 13-15,13 0 0,-12 0 16,12 0-16,-13 0 0,0 0 0</inkml:trace>
  <inkml:trace contextRef="#ctx0" brushRef="#br1" timeOffset="37927.32">13944 7951 0,'0'13'15,"13"-13"1,0 0-16,0 0 0,0-13 0,1 13 16,12 0-16,1 0 0,-14-13 0,13 13 15,-12 0-15,12-14 0,-13 14 16,14 0-16,-14 0 0,0-13 0,0 13 15</inkml:trace>
  <inkml:trace contextRef="#ctx0" brushRef="#br1" timeOffset="42330.67">4233 5014 0,'186'-13'32,"-120"13"-32,13-14 0,0 14 15,1 0-15,12-13 0,-12 13 0,12-13 16,1 13-16,-14 0 0,1-13 0,-1 13 15,-13-14-15,-13 14 0,53 0 16,-80-13-16,1 13 16</inkml:trace>
  <inkml:trace contextRef="#ctx0" brushRef="#br1" timeOffset="42543.21">4405 5318 0,'106'-13'16,"-53"13"-16,0 0 15,26-13-15,-13-1 0,14 14 0,12-13 16,-12 13-16,12-13 0,-12 13 0,-1-13 16,-13 13-16,14 0 0,-27 0 15,0-13-15,-14 13 0,1 0 0,0 0 16,-14 0-16</inkml:trace>
  <inkml:trace contextRef="#ctx0" brushRef="#br1" timeOffset="42884.59">4696 4141 0,'0'0'0,"318"-80"32,-239 67-32,1 0 0,-1 0 15,0-1-15,1 14 0,12-13 0,-12 13 16,-14 0-16,0 0 0,-13-13 0,0 13 16</inkml:trace>
  <inkml:trace contextRef="#ctx0" brushRef="#br1" timeOffset="43060.18">5067 4379 0,'264'-40'31,"-197"27"-31,12 0 0,0-1 0,1 1 16,12 13-16,-12-13 0,-1 13 15,0 0-15,1-13 0</inkml:trace>
  <inkml:trace contextRef="#ctx0" brushRef="#br1" timeOffset="46123.62">16536 2897 0,'40'-13'31,"-27"26"-31,1-13 16,-14 13-16,13 1 0,-13-1 16,13 0-16,-13 0 15,13 1-15,-13-1 16,14-13-16,-14 13 0,13 0 0,0 0 16,0 1-16,-13-1 15,13-13-15,-13 13 16,0 0-1,0 1-15,-13-14 0,0 13 16,0-13-16,0 0 16,-1 13-16,1-13 15</inkml:trace>
  <inkml:trace contextRef="#ctx0" brushRef="#br1" timeOffset="46739.66">18018 3082 0,'-53'-39'15,"40"25"1,0 1-16,0 0 0,-1 0 0,1 0 16,0-1-16,13-12 0,-13 13 0,13-14 15,0 1-15,13 13 0,-13-14 16,13 14-16,-13 0 0,13-14 0,1 27 15,-1-13-15,-13 0 0,13 13 0,0 0 16,0 0-16,1 0 0,-14 13 16,0 0-1,0 0-15,-14 14 0,1-14 0,0 14 16,0-14-16,0 13 0,-1-13 0,1 1 16,0-1-16,0 0 0,13 0 15,-14-13-15,14 14 0,-13-14 0,13 13 16,0 0-16,13-13 15,1 0-15,-1 0 0,13 0 16,1 0-16,-1-13 0,1 13 0,26-13 16,-14 13-16,1-14 0,0 14 0,-1-13 15,1 13-15,0 0 0,-1-13 16</inkml:trace>
  <inkml:trace contextRef="#ctx0" brushRef="#br1" timeOffset="47059.43">19116 2752 0,'13'-14'0,"14"1"15,-14 13 1,0 0-16,1 13 16,-14 1-16,13-1 0,-13 0 15,0 0-15,0 1 0,0-1 16,0 0-16,0 0 0,-13 1 0,13-1 16,0 13-16,0-13 0,0 1 0,-14-1 15,14 0-15,0 0 0,0 1 16,0-1-16,0 0 15,0 0-15</inkml:trace>
  <inkml:trace contextRef="#ctx0" brushRef="#br1" timeOffset="47215.43">18957 2990 0,'0'-13'0,"14"-1"15,-1 14-15,0-13 0,0 13 0,14 0 16,12-13-16,1 0 0,0 13 15,0-14-15,-1 14 0,-12-13 0,-1 13 16,1 0-16,-1 0 0,-13 0 0,1 0 16,-1-13-16</inkml:trace>
  <inkml:trace contextRef="#ctx0" brushRef="#br1" timeOffset="47755.05">17701 3321 0,'489'13'32,"-396"-13"-32,13 0 0,26 0 15,-26 0-15,26-13 0,-26 13 0,0 0 16,-14-14-16,14 1 0,-13 13 15,26-26-15,-40 12 0,14 1 16,-14-13-16,0-1 0,1 1 0,-14-1 0,13 1 16,-13-14-16,-13 14 0,14-14 15,-15 0-15,-12 1 0,0-1 16,-14-13-16,1 27 0,-27-27 0,0 13 16,0 0-16,-27-13 0,1 0 0,-14 1 15,-26-1-15,-13-14 0,-14 15 0,0-1 16,-26 0-16,0 0 0,0 13 15,-26-13-15,-1 14 0,-13-1 0,1 13 16,-14 1-16,-13-1 0,-1 14 0,-12 13 16,-1 0-16,1 27 15,-53-1-15,-1 14 0,14 13 0,13 0 16,0 13-16,27 13 0,13 1 0,13 12 16,53-12-16,0-14 0,26 13 15,27-13-15,0 14 0,39-27 0,14-1 16,13-12-16,13 13 0,27 0 0,26-13 15,27-1-15,26 1 0,13-14 0,27 1 16,0-1-16,26-12 0,0-14 16,0 13-16,14-13 0,-14-13 0,185-1 15,-198 1-15,0 13 16,-26-13-16,-14 0 0,-39-1 0</inkml:trace>
  <inkml:trace contextRef="#ctx0" brushRef="#br1" timeOffset="49879.32">18084 4313 0,'27'0'32,"-14"0"-32,0 0 0,0 0 0,1 0 15,-1 13-15,0-13 0,0 13 16,-13 0-16,0 1 15,0-1-15,-13-13 0,0 13 16,13 0-16,-13-13 0,13 14 0,-14-1 16,14 0-1,14 0-15,-1 0 16,0 1-16,0-1 0,1-13 16,-14 13-16,13-13 0,-13 13 15,13-13-15,-13 14 0,-13-1 16,13 0-16,-13 0 15,-1 1-15,-12-1 0,-1-13 16,14 13-16,0-13 0,0 0 16,0 13-16,-1-13 0,1 0 0,0 0 15</inkml:trace>
  <inkml:trace contextRef="#ctx0" brushRef="#br1" timeOffset="50453.02">19182 4352 0,'0'0'0,"-26"0"15,13 14-15,-1-14 0,-12 13 16,13-13-16,-14 13 0,14 0 15,-13 1-15,-1-1 0,14 0 0,0-13 16,-1 13-16,1 0 0,0 1 0,0-1 16,-1 0-16,14 0 15,14 1-15,-14-1 16,13-13-16,0 13 0,0-13 0,14 0 16,-14 13-16,14-13 0,-1 0 0,0 0 15,-12 0-15,12 0 0,1 0 16,-14 0-16,13-13 0,-12 13 15,-1 0-15,0 0 0,0-13 0,0 13 16,1-13-16</inkml:trace>
  <inkml:trace contextRef="#ctx0" brushRef="#br1" timeOffset="50648.38">19169 4352 0,'-13'14'31,"26"12"-16,-13-13-15,0 1 0,0-1 0,0 0 16,0 13-16,0-12 0,0 12 0,0-13 16,0 14-16,0-14 0,0 0 15,0 14-15,0-14 0,0 0 16,0 0-16,0 1 0,0-1 16,13 0-16</inkml:trace>
  <inkml:trace contextRef="#ctx0" brushRef="#br1" timeOffset="51055.9">20055 4419 0,'-26'-14'31,"-1"14"-31,14 0 0,0 14 16,0-14-16,0 0 0,-1 0 15,14 13-15,-13-13 16,26 13-16,-13 0 15,14 0-15,-14 1 0,13-14 16,-13 13-16,13 0 0,0 0 16,-13 1-16,0-1 15,0 0-15,-13-13 0,13 13 0,-13 1 16,0-14-16,-1 13 0,1 0 0,0-13 16,0 0-16,-1 13 0,1-13 15,0 0-15,13 13 0,-13-13 0</inkml:trace>
  <inkml:trace contextRef="#ctx0" brushRef="#br1" timeOffset="51412.71">20558 4299 0,'-26'14'32,"26"-1"-32,-14 0 0,14 0 15,-13 1-15,13 12 0,0-13 0,0 14 16,0-14-16,0 0 0,13 14 0,-13-14 16,14 0-16,-1 14 15,0-14-15,0 0 0,1 0 16,-1-13-16,-13 14 0,13-14 15,0 0-15,-13-14 16,-13 1 0,0 0-1,0 13-15,-1-13 16,1 13-16,13-14 0,-13 14 16,13-13-1</inkml:trace>
  <inkml:trace contextRef="#ctx0" brushRef="#br1" timeOffset="51776.52">21206 4247 0,'27'-14'0,"-54"28"0,67-28 0,-27 14 0,14 0 15,-14 14 1,0-14-16,-13 13 0,13-13 15,1 13-15,-14 0 0,13 0 0,-13 1 16,0-1-16,13 0 0,-13 0 0,0 1 16,0-1-16,0 0 0,0 0 15,0 1-15,0-1 0,0 0 0,0 0 16,-13 0-16,13 1 0,0-1 16,0 0-1,-13-13-15</inkml:trace>
  <inkml:trace contextRef="#ctx0" brushRef="#br1" timeOffset="51977.57">21193 4419 0,'27'0'0,"-54"0"0,67-14 0,-27 14 16,0 0-16,14 0 0,-14 0 0,27 0 0,-14 0 15,1 0-15,12-13 0,-12 13 16,12 0-16,-12 0 0,13 0 0,-14 0 15,0 0-15,1 0 0,-14-13 16,14 13-16,-14 0 0,0 0 0,0 13 16</inkml:trace>
  <inkml:trace contextRef="#ctx0" brushRef="#br1" timeOffset="53828.62">19751 4643 0,'0'-13'15,"-13"40"17,13-14-17,0 0-15,-13 0 0,13 1 0,0 12 16,0-13-16,-14 0 0,14 14 0,-13-14 15,13 14-15,0-1 16,-13-13-16,13 14 0,0-14 0,0 13 16,0-12-16,-13-1 0,13 13 0,0-12 15,0-1-15,0 0 0,0 0 0,-13 1 16,13-1-16,0 0 16,0 0-1,13-39 16,-13 13-31,0-1 0,13 1 16,-13-13-16,13 12 0,-13-12 0,13 13 16,-13-14-16,14 14 15,-14-13-15,0 12 0,13 1 0,-13 0 16,0 0-16,13-1 0,-13 1 0,0 0 16,13 0-16,-13-1 0,0 1 31,0 40-16,0-14-15,0 0 0,0 14 16,0-14-16,0 0 0,-13 14 16,13-1-16,-13 0 0,13 1 0,0-14 15,-13 14-15,13-1 0,0-13 0,-14 14 16,14-14-16,0 0 0,-13 0 16,13 1-16,0-1 0,0 0 15,-13 0-15,13-26 31,-13 0-15,13 0-16,0-1 0</inkml:trace>
  <inkml:trace contextRef="#ctx0" brushRef="#br1" timeOffset="54518.38">19778 4617 0,'-27'26'47,"14"-12"-47,0-1 15,-1 0-15,14 0 0,-26 14 16,13-14-16,0 0 0,-1 0 15,14 1-15,-13-1 0,-13 13 16,26-12-16,-14-14 0,1 13 16,13 0-16,-13 0 15,0 1 1,39-41 15,-13 14-15,1 0-16,-1-1 15,0 1-15,0 0 0,1 0 16,-14-14-16,13 14 0,0 0 16,-13 0-16,13-1 0,0 1 15,-13 0-15,14 0 0,-14-1 16,13 14 0,-13-13-16,13 26 15,0 1-15,1-1 16,-14 0-16,13 0 15,0-13-15,0 14 0,-13-1 16,14 0-16,-1 0 0,0 0 0,0-13 16,0 14-16,-13-1 0,14-13 0,-1 13 15,0 0-15,0-13 16,-13 14-16,14-14 0,-14 13 16,13 0-16</inkml:trace>
  <inkml:trace contextRef="#ctx0" brushRef="#br1" timeOffset="55135.15">19698 5517 0,'-13'13'16,"0"-13"0,13 13-16,-13 0 0,-1-13 0,1 13 15,13 1-15,-13-1 0,0 0 0,-1-13 16,1 13-16,13 1 0,-13-1 16,0 0-16,13 0 0,-14 1 15,14-1-15,0 0 16,14 0-16,-1-13 15,0 0-15,0 0 16,1 0-16,-1 0 0,0 0 0,0 0 16,1 0-16,-1 0 0,13-13 0,-13 13 15,1 0 1,-1-13-16,0 13 0,-13-13 16</inkml:trace>
  <inkml:trace contextRef="#ctx0" brushRef="#br1" timeOffset="55344.15">19764 5569 0,'0'-13'31,"0"40"-15,0-14-16,-13 0 0,13 14 16,0-14-16,0 0 0,-13 14 0,13-14 15,0 13-15,-13-13 0,13 14 0,-14-14 16,14 0-16,0 1 15,-13-1-15,13 0 0,0 0 16,0 1-16,0-1 16</inkml:trace>
  <inkml:trace contextRef="#ctx0" brushRef="#br1" timeOffset="55511.34">19936 5662 0,'0'-13'0</inkml:trace>
  <inkml:trace contextRef="#ctx0" brushRef="#br1" timeOffset="55864.32">19950 5556 0,'26'-13'31,"-13"13"-31,0 0 0,1 13 16,-1-13-16,-13 13 15,13-13-15,0 14 16,-13-1-16,0 0 0,0 0 16,0 1-16,0-1 0,0 0 0,0 0 15,0 1-15,0-1 16,0 0-16,0 0 0,0 0 0,0 1 15,0-1-15,0 0 16,0 0 0,0 1-16</inkml:trace>
  <inkml:trace contextRef="#ctx0" brushRef="#br1" timeOffset="56092.73">20042 5741 0,'13'-13'31,"-13"0"-31,14 13 16,-1 0-16,-13-13 0,13 13 15,0 0-15,14-13 16,-14 13-16,0 0 16</inkml:trace>
  <inkml:trace contextRef="#ctx0" brushRef="#br1" timeOffset="56382.42">20386 5596 0,'-13'0'0,"0"0"0,-1 0 15,1 0-15,0 0 16,13 13 0,0 0-16,0 1 0,0-1 15,0 0 1,0 0-16,0 1 0,13-1 15,-13 0-15,0 0 16,0 0-16,0 1 0,-13-1 16,0 0-16,0 0 0,-1 1 15,1-1-15,-13 0 16,12 0-16,-12 1 0,13-1 0,-14 0 16</inkml:trace>
  <inkml:trace contextRef="#ctx0" brushRef="#br1" timeOffset="56615.85">19659 6072 0,'66'-13'16,"-53"13"-16,119-13 15,-105-1-15,-1 14 0,14 0 16,-1-13-16,-12 13 0,13 0 15,-14-13-15,1 13 0,-1 0 0,0 0 16,-12 0-16,-1 0 0,0 0 0,0 0 16,-13 13-1</inkml:trace>
  <inkml:trace contextRef="#ctx0" brushRef="#br1" timeOffset="56853.5">19553 6178 0,'0'0'0,"-14"13"0,1-13 0,40 0 31,-14 0-31,13 0 0,1-13 16,26 13-16,-14 0 0,14 0 16,-13-13-16,13 13 0,0 0 0,-13-13 15,12 13-15,-12 0 0,-13 0 0,-1 0 16,-13 0-16,14 0 0,-14 0 15,0 0-15,0 0 0,1 0 0,-1 0 16,0 0-16,0 0 16</inkml:trace>
  <inkml:trace contextRef="#ctx0" brushRef="#br1" timeOffset="60749.28">19963 4286 0,'0'-13'0,"-13"0"15,-1 26-15,1-13 16,0 13-16,0 0 16,-1 1-16,14-1 0,-13 0 15,0 0-15,0 1 0,13 12 16,-13-13-16,-1 14 0,14-1 0,-13-13 16,13 14-16,0-1 0,0-12 0,0 12 15,0-13-15,0 14 0,0-14 16,13 0-16,-13 14 0,27-1 15,-27-13-15,13 1 0,0-1 16,0-13-16,1 13 0,-1 0 16,0-13-16,0 0 0,1 0 15,-1 0-15,0 0 0,0 0 16,0 0-16,1-13 0,-1 13 16,0 0-16,-13-13 0,13 13 0,1-13 15,-1-1-15,0 1 0,0 0 16,1 0-16,-14-1 0,13 1 15,-13 0-15,13 0 16,-13 0-16,13 13 0,-13-14 0,0 1 16,13 0-16,-13 0 0,0-1 0,0 1 15,14 13-15,-14-13 0,0 0 16,0-1-16,0 1 0,0 0 16,0-13-16,0 12 15,0 1-15,0 0 16,0 0-16,-14-1 15,14 1-15,-13 0 16,13 0-16,-13 13 0,13-14 16,-13 1-1,0 0-15,-1 13 16,14-13-16,-13 13 0,0 0 16,0-13-16,-1 13 15,1 0-15,0 0 0,0 0 16,-1 0-16,1 0 0,0 0 15,0 0-15,0 0 0,-1 13 16,1-13-16,0 0 0,0 13 0,-1-13 16,1 0-16,13 13 0,-13 0 0,0-13 15,13 14-15,-13-1 0,13 0 16,-14-13-16,14 13 0</inkml:trace>
  <inkml:trace contextRef="#ctx0" brushRef="#br1" timeOffset="61512.61">20095 3823 0,'-13'27'15,"13"-14"-15,-13 13 0,13-12 16,0 12-16,0 1 0,-14-14 15,14 13-15,0 1 0,0-1 16,0 1-16,0-14 0,-13 13 0,13-12 16,0 12-16,0-13 0,0 0 15,0 1-15,0-1 0,-13 0 0,13 0 16,0 1-16,0-1 0,0 0 16</inkml:trace>
  <inkml:trace contextRef="#ctx0" brushRef="#br1" timeOffset="61860.65">19963 4154 0,'13'40'16,"-13"-27"0,0 0-16,13-13 0,-13 13 15,13 1-15,1-1 16,-1 0-16,0-13 16,0 0-1,1 0-15,-1 0 16,-13-13-16,13 13 15,0-13 1,1 13 0,-1 0-16</inkml:trace>
  <inkml:trace contextRef="#ctx0" brushRef="#br1" timeOffset="63320.5">18111 4789 0,'13'26'0,"159"41"15,-119-41 1,13-13-16,0 0 0,0 1 0,14-1 16,-14-13-16,13 13 0,1-13 15,-1 0-15,0 0 0,-13-13 0,-13 13 16,14-13-16,-28 13 0,14-14 0,0 1 15,-13-13-15,-1 13 0,1-1 16,26-39-16,0 0 16,-39 14-16,-1-1 0,-12 0 0,12 1 15,-13-14-15,-13 13 0,13 0 16,-13-12-16,0 12 0,-13-26 16,-13 13-16,13 0 0,-27 0 0,13 0 15,-12 0-15,-14 0 0,0 14 0,-13-1 16,-14 0-16,1 14 0,0-1 15,-1 14-15,-12 0 0,-1 13 0,0 0 16,1 0-16,-40 26 0,26 1 0,-13-1 16,13 27-16,-13 0 0,13 0 15,0 13-15,13 0 0,1 0 0,-1 14 16,14-1-16,-1 0 0,14 1 0,13-1 16,1 1-16,25-14 0,14 0 0,0 0 15,13-13-15,13 13 16,13-13-16,14 0 0,0 0 0,13-13 15,26-14-15,14 14 0,-1-27 0,1-13 16</inkml:trace>
  <inkml:trace contextRef="#ctx0" brushRef="#br1" timeOffset="64216.28">21471 3982 0,'0'-13'15,"-27"-53"1,14 66-16,0-14 15,-13 1-15,12 0 0,-25 0 0,-1-1 16,0 14-16,-13-13 0,0 13 0,14 0 16,-27 13-16,13-13 0,-27 14 15,14-1-15,0 13 0,0-12 0,-13 12 16,12 1-16,1 12 0,0 1 0,13-14 16,0 14-16,14 0 0,-14-1 15,26 14-15,-13-13 0,14 13 0,13-13 16,0-1-16,13 1 0,-14 0 0,28-1 15,-1 1-15,0 13 0,13-13 16,14 13-16,0-14 0,26 1 16,-13 0-16,26-14 0,-13 14 0,40-14 15,-26-13-15,12 14 0,1-14 0,-14 0 16,27-13-16,-13 0 0,-14 0 16,14 0-16,-1 0 0,1-13 0,-14 0 15,1-14-15,-1 14 0,-13-13 0,0-1 16,0 1-16,1-1 0,-1-12 15,0-1-15,-13 0 0,13 1 16,-13-1-16,0 0 0,-14 1 0,1-14 16,-13 13-16,-1-13 0,-13 0 0,-13 13 15,-13-26-15,0 13 0,-14 1 0,-12-1 16,-1 0-16,-13 0 0,0 13 16,-26-13-16,-14 13 0,1 1 0,-1 26 15,14-1-15,-107-12 16,94 13-16,-80 13 0,92 13 15,1 0-15,13 0 0,-13 1 0,26 12 16,-14-13-16,15 27 0,-1-14 16,0 1-16,13-1 0</inkml:trace>
  <inkml:trace contextRef="#ctx0" brushRef="#br1" timeOffset="69707.38">17912 8017 0,'66'-13'0,"-52"26"0,-1-13 0,0 0 0,0 13 15,1-13-15,-1 0 0,-13 13 16,0 1-16,13-14 0,-26 13 0,13 0 16,0 0-16,-13 0 0,-1-13 0,1 14 15,0-1-15,0 0 0,13 0 16,-14-13-16,14 14 0,-13-14 15,13 13-15,13 0 0,1 0 16,-1-13-16,-13 14 16,13-1-16,0-13 0,1 13 0,-14 0 15,13 0-15,0 1 0,-13-1 16,0 0-16,0 0 0,-13 1 16,0-1-16,-1 0 15,1 0-15,-13-13 0,12 14 16,-38-1-16,25 0 0,-13 0 15,27-13-15,0 13 0,0-13 16,-1 0-16,1 0 0</inkml:trace>
  <inkml:trace contextRef="#ctx0" brushRef="#br1" timeOffset="70553.32">19169 8057 0,'-26'13'31,"12"-13"-31,-12 13 0,13 0 0,-14 0 16,14-13-16,-13 14 0,12-1 0,-12 0 16,13 0-16,-1 1 15,1-1-15,0 0 0,0 0 0,-1-13 16,14 14-16,-13-1 0,13 0 0,0 0 15,13 0 1,1-13-16,-1 0 0,0 0 16,0 14-16,14-14 0,-14 0 0,14 0 15,-1 0-15,0 0 0,1 0 16,-1 0-16,-12-14 0,12 14 0,1 0 16,-14 0-16,0 0 0,0-13 0,0 13 15,1 0-15,-14-13 0,13 13 0,-13-13 16</inkml:trace>
  <inkml:trace contextRef="#ctx0" brushRef="#br1" timeOffset="70751.42">19143 8083 0,'-14'26'0,"28"-52"0,-28 66 16,1-27-16,13 13 0,0-12 0,-13 12 15,13-13-15,0 14 0,-13 26 16,-1 13-16,1-13 16,13-40-16,0 0 15,-13 14-15,13-14 0,0 0 0,0 0 16,13-13-16,-13 14 0,13-14 0</inkml:trace>
  <inkml:trace contextRef="#ctx0" brushRef="#br1" timeOffset="71496.8">20413 8043 0,'26'0'0,"1"0"15,-14 0 1,-40 0 15,14 14-15,-13-14-16,-1 13 0,-13-13 15,27 13-15,0-13 0,0 13 16,13 0 0,13 1-1,0-14-15,0 13 0,1 0 0,12 0 16,-13-13-16,1 14 0,12-1 0,-13-13 16,1 13-16,-14 0 0,13-13 15,-13 14-15,0-1 0,0 0 16,-13 0-16,-1-13 0,-12 13 15,-1 1-15,1-1 0,-14 0 16,14 0-16,-1-13 0,1 14 0,13-14 16,-1 13-16,1-13 0,0 0 0</inkml:trace>
  <inkml:trace contextRef="#ctx0" brushRef="#br1" timeOffset="72331.98">21775 7990 0,'-39'0'31,"25"14"-31,1-1 0,0 0 16,0 14-16,-14 12 0,14 1 15,0-14-15,-1 1 0,14-1 16,-13-12-16,26 12 0,-13-13 0,0 14 15,14-14-15,-1 0 0,-13 0 0,13 1 16,0-1-16,1-13 0,-1 13 16,0-13-16,0 0 0,1 0 0,-14-13 31,-14 0-31,1-1 16,0 14-16,-14-13 0,14 13 15,0-13-15,-14 13 16,1-13-16,13 13 0,0 0 15,-1 0-15</inkml:trace>
  <inkml:trace contextRef="#ctx0" brushRef="#br1" timeOffset="72968.28">22688 7885 0,'-13'0'16,"39"0"15,-13 13-15,1-13-16,-1 0 0,13 0 16,-12 0-16,-1 0 0,0 0 15,0 0-15,1 0 0,-1 0 0,0 0 16,0 0-16,-13 13 15,13-13-15,1 13 16,-14 1-16,0-1 16,-14 0-16,14 0 0,0 0 0,0 1 15,0 12-15,-13-13 0,13 14 16,0-14-16,0 0 0,-13 14 0,13-14 16,0 13-16,0-12 0,0 12 0,0-13 15,0 1-15,0-1 0,0 0 16,0 0-16,0 0 0,0 1 15,13-14-15,-13 13 0,13 0 16</inkml:trace>
  <inkml:trace contextRef="#ctx0" brushRef="#br1" timeOffset="73152.88">22635 8202 0,'53'0'16,"-27"0"-16,-12 0 0,12 0 0,54-13 15,-41 13 1,1 0-16,-14 0 0,14 0 0,-13 0 16,-1 0-16,0 0 0,1-13 0,-14 13 15,0 0-15</inkml:trace>
  <inkml:trace contextRef="#ctx0" brushRef="#br1" timeOffset="74104.23">19870 8440 0,'-13'13'15,"26"14"1,-13-14-16,0 0 0,0 14 16,0-1-16,-13 27 0,13-13 0,0 0 15,0 12-15,0 1 0,-13 0 0,13 0 16,0-13-16,-13 0 0,13 13 16,0-14-16,-14-12 0,14-1 0,0 1 15,0-1-15,-13-13 0,13 1 0,0-1 16,0 0-16,0 0 0,-13-13 15,0-13 1,13 0 0,-14 0-16,14-1 0,0 1 15</inkml:trace>
  <inkml:trace contextRef="#ctx0" brushRef="#br1" timeOffset="74853.5">19910 8427 0,'-13'0'16,"-1"13"0,1 0-1,0 1-15,13-1 0,-13 0 0,0-13 16,-1 13-16,1 1 0,13-1 0,-13 0 15,0 0-15,-1 0 0,14 1 16,-13-14-16,0 13 0,13 0 0,-13 0 16,13 1-1</inkml:trace>
  <inkml:trace contextRef="#ctx0" brushRef="#br1" timeOffset="75056.14">19831 8453 0,'39'53'31,"-39"-39"-31,13-14 0,-13 13 16,14 0-16,-14 0 0,13 0 0,0-13 15,0 14-15,-13-1 0,14 0 0,-1-13 16,0 13-16,0 1 0,0-1 15,1-13-15</inkml:trace>
  <inkml:trace contextRef="#ctx0" brushRef="#br1" timeOffset="75707.3">19420 9882 0,'0'0'15,"14"-13"-15,-41 39 32,14-12-17,0-14-15,13 13 16,-13 0-16,-1-13 0,14 13 0,-13 1 15,0-1-15,0 0 16,-1 0-16,14 0 31,0 1-15,14-14-16,-1 0 16,0 0-16,0 0 0,1 0 15,-1 0-15,0 0 0,0 0 0,0 0 16,1 0-16,-1 0 0,0 0 0,0 0 15,1-14-15,-1 14 16</inkml:trace>
  <inkml:trace contextRef="#ctx0" brushRef="#br1" timeOffset="75947.36">19473 9856 0,'-13'53'32,"13"-40"-17,0 0-15,0 0 0,0 1 0,0 12 16,0-13-16,0 0 0,0 14 0,-13-14 16,13 0-16,0 1 15,0-1-15,0 0 0,0 0 0,0 1 16,0-1-16,0 0 0,0 0 15</inkml:trace>
  <inkml:trace contextRef="#ctx0" brushRef="#br1" timeOffset="76116.67">19632 10014 0,'0'-13'0</inkml:trace>
  <inkml:trace contextRef="#ctx0" brushRef="#br1" timeOffset="76571.89">19725 9882 0,'13'0'0,"0"0"0,14 0 31,-14 13-31,0-13 15,0 0-15,-13 14 16,14-1-16,-14 0 16,0 0-1,0 1-15,0-1 0,0 0 16,0 0-16,-14 0 0,14 1 0,0-1 16,0 0-16,0 0 15,0 1-15,0-1 0,0 0 16,0 0-16,0 1 15,14-14 1</inkml:trace>
  <inkml:trace contextRef="#ctx0" brushRef="#br1" timeOffset="76820.62">19751 10028 0,'40'0'32,"-40"-14"-32,26 14 0,-12 0 15,-1 0-15,0 0 16,13 0-1,-12-13-15,-1 13 16</inkml:trace>
  <inkml:trace contextRef="#ctx0" brushRef="#br1" timeOffset="77188.8">20135 9922 0,'-27'13'32,"14"-13"-32,0 13 0,0-13 15,-1 0-15,14 14 16,-13-14-16,13 13 0,-13-13 15,13 13-15,13 0 16,-13 0 0,13 1-1,-13-1-15,14 0 16,-14 0 0,-14 1-16,1-1 15,0 0-15,0-13 16,-1 0-16,1 13 0,0-13 15,0 0-15,0 14 0,-1-14 0</inkml:trace>
  <inkml:trace contextRef="#ctx0" brushRef="#br1" timeOffset="77752.63">19275 9842 0,'-27'27'16,"-12"132"-1,39-133 1,13 14-16,-13-14 0,13 1 16,0 12-16,1-12 0,12-1 0,-13-12 15,14 12-15,-1-26 0,1 13 0,12-13 16,-12 14-16,13-14 0</inkml:trace>
  <inkml:trace contextRef="#ctx0" brushRef="#br1" timeOffset="78077.28">20161 9790 0,'13'13'0,"-13"0"0,27 13 16,-27-12-16,13 12 0,-13-13 16,0 14-16,0-14 0,0 14 15,-13 12-15,0-12 0,-1 12 0,1-12 16,0-1-16,0 1 0,-14-1 0,1 1 15,13-14-15,-1 13 0,1-12 16,0-1-16,-14 0 0</inkml:trace>
  <inkml:trace contextRef="#ctx0" brushRef="#br1" timeOffset="78984.16">19566 10623 0,'0'0'0,"-27"13"0,14 0 16,0-13-16,0 14 0,0-1 16,-1 0-16,1 0 0,13 1 0,-13-1 15,0 0-15,13 0 0,-14 14 16,1-14-16,13 0 0,0 0 15,0 1-15,0 12 16,0-13-16,13-13 16,1 14-16,-1-14 15,0 0-15,0 0 16,1 0-16,-1 0 16,0 0-16,0-14 0,0 14 15,1-13-15,-1 13 0,-13-13 16,13 13-16,0-13 0,-13-1 15,14 1-15,-14 0 16,13 13-16,-13-13 16,-13 26 46,13 0-46,13 0-16,0-13 15,0 14 1,1-14 0,-1 0-16,0 0 15,0 0-15,0 0 16,1 0-16,-1 13 16,0-13-1,0 13-15,1-13 16,-1 0-16,0 0 31,14 0-31,-14 0 16,0-13-16,13 13 15,-12 0-15,-1 0 0</inkml:trace>
  <inkml:trace contextRef="#ctx0" brushRef="#br1" timeOffset="79087.31">19989 10861 0,'13'0'16</inkml:trace>
  <inkml:trace contextRef="#ctx0" brushRef="#br1" timeOffset="80430.27">20585 7938 0,'0'-14'31,"-14"1"-31,1 13 0,13-13 0,-13 13 16,0-13-16,-1 13 16,1 0-16,-13 0 0,13 0 15,-1 0-15,1 0 0,-13 13 16,-1-13-16,1 13 0,-1 0 0,-12 1 15,12 12-15,1 0 0,-1-12 0,14 12 16,-14 1-16,14-1 0,-13 0 16,13 14-16,-1-13 0,1-1 0,13 1 15,-13-1-15,13 0 0,0-12 16,0 12-16,0 1 0,13-1 0,-13-13 16,13 14-16,1-1 0,-1 1 15,13-14-15,-13 0 0,14 0 0,-14 1 16,14-1-16,12 0 0,-12 0 0,12-13 15,-12 13-15,-1-13 0,14 0 16,-13 0-16,-14 0 0,26 0 0,-12-13 16,-1 13-16,-12-13 0,12 13 0,1-13 15,-14 0-15,13 13 16,-13-14-16,14 1 0,-14-13 0,0 12 0,1 1 16,-1-13-16,-13 13 0,13-14 15,0 14-15,-13-14 0,13 1 0,-13 13 16,0-14-16,0 14 0,0-13 15,0 12-15,0-12 0,-13 13 0,13-14 16,-13 1-16,0 12 0,0-12 0,-14 0 16,1-1-16,-1 14 0,1-14 15,-1 14-15,1-13 0,-14 13 0,14 13 16,-1-14-16,1 14 0,-1-13 0,1 13 16,-1 0-16,1 13 0,-1-13 15,1 14-15,0-1 0,-14 13 0,13 1 16,14-1-16,-13 1 0,12-14 0,1 26 15</inkml:trace>
  <inkml:trace contextRef="#ctx0" brushRef="#br1" timeOffset="81587.47">17926 8705 0,'39'0'15,"186"-27"1,-159 14-16,14 13 16,-14-13-16,0 13 0,0-13 0,0-1 15,0 14-15,-13-13 0,13 13 16,-13 0-16,-13-13 0,13 13 0,-27 0 16,1-13-16,-1 13 0,-12 0 0,-1 0 15,0 0-15,-53 13 31,14-13-31,-1 0 16,-26 13-16,14-13 0,-14 0 0,-13 13 16,-14 1-16,14-14 0,-13 13 15,-1 0-15,1-13 0,0 13 0,-1 1 16,1-1-16,13 0 0,0-13 0,13 13 16,0-13-16,26 13 0,1-13 0,13 0 15,13 14-15,26-14 16,14 0-16,0 0 15,26 13-15,13-13 0,0-13 16,1 13-16,-1 0 0,1 0 16,-14 0-16,13-14 0,-26 14 0,0 0 15,0-13-15,0 13 0,-27 0 0,14 0 16,-27 0-16,14-13 0,-14 13 16,13 0-16,-13 0 0,-52 0 31,26 0-31,-14 0 15,14 0-15,-14 0 0,1 0 0,-1 13 16,1-13-16,13 0 0,0 0 0</inkml:trace>
  <inkml:trace contextRef="#ctx0" brushRef="#br1" timeOffset="82326.98">21894 8572 0,'80'-13'0,"-160"26"0,213-26 16,-67 13-16,26 0 0,-12 0 0,12-13 15,14 13-15,-13 0 0,13-13 0,-1 13 16,-12-13-16,0 13 0,12 0 15,-25-14-15,-1 14 0,1-13 0,-28 13 16,1 0-16,-26 0 0,-1-13 0,-12 13 16,-67 13-1,0-13-15,-13 13 16,-27 1-16,0-1 0,-26 0 0,-13 0 16,-14 0-16,14 14 0,-13-14 0,12 0 15,-12 14-15,13-14 0,13 0 16,26 1-16,14-14 0,-1 13 0,14 0 15,26 0-15,14-13 0,13 13 0,-1-13 16,54 0-16,13 0 16,26-13-16,14 13 0,39-13 15,1 0-15,12 13 0,-13-13 0,14 13 16,-14-14-16,14 14 0,-54-13 16,14 13-16,-13 0 0,-14-13 15,1 13-15,-28 0 0,1 0 0,-26 0 16,-1 0-16,-13 13 0,1-13 0,-41 13 15,1-13 1,-14 0-16</inkml:trace>
  <inkml:trace contextRef="#ctx0" brushRef="#br1" timeOffset="83208.05">20426 8612 0,'0'0'16,"0"13"-16</inkml:trace>
  <inkml:trace contextRef="#ctx0" brushRef="#br1" timeOffset="101272.49">6218 2368 0,'344'-66'0,"-252"53"0,14-1 0,13 1 16,-13-13-16,13 12 0,-26 1 15,-1 0-15,27-13 0,-26 12 0,13 1 16,-14 0-16,1 0 0,-14-1 0,1 14 16,-1-13-16,-26 0 0,-13 13 15</inkml:trace>
  <inkml:trace contextRef="#ctx0" brushRef="#br1" timeOffset="101532.57">6191 2633 0,'119'-27'0,"-238"54"0,318-80 15,-120 39-15,27-12 0,0 0 0,13-1 16,0 14-16,-13-14 0,-14 14 0,1 0 16,-1 0-16,1-1 0,0 1 15,13 0-15,-27 0 0,14 0 0,-14-1 16,0 14-16,1-13 0,-14 0 0,0 13 16,-13-13-16,0 13 0,-14 0 15,1-14-15,-13 14 0,-1 0 0</inkml:trace>
</inkml:ink>
</file>

<file path=ppt/ink/ink15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2:43.357"/>
    </inkml:context>
    <inkml:brush xml:id="br0">
      <inkml:brushProperty name="width" value="0.05292" units="cm"/>
      <inkml:brushProperty name="height" value="0.05292" units="cm"/>
      <inkml:brushProperty name="color" value="#0070C0"/>
    </inkml:brush>
  </inkml:definitions>
  <inkml:trace contextRef="#ctx0" brushRef="#br0">15769 1892 0,'0'-40'0,"0"27"31,0 0-31,27 39 16,-27 1-16,13 12 15,-13 1-15,0 0 0,13 13 0,-13 13 16,0 0-16,0 13 0,0-13 0,-13 0 16,13 1-16,0-1 0,-13 0 15,13 0-15,0-13 0,0-13 0,-14 13 16,14-14-16,0-12 0,0-1 0,0 1 15,0-14-15,0 13 0,0-12 16,0-1-16,0 0 0,0 0 0,-13-13 16</inkml:trace>
  <inkml:trace contextRef="#ctx0" brushRef="#br0" timeOffset="2094.48">15822 1812 0,'13'0'15,"1"0"1,-1 0-16,0 0 0,13 0 0,1 0 16,-1 0-16,1 0 0,13 0 15,12 0-15,1 0 0,0 0 0,0 0 16,27 0-16,-1 0 0,-13-13 0,13 13 15,-12 0-15,12 0 0,0-13 16,1 13-16,12 0 0,-12-13 0,-1 13 16,14-14-16,-14 14 0,14-13 15,-1 13-15,1-13 0,-1 13 0,1-13 16,0 0-16,-1 13 0,1-14 16,13 14-16,-14-13 0,1 13 0,0 0 15,-1-13-15,14 13 0,-13 0 16,12 0-16,-12-13 0,0 13 0,-1 0 15,1 0-15,-1-14 0,1 14 0,13 0 16,-14 0-16,1 0 0,0 0 16,-1-13-16,1 13 0,-1 0 15,1 0-15,0 0 0,-1 0 0,-12 0 0,12 0 16,1 0-16,0 0 0,-14 0 0,13 0 16,1 0-16,0 0 15,-1 0-15,1 0 0,-1 13 0,-12-13 0,26 0 16,-14 0-16,1 0 0,0 0 15,-14 14-15,14-14 0,-1 0 16,1 13-16,-1-13 0,1 13 0,0-13 16,-14 0-16,0 13 0,14-13 0,-14 0 15,14 14-15,-14-14 0,1 0 16,-1 13-16,0-13 0,1 0 0,-14 0 16,13 0-16,-26 13 0,27-13 0,-28 0 15,15 0-15,-14 0 0,-1 0 0,1 0 16,0 0-16,-13 0 0,0 0 15,-1 0-15,1 0 0,-14 0 0,14 0 16,-13 0-16,-1 0 0,1 0 16,-14 0-16,13 0 0,-13-13 0,1 13 15,-1 0-15,0 0 0,0 0 16,1 0-16,-1 0 0,0 0 16,0 0-16,1 0 15,-14 13-15,13-13 16,0 0-16,0 13 15,-13 0-15,13 1 16,-13-1-16,0 0 0,14 14 0,-14-1 16,0 1-16,13-1 0,-13 0 15,13 14-15,-13 0 0,13 0 16,1-1-16,-14-12 0,13 12 0,-13 1 16,13 0-16,0-14 0,-13 14 0,14 0 15,-14-14-15,13 14 0,-13-14 16,13 1-16,-13 12 0,13-12 0,0 12 15,-13-12-15,14-1 0,-14 1 0,13-1 16,-13 1-16,0-14 0,13 13 16,-13 1-16,13-14 0,-13 14 15,14-14-15,-14 13 0,0-12 0,13 25 16,0-26-16,-13 1 0,0-1 16,13 0-16,-13 0 0,0 1 15,13-1-15,-13 0 16,-13 13-1,0-26 1,0 14-16,0-14 0,-1 0 16,-12 13-16,13-13 0,-14 0 0,1 0 15,-1 0-15,-12 13 0,12-13 0,-26 0 16,14 13-16,-14-13 0,13 0 16,-13 0-16,0 0 0,0 0 0,0 0 15,-13 0-15,13 14 0,-13-14 16,0 0-16,-13 0 0,-1 0 0,1 0 15,-1 0-15,1 0 0,0 0 16,-1 0-16,1 13 0,-80-13 16,80 0-16,-14 0 0,14 0 0,-1 0 15,-12 0-15,12 0 0,1 0 16,0-13-16,-14 13 0,14 0 0,-1 13 16,-12-13-16,12 0 0,1-13 0,-14 13 15,14 0-15,0 0 0,-1 0 16,-12 0-16,12 0 0,14 0 0,-13 0 15,-1 0-15,14 0 0,-13 0 0,-1 0 16,1 0-16,13 0 0,0 0 16,-14 0-16,28 0 0,-15 0 15,14-14-15,-13 14 0,13 0 0,-13 0 16,13 0-16,-13 0 0,13 0 0,-13 0 16,0 0-16,13 0 0,-13 14 15,13-14-15,-13 0 0,-14 0 0,28 0 16,-28 0-16,27 0 0,-13 0 15,-13 0-15,26 0 0,-13 0 0,13 0 16,-13 0-16,13 0 0,-13 0 0,13 13 16,-14-13-16,1 0 0,0 0 15,0 0-15,13 0 0,-13 0 0,13 0 16,-13 0-16,13 0 0,-13 0 16,13 0-16,-13 0 0,13 0 0,0 0 15,0 0-15,0 0 0,13 0 0,1 0 16,12-13-16,-12 13 0,12 0 15,1 0-15,-1 0 0,1 0 0,-1 0 16,14 0-16,-13-14 0,-1 14 0,14 0 16,-14 0-16,1 0 0,0 0 15,-1 0-15,1 0 0,-1 0 16,1 0-16,-40 0 0,39 0 0,1 0 16,-1 0-16,1 0 0,-1 0 15,-12 0-15,12 0 0,1 0 0,-1 14 16,14-14-16,-13 0 0,-1-14 15,1 14-15,-1 0 0,1 0 0,13 0 16,-14 0-16,1 0 0,-1 0 16,1 0-16,-1 0 0,1 0 0,-1 0 15,14 0-15,-13 0 0,-1 0 0,14-13 16,-14 13-16,14 0 0,-13 0 16,13 0-16,-1 0 0,1 0 0,-13 0 15,12 0-15,1-13 0,0 13 0,0 0 16,-1 0-16,1 0 0,-26 0 15,25 0-15,1-13 0,0 13 16,0 0-16,-1 0 0,1 0 0,-13 0 16,12 0-16,1 0 15,0 0-15,0 0 0,0 13 16,-1-13-16,1 0 0,0 0 0,-14 0 16,14 13-16,-13-13 0,13 0 0,-14 0 15,14 13-15,-14-13 0,1 0 16,13 0-16,-1 0 0,1 0 0,0 0 15,13-13-15</inkml:trace>
  <inkml:trace contextRef="#ctx0" brushRef="#br0" timeOffset="3368.54">18481 1733 0,'-13'-13'0,"13"-27"31,0 14-31,0 12 0,-13-12 0,13-14 16,0 1-16,-14-1 0,14 0 0,-13 1 0,13-1 16,-13 0-16,13 0 0,0 14 15,0 13-15,-13-14 0,13 14 16,0-13-16,0 12 0,0 1 0,0 0 15,0 0-15,13-1 16,0 28 0,0-1-16,1 0 0,12 14 15,1-1-15,-1 1 0,1-1 0,-14 0 16,40 27-16,-27-26 16,1-1-16,-14 1 0,13-1 15,-13-13-15,1 14 0,-1-14 0,0 0 16,-13 1-16,13-1 0,-13 0 15,0 0-15,-13-13 16,0 0-16,0 0 16,-1 14-16,1-14 0,-13 0 15,-1 0-15,1 0 0,-1 0 0,-12 0 16,12 0-16,-12-14 0,12 14 0,-13 0 16,14 0-16,0 0 0,-1 0 0,14 0 15,-14 0-15,14 0 0,0-13 0,0 13 16,-1 0-16,14-13 15,0 0 1,14-1-16,-1 1 0,13 13 16,-12-26-16,25 12 15,-12-12-15,-1 13 0,1-14 0,12 1 16,1-1-16,-13 1 0,12-1 0,-12 1 16,-1 0-16,1 12 0,-1-12 15,0-1-15,-12 14 0,-1 0 0,0 0 16,0-1-16,1 14 0,-1-13 0,-13 0 15,13 13-15,-13-13 0,13 13 0,-13-13 16,14 13 0,-14 13-1,-14 13 1,14-13-16,0 1 16,-13-1-16,0 0 0,0 14 15,-1-1-15,1 1 0,0-1 0,-14 27 16,14-27-16,0 1 0,-13 13 15,12-27-15,1 13 16,13 1-16,-13-14 0,0 0 0,-1 14 16,14-14-16,-13 0 0,0 0 0,13 1 15,-13-1-15,0 0 0,13 0 16,0 0-16,-14 1 0,14-1 0,-13 0 16,13 0-16,-13 1 0,13-1 15,0 0-15,-13 0 16,13 0-16,0 1 15,0-1 1</inkml:trace>
  <inkml:trace contextRef="#ctx0" brushRef="#br0" timeOffset="10248.67">24090 3069 0,'-13'0'0,"0"40"31,26-27-31,-13 14 0,13-14 16,-13 13-16,14 1 0,12-1 0,-13 14 15,0-14-15,14 14 0,-14 0 16,14-14-16,-1 14 0,-13-14 0,14 14 16,-14 0-16,13-1 0,-12 1 0,-1 0 15,13-1-15,-26 1 0,14 13 0,-1-13 16,-13 13-16,0-14 0,13 1 16,-13 13-16,0-13 0,0 13 0,0-14 15,0 14-15,13-13 0,-13 13 0,0-14 16,14 14-16,-14 0 0,13 0 15,-13-13-15,13 13 0,-13-14 0,0 14 16,0-13-16,0 13 0,0-13 16,0 13-16,-13-1 0,0 15 15,-1-14-15,14 13 0,-26-13 0,13 0 16,-1 13-16,1-13 0,0 0 0,0-1 16,-1 1-16,-12 13 0,13-13 0,0-13 15,-1 13-15,1 0 0,0-13 16,0 13-16,-1-14 0,1 14 0,0 0 15,0-13-15,-1-1 0,1 1 0,0 0 16,0-1-16,0 14 0,13-13 16,-14 0-16,1-1 0,0-12 0,0 13 15,-14-1-15,14-12 0,0 12 16,-1-12-16,-12-1 0,13 14 16,-14-13-16,14-1 0,-13 0 0,-1 1 15,1-14-15,-1 14 0,1-1 0,-1 0 16,1-12-16,-14 12 0,14 1 15,-14-14-15,0 13 0,-13 1 0,14-1 16,-14-13-16,0 14 0,-13-1 0,13 1 16,-13-14-16,0 14 0,13-1 0,-13-13 15,-1 14-15,1-1 0,-13-13 16,13 14-16,-14-14 0,1 13 16,13-12-16,-14 12 0,1-13 0,0 1 15,-1 12-15,1-13 0,-14 14 16,14-14-16,-14 0 0,1 14 0,12-14 15,-12 0-15,-1 0 0,1 14 0,-1-14 16,14 0-16,-14 1 0,14-1 0,-1 0 16,-12 0-16,12 0 0,1 1 15,0-1-15,-1 0 0,1 0 0,-1 1 16,14-1-16,-13 0 0,13 0 0,-14 1 16,1-1-16,0 0 0,12 0 15,-12 0-15,0 1 0,13-1 0,-14 0 16,14 14-16,-13-27 0,13 13 0,-1 0 15,1 0-15,13 1 0,0-14 0,0 13 16,1 0-16,12-13 0,-13 13 16,13 0-16,1-13 0,-1 14 15,-13-14-15,13 13 0,14-13 0,-1 13 16,1-13-16,-14 0 0,14 13 16,-1-13-16,14 0 0,-13 14 0,12-14 15,-12 0-15,13 0 0,-1 13 0,1-13 16,0 0-16,0 0 0,0 0 0,-1 0 15,1 13 1,0-13-16,0 0 16,-1 0-16,14 13 0,-13-13 15,0 0 1,13 13-16,-13-13 0,-1 0 16,14 14-16,-13-14 15,0 0-15,0 13 16,0-13-1,-1 0-15,1 13 16,0-13 0,0 13-1,-1-13 1,1 0 15,0 0 0</inkml:trace>
  <inkml:trace contextRef="#ctx0" brushRef="#br0" timeOffset="10799.44">18137 7938 0,'-13'0'47,"0"13"-47,0 0 16,-1-13-16,14 13 0,-13 0 15,0 1-15,0-1 0,13 0 0,-14 0 16,1 1-16,0-1 0,13 0 0,-13 0 16,-1 0-16,14 1 0,-13-1 15,13 0-15,-13 14 0,0-14 16,13 0-16,0 0 15,-13 1-15,13-1 16,0 0-16,0 0 16,0 0-1,13-13-15,-13 14 16,13-14-16,-13 13 0,13-13 16,0 13-16,1 0 15,-1-13-15,0 14 0,0-1 16,14-13-16,-14 13 0,0-13 15,14 13-15,-1-13 0,1 14 0,-1-1 16,1-13-16,-1 13 0,0-13 16,1 13-16,-1-13 0,1 13 0,-1-13 15,-12 0-15,12 14 0,-13-1 0,0-13 16,-13 13-16,14-13 0,-14 27 16,-14-14-16</inkml:trace>
  <inkml:trace contextRef="#ctx0" brushRef="#br0" timeOffset="16412.48">19315 9816 0,'13'0'0,"-53"13"16,27-13 0,0 0-16,-1 0 15,1 0-15,-13 0 0,-1 13 0,1-13 16,-1 0-16,1 0 0,-14 0 0,-13 0 16,14 0-16,-14 14 0,13-14 15,-13 0-15,13 13 0,1-13 0,-1 0 16,0 13-16,14-13 0,-1 0 0,1 13 15,0-13-15,-1 0 0,14 14 0,-14-14 16,14 0-16,0 13 0,0-13 16,-1 0-16,1 13 0,0-13 15,0 0-15,0 13 0</inkml:trace>
  <inkml:trace contextRef="#ctx0" brushRef="#br0" timeOffset="16696.39">18468 9684 0,'-40'0'0,"80"0"0,-106 13 15,53-13-15,-1 13 0,-12 0 16,-1 1-16,1-1 0,-1 13 0,1-12 15,13-1-15,0 0 0,-1 0 0,14 0 16,-13 1-16,13-1 0,-13 0 16,13 0-16,0 1 0,13-1 0,-13 0 15,13 0-15,14 1 0,-14-1 16,0 0-16,14-13 0,-1 0 0,14 13 16,-14-13-16,1 0 0,12 0 15,14 0-15,-13 0 0,13 0 0,-13-13 16</inkml:trace>
  <inkml:trace contextRef="#ctx0" brushRef="#br0" timeOffset="16925.41">19844 9671 0,'13'-14'31,"-39"41"-31,12-14 0,14 0 0,-13 0 0,0 1 16,0-1-16,13 13 15,-14-12-15,1 12 0,13-13 0,-13 14 16,13-14-16,0 0 0,0 0 0,0 1 16,0-1-16,0 0 0</inkml:trace>
  <inkml:trace contextRef="#ctx0" brushRef="#br0" timeOffset="17233.25">20069 9684 0,'0'0'0,"-14"0"0,1 0 0,0 0 16,13 13-16,-13 0 0,-1 0 0,1 1 15,13-1-15,-13 0 0,13 0 16,0 1-16,13-1 0,-13 13 0,13-13 15,1 1-15,12-14 0,-13 13 0,14 0 16,-1-13-16,-12 0 0,12 13 0,-13-26 16,14 13-16,-14 0 0,0-13 15,0 13-15,1-13 0,-14-1 0,0 1 16,0 0-16,0 0 0,0 0 0,-14-1 16,14 1-16,-13 0 0,0 13 15,0-13-15,-1-1 0,1 14 0,0 0 16,0 0-16,0 0 0,-1 0 15,1 0-15,0 0 0,0 0 16</inkml:trace>
  <inkml:trace contextRef="#ctx0" brushRef="#br0" timeOffset="17452.54">20717 9591 0,'-40'53'16,"27"-26"-1,0-14-15,-14 13 0,1 1 16,13-1-16,-14 14 0,1-14 0,-14 14 16,27-14-16,0-12 0,-1-1 15,1 0-15,0 0 0,13 1 0,-13-1 16,13 0-16</inkml:trace>
  <inkml:trace contextRef="#ctx0" brushRef="#br0" timeOffset="18076.5">20545 9671 0,'0'0'16,"-13"-14"-16,-1 14 15,1 14-15,0-14 16,0 0-16,0 13 0,-1 0 0,1 0 16,0 0-16,0 1 0,-1-1 15,1 0-15,0 0 0,0 1 0,13-1 16,-14 0-16,14 0 0,14 0 16,-14 1-16,13-14 15,0 0-15,0 13 0,1-13 16,-1-13-16,0 13 0,0 0 0,1-14 15,-1 1-15,0 13 16,-13-13-16,13 0 0,-13 0 0,0-1 16,0 1-16,0 0 15,-13 0-15,13-1 16,-13 14-16,13-13 0,-13 13 0,13-13 16,-14 13-16,1 0 0,0 0 15,0 0-15,-1 0 16</inkml:trace>
  <inkml:trace contextRef="#ctx0" brushRef="#br0" timeOffset="18372.5">20677 9842 0,'0'14'15,"-13"-14"1</inkml:trace>
  <inkml:trace contextRef="#ctx0" brushRef="#br0" timeOffset="20104.55">7752 10530 0,'-39'14'16,"25"-14"-16,1 13 15,0-13-15,0 13 0,-14 0 16,1 14-16,-1-14 0,-12 13 16,12 1-16,-13-1 0,-12 1 0,12-1 0,0-12 15,0 12-15,14 0 0,-14-12 16,14 12-16,-1-13 0,1 14 15,13-14-15,0 0 0,-1-13 0,1 14 16,0-14-16</inkml:trace>
  <inkml:trace contextRef="#ctx0" brushRef="#br0" timeOffset="20652.57">7078 10821 0,'-27'53'0,"54"-106"0,-67 120 16,27-28-16,-1-12 0,1 12 15,0 1-15,0-13 0,0 25 0,-1-25 16,14 13-16,0-14 0,-13 1 0,26-1 16,-13 0-16,14-12 0,-1-1 15,13 0-15,14 14 0,0-27 0,-1 13 16,14-13-16</inkml:trace>
  <inkml:trace contextRef="#ctx0" brushRef="#br0" timeOffset="21295.57">15862 10504 0,'26'13'0,"40"27"31,-52-40-31,12 13 0,1 0 16,-14 1-16,13-1 0,-13 0 0,14 0 15,-14 0-15,14 1 0,-14-1 0,0 0 16,0 0-16,0-13 0,1 14 0,-1-1 16</inkml:trace>
  <inkml:trace contextRef="#ctx0" brushRef="#br0" timeOffset="21515.46">16351 10544 0,'13'0'15,"-26"0"-15,40 0 16,-14 13-16,0 0 16,-13 0-16,13 1 15,1 12-15,-14-13 0,13 14 16,-13-14-16,13 13 0,-13-12 0,0 12 15,13-13-15,-13 14 0,0-14 0,0 0 16,-13 14-16,13-14 0,0 0 16,-13 0-16,0 14 0,-1-14 15,-12 0-15,13 1 0,-14-1 0</inkml:trace>
  <inkml:trace contextRef="#ctx0" brushRef="#br0" timeOffset="23316.29">14724 6773 0,'-13'-26'31,"13"52"-15,0-12-1,0-1-15,-13 0 0,13 0 16,0 14-16,0-14 0,0 13 0,0-12 16,-14 12-16,14 1 0,0-14 0,0 13 15,0-13-15,0 14 0,0-14 16,0 0-16,0 1 0,0-1 0,0 0 16,-13 0-16,13 1 0,0-1 0,0 0 15</inkml:trace>
  <inkml:trace contextRef="#ctx0" brushRef="#br0" timeOffset="23648.28">14592 7025 0,'0'0'0,"0"13"46,0 0-30,0 0-16,13 1 0,-13-1 0,0 0 16,0 0-16,0 1 15,13-1-15,-13 0 0,0 0 16,13-13-16,-13 13 0,0 1 16,14-14-1,-1 13-15,0-13 16,0-13-16,1 13 15,-1 0-15,0-14 0,0 14 16,1-13-16,-1 13 0,0-13 0,0 0 16,0 13-16,14-13 0,-14 13 15,0 0-15,1-14 0,-1 14 0</inkml:trace>
  <inkml:trace contextRef="#ctx0" brushRef="#br0" timeOffset="24629.45">9459 6892 0,'0'-13'16,"0"0"-16,13 13 15,-13 26 17,0-12-32,0 25 15,-13-12-15,13-14 16,0 13-16,0 1 0,0-1 16,-13-12-16,13 12 0,0-13 0,0 14 15,0-14-15,0 0 0,0 0 0,-14 1 16,14-1-16,0 0 0,0 0 0,0 1 15,0-1 1</inkml:trace>
  <inkml:trace contextRef="#ctx0" brushRef="#br0" timeOffset="25056.7">9379 7091 0,'0'0'0,"-13"26"31,13-12-31,0-1 16,13 0-16,-13 0 15,0 0-15,0 1 0,0-1 16,0 0-16,0 0 16,14-13-16,-14 14 15,0-1-15,0 0 16,13-13 0,13-13-16,-12 0 15,-1 13-15,0-14 16,0 14-16,1-13 15,-1 13-15,0-13 0,0 13 16,-13-13-16,13 13 0,1-14 16,-1 14-1,-13-13 1,13 13 0</inkml:trace>
  <inkml:trace contextRef="#ctx0" brushRef="#br0" timeOffset="26238.48">11112 13189 0,'-26'0'0,"52"0"0,-65 0 0,65 0 47,1 0-47,-1 0 0,27 0 0,0 0 16,26 0-16,-12-13 0,12 13 15,0 0-15,14 0 0,-14 0 0,14-13 16,-14 13-16,14 0 0,-14-13 0,14 13 16,-14 0-16,1 0 0,-1 0 15,-13-13-15,-13 13 0,0 0 0,0 0 16,-13 0-16,-14 0 0,0 0 16,-12 0-16,12 0 0,-13 0 0,1 0 15,-54 0 16,13 0-31,1 0 0,-27 0 16,0 0-16,0 13 0</inkml:trace>
  <inkml:trace contextRef="#ctx0" brushRef="#br0" timeOffset="26528.51">10967 13361 0,'26'14'0,"-12"-14"0,12 0 0,159-14 16,-105 14-1,-1 0-15,14-13 0,13 13 0,-1-13 16,-12 13-16,13 0 0,26-13 0,-26 13 16,-13-13-16,12 13 0,-12 0 15,0-14-15,-1 14 0,-12 0 0,-14 0 16,0 0-16,-13 0 0,0 0 0,-14 0 15,-12 0-15,13-13 0,-14 26 16,-13-13-16,14-13 0,-14 13 0,0 0 16,0 0-16,-13-13 15,-13 0-15,0-14 16,-14 14-16</inkml:trace>
  <inkml:trace contextRef="#ctx0" brushRef="#br0" timeOffset="27140.44">11271 12091 0,'53'-13'0,"-106"26"0,146-26 15,-53 0-15,12 13 0,15-13 0,-1 0 16,26 13-16,-12-14 0,12 1 0,1 13 16,0-13-16,-1 0 0,1 13 15,13-14-15,-14 14 0,1 0 0,-14 0 16,14-13-16,-14 13 0,1 0 16,-14 0-16,-13 0 0,13 0 0,-13 0 15,0 0-15,-1 0 0,-12 0 16,-13 0-16,-1 0 0,1 0 0,-1 0 15,-13 0-15,0 0 0,-39 13 32,0-13-32,-1 0 15,1 0-15,-14 14 0</inkml:trace>
  <inkml:trace contextRef="#ctx0" brushRef="#br0" timeOffset="27431.78">11946 12078 0,'93'0'0,"-67"0"16,0 0-16,1 0 0,26 0 0,0 0 16,26-13-16,-13 13 0,14 0 15,-1 0-15,0-13 0,1 13 0,-1 0 16,14-13-16,-14 13 0,1 0 15,-1-14-15,-13 14 0,13 0 0,-26 0 16,0-13-16,-13 13 0,0 0 0,-1 0 16,-12 0-16,-1 0 0,-13 0 15,1 0-15,12 0 0,-13 0 16,1 13-16,-1-13 0,-13 14 16,13-14-16,-13 13 0,13 0 15</inkml:trace>
  <inkml:trace contextRef="#ctx0" brushRef="#br0" timeOffset="27720.57">14129 12105 0,'0'66'31,"0"-53"-31,-13 14 0,13-1 0,0 14 16,0-1-16,-14 1 0,14 0 0,0-14 16,-13 14-16,13 0 0,0-27 0,-13 13 15,13 1-15,0-14 16,-13 13-16,13-12 0,0-1 0,0 0 15</inkml:trace>
  <inkml:trace contextRef="#ctx0" brushRef="#br0" timeOffset="27904.27">14235 12277 0,'0'0'0,"0"-27"0,13 27 0,-13 27 15,0-14 1,0 13-16,0-12 0,-13 12 15,13 0-15,0 14 0,0 0 16,-14 0-16,14-1 0,-13-12 0,13-1 0,0 1 16,-13-1-16,13 1 15,-13-14-15,13 13 0,-14-13 0,1 1 16,0-1-16</inkml:trace>
  <inkml:trace contextRef="#ctx0" brushRef="#br0" timeOffset="28464.61">10941 12343 0,'-14'66'15,"14"-40"1,-13 14-16,13 53 0,0-54 16,0 1-16,0 13 0,-13-13 0,13-1 15,0 1-15,0 0 0,0-1 16,-13-12-16,13-1 0,0 14 15,0-27-15</inkml:trace>
  <inkml:trace contextRef="#ctx0" brushRef="#br0" timeOffset="28711.53">11060 12356 0,'0'26'16,"-14"1"-16,14-1 16,0 1-16,0 13 0,-13 12 0,13-12 15,-13 26-15,13-13 0,-13-13 16,13 13-16,0-13 0,-14-1 16,14 14-16,0-13 0,0-14 0,0 14 0,0-14 15,0 1-15,14-14 0,-14 14 16,0-14-16,0 0 0,13 0 15</inkml:trace>
  <inkml:trace contextRef="#ctx0" brushRef="#br0" timeOffset="37721.54">13348 4392 0,'53'0'15,"-40"0"-15,27-13 0,-13 13 16,12 0-16,1 0 0,13-13 16,-14 13-16,14 0 0,0 0 0,-13 0 15,13-14-15,-13 14 0,-1 0 16,-12-13-16,12 13 0,-12 0 15,-14 0-15,14 0 0,-14 0 0</inkml:trace>
  <inkml:trace contextRef="#ctx0" brushRef="#br0" timeOffset="37951.68">13414 4511 0,'0'0'0,"-13"0"0,40 13 32,-14-13-32,0 0 0,0 0 0,1 0 15,-1 0-15,13 0 0,-13 0 16,1 0-16,12 0 0,-13 0 0,14 0 16,-1 0-16,1 0 0,-1 0 0,1 0 15,-1-13-15,14 13 0,-14 0 16,1 0-16,-1 0 0</inkml:trace>
  <inkml:trace contextRef="#ctx0" brushRef="#br0" timeOffset="39428.48">19288 4432 0,'-13'0'0,"0"0"31,52 13-15,-25-13-16,12 0 0,1 0 15,12 0-15,1 0 0,13 0 0,0 0 0,0 0 16,0 0-16,-1 0 0,1 0 16,0 0-16,0 0 0,0 0 15,-13 0-15,-1 0 0,1 0 0,-13 0 16,-1 0-16,-13 0 0,14 0 0,-14 0 16,0 0-16</inkml:trace>
  <inkml:trace contextRef="#ctx0" brushRef="#br0" timeOffset="39567.44">19857 4458 0,'-40'13'0,"80"-26"0,-53 26 31,39-13-15,-13 0-16,14 0 0,-14 0 0,14-13 15,-1 13-15,0 0 0,1-13 16</inkml:trace>
  <inkml:trace contextRef="#ctx0" brushRef="#br0" timeOffset="40692.49">8930 4392 0,'-14'-13'32,"54"13"-32,-27 0 15,14 0-15,13 0 0,-1 0 0,27 0 16,-13 0-16,0 0 0,13 0 15,-13 0-15,13 0 0,1-13 0,-1 13 16,-13 0-16,13 0 0,-13 0 0,0 0 16,-1 0-16,1-14 0,-13 14 0,-13 0 15,-1 0-15,0 0 0,1 0 16,-14 0-16,0 0 0,1-13 16,-1 13-16,0 0 0,-53 13 15</inkml:trace>
  <inkml:trace contextRef="#ctx0" brushRef="#br0" timeOffset="40949.92">9049 4511 0,'0'0'0,"39"0"15,-12 0-15,13-13 0,13 13 0,-1 0 16,1 0-16,0 0 0,13 0 15,1-13-15,12 13 0,-13 0 16,0 0-16,0-14 0,0 14 0,-13 0 16,0 0-16,0 0 0,0-13 15,0 13-15,-13 0 0,-14 0 0,14 0 16,-27 0-16,14-13 0,-14 13 0,0 0 16,0 0-16,1 0 0,-14-13 15,13 13-15,-13-13 0,-13-1 16</inkml:trace>
  <inkml:trace contextRef="#ctx0" brushRef="#br0" timeOffset="41425.11">8943 3717 0,'-13'0'15,"52"-13"1,-12 13 0,13-13-16,12 13 0,1-13 15,14 13-15,12-14 0,-13 14 16,0-13-16,14 13 0,-14-13 0,13 13 0,0 0 15,-12-13-15,-1 13 0,-13 0 16,0 0-16,-1 0 0,-12-13 0,-13 13 16,12 0-16,-12 0 0,-1 0 15,-13 0-15,1 0 0,-1 0 0,0 0 16,-53 13 0</inkml:trace>
  <inkml:trace contextRef="#ctx0" brushRef="#br0" timeOffset="41900.55">9141 3784 0,'172'-14'31,"-119"14"-31,0 0 16,27-13-16,-1 13 0,0-13 0,1 13 15,-1-13-15,-13 13 0,14-14 0,-28 14 16,15 0-16,-14 0 0,-1 0 16,1-13-16,-13 13 0,0 0 0,-14 0 15,1 0-15,-1 0 0,1 0 0,-1 0 16,-13 0-16,1 0 16,-1 0-16,0 0 0,0 0 0,0 0 15,1 0-15,-1 0 16,0 0-1,0 0-15,1 0 16,-1 0 0,0 0 15,0 0 31</inkml:trace>
  <inkml:trace contextRef="#ctx0" brushRef="#br0" timeOffset="53868.69">701 7157 0,'0'26'0,"0"-12"16,0 12-16,0-13 0,0 1 16,0 12-16,13 14 0,-13-27 15,14 13-15,-14-12 0,13-1 0,-13 13 16,26 1-16,-12-1 15,-1-13 1,0 1-16,0-14 0,0 0 16,1 0-1,-1-14-15,0 14 0,-13-13 0,13 0 16,1 0-16,-14-14 0,13 14 0,-13 0 16,13 0-16,-13-14 0,0 14 15,0 0-15,13-14 0,-13 14 0,-13-27 16,13 27-16,-13-13 0,13 12 15,-13 1-15,-1 0 0,1 0 16,0 0-16,0-1 0,-1 1 16,1 0-16,0 13 0,13-13 0,-13 13 15,0 0-15,-1-14 0,1 14 16,0 0-16,0 14 16,13-1-16,-14 0 0,14 0 15,0 14-15,0-14 16,0 0-16,14 27 0,-14-14 15,13-12-15,0 25 0,0-12 16,1 12-16,-1 1 16,13-13-1,-26-14-15,66 79 32,-66-78-17,14-1-15,-1-13 31</inkml:trace>
  <inkml:trace contextRef="#ctx0" brushRef="#br0" timeOffset="54170.81">1098 7382 0,'13'66'31,"-13"-53"-31,0 0 0,0 1 0,13 12 16,-13 1-16,0-14 16,0 0-16,0 0 15,0 14-15,0-14 0,0 0 16,0 0-16,14-13 16</inkml:trace>
  <inkml:trace contextRef="#ctx0" brushRef="#br0" timeOffset="54521.79">1244 7289 0,'0'0'16,"13"0"-16,0-13 0,0 13 15,0 0-15,1 0 0,-1-13 16,0 13-16,0 0 0,14 0 0,-14 0 16,0-13-16,1 13 0,-1 0 0,0 0 15,0 0-15,0 0 0</inkml:trace>
  <inkml:trace contextRef="#ctx0" brushRef="#br0" timeOffset="54716.74">1296 7448 0,'0'0'0,"27"-13"47,-14 13-31,0 0-16,1-13 0,-1-1 15,0 14-15,0 0 16,-13-13-16,14 13 0,-1-13 15,0 13-15</inkml:trace>
  <inkml:trace contextRef="#ctx0" brushRef="#br0" timeOffset="56448.45">2077 7091 0,'0'26'15,"0"-12"-15,0-1 0,0 0 16,0 0-16,0 0 16,0 1-16,0-1 0,0 0 15,0 0-15,0 1 0,0-1 16,0 0-16,13-13 0,-13 13 16,0 0-16,13 1 15,1-14-15</inkml:trace>
  <inkml:trace contextRef="#ctx0" brushRef="#br0" timeOffset="56721.63">2394 7223 0,'14'13'16,"-1"-13"-16,-13 14 15,0-1-15,0 0 0,13 0 16,-13 0-16,0 1 16,0-1-16,-13 0 0,13 0 15,0 1-15,0-1 0,0 0 16,0 0-1</inkml:trace>
  <inkml:trace contextRef="#ctx0" brushRef="#br0" timeOffset="57183.44">2765 7117 0,'13'-13'16,"0"13"-16,1 0 16,-1 0-16,0 0 15,-13 13 1,0 1-16,0-1 0,0 0 16,-13 0-16,0 14 15,-1-14-15,14 0 0,-13 0 16,13 1-16,-13-1 15,13 0 1,13-13 0,0 0-16,1 0 15,-1 0-15,0 0 0,0-13 16,1 13-16,-1 0 0,0 0 0,0 0 16,0 0-16,1-13 0,-1 13 15,0 0-15</inkml:trace>
  <inkml:trace contextRef="#ctx0" brushRef="#br0" timeOffset="57399.41">3149 7131 0,'13'0'0,"-26"0"0,39 0 15,-26 13-15,13 0 0,-13 0 16,0 0-16,13 1 15,-26-1-15,13 0 16,0 0-16,-13 1 0,13-1 0,0 0 16,0 0-16,-13 0 0,13 1 0</inkml:trace>
  <inkml:trace contextRef="#ctx0" brushRef="#br0" timeOffset="57830.57">3413 7011 0,'13'0'0,"1"14"31,-14-1-31,0 0 16,13-13-16,-13 13 0,0 1 15,13-14-15,0 13 0,0 0 16,1-13 0,-14 13-16,13-13 0,-13 14 0,13-14 15,-13 13-15,0 0 16,0 0-16,-13 0 16,0 1-16,13-1 15,-14 0-15,1 0 0,0-13 0,13 14 16,-13-14-16,13 13 0</inkml:trace>
  <inkml:trace contextRef="#ctx0" brushRef="#br0" timeOffset="58021.33">3638 7117 0,'13'0'15,"-26"0"-15,39 14 0,-26-1 16,0 0-16,0 0 15,0 0-15,0 1 16,-13-1-16,13 0 0,-13 0 16,13 1-16,0-1 0,0 0 15,0 0 1</inkml:trace>
  <inkml:trace contextRef="#ctx0" brushRef="#br0" timeOffset="58322.67">4141 6959 0,'-66'52'31,"52"-38"-31,1-1 0,0 0 16,0-13-16,13 13 0,-14 1 0,1 12 15,13-13 1,0 1-16,13-14 16,-13 13-16,14-13 0,-1 0 15,0 0-15,0 0 0,1 13 16,-1-13-16,0-13 0,14 13 16,-14 0-16,13 0 15,-13 0-15,1-13 0,-1 13 0,0-14 16</inkml:trace>
  <inkml:trace contextRef="#ctx0" brushRef="#br0" timeOffset="58544.23">4207 6998 0,'-13'40'16,"26"-80"-16,-26 93 0,13-40 15,0 1-15,0 12 0,0-13 16,-14 14-16,14-14 16,0 0-16,0 14 15,0-14 1</inkml:trace>
  <inkml:trace contextRef="#ctx0" brushRef="#br0" timeOffset="58752.7">4617 7051 0,'26'13'16,"-26"1"0,0-1-16,0 0 15,0 0-15,0 1 0,0 12 16,0 0-16,0 1 15,0-14-15,0 0 0,0 1 0,-13-14 16,13 26-16,-13-13 16</inkml:trace>
  <inkml:trace contextRef="#ctx0" brushRef="#br0" timeOffset="59112.46">5120 6853 0,'-27'13'31,"14"-13"-31,0 13 16,13 0-16,0 1 15,13-14 1,-13 13-16,13-13 16,-13 13-16,13 0 0,-13 1 15,14-14-15,-14 13 0,0 0 16,0 0-16,-14-13 0,1 27 16,-13-1-16,-1 1 15,14-27-15,-27 26 16,14-13-1,13-13-15,-1 14 16</inkml:trace>
  <inkml:trace contextRef="#ctx0" brushRef="#br0" timeOffset="59377.29">5556 6919 0,'0'13'15,"13"0"-15,-26 1 0,13-1 16,0 13-16,0-13 0,-13 40 15,0-39-15,0 12 0,-1 1 16,1-1-16,-13 0 0,12-12 16,1-1-16,-13 13 0</inkml:trace>
  <inkml:trace contextRef="#ctx0" brushRef="#br0" timeOffset="60109.77">6006 6694 0,'-13'-13'16,"0"39"-1,13-13-15,-14 1 0,14-1 16,0 13-16,-13-12 0,13 12 16,13 14-16,-13-27 15,0 13-15,14 1 0,-1-14 0,0 0 16,0 1-1,0-14-15,-13 13 0,14-13 0,-1 0 16,0 0 0,-13-13-1,-13-14-15,-53-26 47,39 66-31,14-13-16,0 14 15</inkml:trace>
  <inkml:trace contextRef="#ctx0" brushRef="#br0" timeOffset="60284.89">6231 6800 0,'26'0'0,"1"26"16,-14-13-1,-13 14-15,13-1 16,-13-12-16,-79-120 0,158 225 0,-79-93 0,0-12 16,0 12-16,0 0 15,0 1 1,14-14-16</inkml:trace>
  <inkml:trace contextRef="#ctx0" brushRef="#br0" timeOffset="60585.61">6575 6562 0,'13'-14'0,"0"1"0,14 26 15,-14-13 1,0 14-16,1-1 0,-1 0 16,0 0-16,0 1 0,-13-1 0,13 0 15,-13 14-15,14-14 0,-14 0 16,0 13-16,13-12 0,-13-1 0,0 0 16,0 14-16,0-14 0,13 0 15,-13 0-15,0 0 0,0 1 16,0-1-16,0 0 15</inkml:trace>
  <inkml:trace contextRef="#ctx0" brushRef="#br0" timeOffset="60765.74">6496 6839 0,'0'-13'16,"13"0"-1,0 13-15,0 0 0,0-13 16,14 13-16,-14-13 0,14 13 0,-14-14 16,40 1-16,-40 13 15,13 0-15,-12-13 0</inkml:trace>
  <inkml:trace contextRef="#ctx0" brushRef="#br0" timeOffset="60983.43">7144 6694 0,'13'26'15,"-13"-12"1,0-1-16,0 0 16,0 0-16,0 14 0,0-14 15,0 13-15,-13-12 0,0 12 16,13-13-16,-27 27 0,14-13 15,0-14-15,-1 13 0,1-13 16,0 14-16</inkml:trace>
  <inkml:trace contextRef="#ctx0" brushRef="#br0" timeOffset="61471.19">7382 6575 0,'13'13'15,"0"0"1,1 1-16,-14-1 0,13 0 0,0 27 16,-13-27-16,0 27 15,-13-1 1,0-25-16,13-1 0,-27 13 0,14 1 16,0-27-16,13 13 15,39-291 95,-52 265-110,0 13 0,0 0 15,-1-13-15,-12 26 0,-1-13 16,14 0-16,0 13 15</inkml:trace>
  <inkml:trace contextRef="#ctx0" brushRef="#br0" timeOffset="61594.89">7607 6601 0</inkml:trace>
  <inkml:trace contextRef="#ctx0" brushRef="#br0" timeOffset="63797.78">1495 6800 0,'13'-13'31,"-26"39"47,13-13-78,13 0 16,-13 1 15,27-28-15,-1 1-1,-13 0-15,14 0 0,-1 0 0,14-14 16,0 1-16,-1-1 0,14 1 16,0-1-16,0 1 0,0-1 0,0 14 15,-13 0-15,-1-14 0,1 14 0,0 0 16,-14 0-16,-13 13 0,14-13 15,-14 13-15,0-14 0,14 14 16,-27-13-16,13 13 0,0 0 0,0 0 0,1-13 16,-1 13-1,-13-13-15,13 13 16,0 0-16,0-14 62</inkml:trace>
  <inkml:trace contextRef="#ctx0" brushRef="#br0" timeOffset="64701.61">1270 8797 0,'13'-13'31,"0"13"-31,1-13 0,-1 13 16,0-13-16,0 13 16,1 0-16,-1-14 0,0 14 0,0 0 15,1 0-15,-1 0 0,0 0 16</inkml:trace>
  <inkml:trace contextRef="#ctx0" brushRef="#br0" timeOffset="64904.45">1283 8916 0,'0'14'16,"13"-14"-1,14-14 1,-14 14-16,0 0 16,1 0-1,-1 0-15,-13-13 0,13 13 16,0 0-16</inkml:trace>
  <inkml:trace contextRef="#ctx0" brushRef="#br0" timeOffset="65777.37">2249 8520 0,'-13'0'0,"39"-14"31,-13 14-31,1 0 16,-1-13 0,0 26-1,0-13-15,1 14 16,-14-1-16,0 0 16,13 0-16,-13 0 0,0 1 15,0-1-15,0 0 0,13 0 0,-13 14 16,0-14-16,0 0 0,13 1 15,-13-1-15,0 0 0,0 0 0,13 0 16,-13 1-16,0-1 0,0 0 16,14 0-16,-14 1 15,0-1 1</inkml:trace>
  <inkml:trace contextRef="#ctx0" brushRef="#br0" timeOffset="65969.48">2262 8771 0,'0'0'15,"0"-13"-15,13-1 16,1 14 0,-1 0-16,0-13 0,0 13 15,1-13-15,12 13 16,-13 0-16,0-13 0,1 13 0,12-13 15,-13 13-15,14-14 0</inkml:trace>
  <inkml:trace contextRef="#ctx0" brushRef="#br0" timeOffset="66280.5">2765 8453 0,'0'-13'16,"-13"13"-1,-1 13 1,14 1-16,-13-1 16,13 0-16,13 0 0,-13 1 15,0-1-15,14-13 0,-1 13 0,-13 0 16,13 0-16,0 1 0,1-14 0,-1 13 16,0-13-16,0 13 15,1-13-15,-1 0 0,0 0 16,-13-13 15,-13 0-31,0 13 16,-1 0-1,1 0-15,0 0 0,0 13 16,-1-13-16,-12 13 0</inkml:trace>
  <inkml:trace contextRef="#ctx0" brushRef="#br0" timeOffset="66513.53">2566 8718 0,'-13'13'0,"26"0"16,1-13 0,-14 14-16,13-1 0,0 0 15,-13 0-15,13 1 0,-13-1 16,14 0-16,-14 0 0,0 1 0,0-1 15,0 0-15,0 0 0,0 0 16,0 1-16,-14-1 0,14 0 16,0 0-16</inkml:trace>
  <inkml:trace contextRef="#ctx0" brushRef="#br0" timeOffset="66732.89">3096 8546 0,'0'13'16,"0"0"-16,0 67 31,0-67-31,0 14 0,-14-14 0,14 0 15,0 13-15,0-12 0,0-1 0,0 0 16</inkml:trace>
  <inkml:trace contextRef="#ctx0" brushRef="#br0" timeOffset="67349.61">3479 8374 0,'13'-13'0,"-26"26"0,26-39 16,-39 39 15,13-13-31,-14 13 16,14 0-16,-13 1 0,12-1 16,1-13-16,-13 26 0,13-26 15,-1 13-15,1 1 16,40-1-1,-14-13-15,0 0 16,0 0-16,0 13 0,14-13 0,-1 0 16,1 13-16,-14-13 0,0 0 15,0 14-15,1-1 16,-14 0 0,-14 0-16,1 0 0,0 1 15,0-1-15,0-13 0,-1 13 0,1 0 16,0 1-16,0-14 0,-1 13 15,1-13-15</inkml:trace>
  <inkml:trace contextRef="#ctx0" brushRef="#br0" timeOffset="67540.3">3744 8414 0,'0'0'0,"13"0"15,-13 13-15,0 0 0,13-13 0,-13 13 16,0 14-16,0-14 0,0 0 0,0 14 16,0-14-16,-13 13 0,13 1 15,-13-1-15,13-12 0,-13 12 16,13-13-16,0 1 0,0-1 0,0 0 16</inkml:trace>
  <inkml:trace contextRef="#ctx0" brushRef="#br0" timeOffset="67878.42">4339 8281 0,'-40'14'16,"27"-1"-1,0 0-15,0 0 0,0 1 0,-14 12 16,14 1-16,0-14 0,-14 0 16,27 0-16,-13 0 0,0 1 0,13-1 15,0 0-15,-13 0 0,13 1 16,13-1-16,-13 0 16,13-13-16,0 0 0,0 0 15,1 13-15,-1-13 0,0 0 16,0 0-16,1-13 0,-1 13 15,0 0-15,0 0 0,14-13 0,-14 13 16,0-13-16,0-1 0,1 14 16,-14-13-16,0 0 0</inkml:trace>
  <inkml:trace contextRef="#ctx0" brushRef="#br0" timeOffset="68069.64">4326 8229 0,'0'0'0,"-13"13"15,13 0-15,0 0 0,0 0 16,0 1-16,0 12 0,0-13 0,-14 14 16,14-1-16,0-12 0,0 12 15,0 0-15,0-12 0,0 12 16,14 1-16,-14-14 0,0 13 0,0-13 16,0 1-16,13-1 0,-13 13 15,13-26-15,0 14 0,1-1 0</inkml:trace>
  <inkml:trace contextRef="#ctx0" brushRef="#br0" timeOffset="68440.69">4868 8387 0,'14'14'0,"-14"210"125,-14-462-125</inkml:trace>
  <inkml:trace contextRef="#ctx0" brushRef="#br0" timeOffset="68573.61">5067 8123 0,'0'53'32,"0"-40"-17,13 13-15,-13-12 0,0 12 0,-13-158 16,26 277-16,-13-118 0,0-1 0,0 1 16,0-1-16,0-13 0,0 14 0,13-1 15,-13-13-15,0 1 0,13-1 0,-13 0 16,14 0-16</inkml:trace>
  <inkml:trace contextRef="#ctx0" brushRef="#br0" timeOffset="68826.46">5371 8334 0,'13'0'0,"-26"0"0,40 14 16,-14-1-16,-13 0 16,0 0-16,0 14 15,0-14-15,0 0 0,-13 14 0,13-1 16,-14-13-16,14 14 0,-13-14 0,0 13 16,13-12-16,0-1 15,13 0-15</inkml:trace>
  <inkml:trace contextRef="#ctx0" brushRef="#br0" timeOffset="69228.17">5741 8096 0,'14'0'0,"12"27"31,-26-14-31,0 0 0,0 0 15,0 1-15,0-1 0,-13 13 0,13-12 16,0-1-16,-13 0 0,13 0 16,0 0-16,0 1 0,0-1 0,-14-13 15,14 13-15,14 0 16,-1-13-16,0 0 16,0 0-16,14 0 15,-27-13-15,13 13 0,0 0 16,1-13-16,-1 13 0,0 0 15,0-13-15,0 13 0,1-14 16</inkml:trace>
  <inkml:trace contextRef="#ctx0" brushRef="#br0" timeOffset="69406.44">6112 8189 0,'-27'13'16,"14"0"-16,0 1 15,13-1-15,0 0 0,-13 0 16,13 0-16,-14 1 0,14-1 0,-13 13 16,13-12-16,-13 12 0,13-13 15,0 1-15,13-1 16,0-13-16</inkml:trace>
  <inkml:trace contextRef="#ctx0" brushRef="#br0" timeOffset="69748.57">6350 7990 0,'0'0'0,"13"14"31,-13-1-31,0 0 16,0 0-16,0 1 16,13-1-16,1 0 15,-14 0-15,13-13 0,-13 13 0,13 1 16,0-1-16,-13 0 0,0 0 16,0 1-16,0-1 15,0 0-15,-13 0 0,0 1 16,13-1-16,-13 0 0,-1 0 0,1 0 15,0 1-15,-13-1 0,12-13 0,1 13 16,13 0-16,-13-13 0,0 14 16,-1-14-16</inkml:trace>
  <inkml:trace contextRef="#ctx0" brushRef="#br0" timeOffset="71485.67">1111 10319 0,'0'26'47,"0"-13"-32,13 1-15,-13-1 0,0 0 0,0 0 16,0 1-16,0-1 0,0 0 16,0 0-16,14-13 0,-14 14 15,0-1-15,0 0 16,13-39 31,-13 12-47,0 1 0,0 0 15,0 0-15,0-1 16,0 1-16,13 0 16,-13 0-16,13 13 15,1 0 1,-1 0-16,-13 13 16,13 0-16,-13 0 15,13-13-15,-13 14 0,14-1 16,-14 0-16,13 0 15</inkml:trace>
  <inkml:trace contextRef="#ctx0" brushRef="#br0" timeOffset="71709.75">1323 10107 0,'0'-13'0,"13"26"47,-13 0-47,0 1 0,13-14 0,-13 13 16,0 0-16,0 0 15,0 0-15,0 1 0,0-1 0,14-13 16,-14 13-16,0 0 0,13 1 15</inkml:trace>
  <inkml:trace contextRef="#ctx0" brushRef="#br0" timeOffset="71900.75">1442 10028 0,'0'0'15,"0"-14"-15,-13 41 31,13-14-31,0 0 16,13 1-16,-13-1 0,0 0 0,0 14 16,13-14-16,-13 0 0,0 0 15,13 0-15,-13 1 0,0-1 0</inkml:trace>
  <inkml:trace contextRef="#ctx0" brushRef="#br0" timeOffset="72049.44">1336 10226 0,'0'-13'16,"13"0"-1,1-1-15,-1 14 0,0-13 16,0 13-16,14-13 0,-1 0 16,1 13-16,-14 0 0</inkml:trace>
  <inkml:trace contextRef="#ctx0" brushRef="#br0" timeOffset="73336.36">212 10729 0,'-14'40'31,"14"-27"-31,0 0 0,0 0 0,0 0 16,0 14-16,14-14 0,-14 0 0,13 1 16,-13-1-16,13 0 0,0 0 15,-13 1-15,14-14 0,-1 13 0,0-13 16,0 0-16,1 0 0,-1 0 0,0 0 15,0-13-15,0 13 0,1-14 16,-14 1-16,13 0 0,0 0 0,-13-1 16,0-12-16,0-1 0,0 14 15,0-13-15,0-1 0,-13 14 0,0-13 16,-1 12-16,1 1 0,13 0 16,-13 0-16,0-1 0,13 1 0,-13 13 15,-1-13-15,14 26 31,0 0-31,0 1 0,14-1 16,-14 0-16,13 0 0,0 1 16,0-1-16,0 0 0,1 14 0,-1-14 15,-13 0-15,13 0 0,0 14 0,1-14 16,-14 13-16,13-12 0,0-1 16,-13 0-16,13 0 0,-13 1 0,13-1 15,-13 0-15,0 0 0,14 0 0,-14 1 16,0-1-16,13 0 15</inkml:trace>
  <inkml:trace contextRef="#ctx0" brushRef="#br0" timeOffset="73540.8">688 10755 0,'0'27'0,"0"-14"16,13 0-16,-13 0 15,0 1-15,0-1 0,13 0 16,-13 0-16,0 1 0,0-1 16</inkml:trace>
  <inkml:trace contextRef="#ctx0" brushRef="#br0" timeOffset="74105.66">1667 10306 0,'26'0'31,"-12"-14"-16,-1 14-15,0 0 0</inkml:trace>
  <inkml:trace contextRef="#ctx0" brushRef="#br0" timeOffset="74282.8">1640 10385 0,'0'13'0,"14"-13"32,-1 0-32,0 0 0,-13-13 0,13 13 15,14 0-15,-14 0 0,0-13 16,14 13-16,-14-14 0,0 14 0</inkml:trace>
  <inkml:trace contextRef="#ctx0" brushRef="#br0" timeOffset="76309.37">2236 10134 0,'13'0'0,"-26"0"0,39 0 0,-13 0 15,-13 13-15,14-13 16,-14 13-16,0 0 16,0 0-16,0 1 0,0-1 31,0 0-31,13 0 16,0-13-16,0 14 15,1-14 1,-14 13-16,13-13 0,-13 13 15,13 0-15,-13 1 16,-13-14-16,13 13 0,0 0 16,0 0-16,-13 0 0,-1 1 15,14-1-15,-13 0 0,0 0 16,0-13 0,-1 0-1</inkml:trace>
  <inkml:trace contextRef="#ctx0" brushRef="#br0" timeOffset="76787.85">2342 9948 0,'13'14'31,"0"-1"-31,-13 0 16,0 0 0,13 0-1,-13-39 32,-13 13-31,26 0-16,-13-1 15,0 1-15,13 0 16,-13 0-16,14 13 16</inkml:trace>
  <inkml:trace contextRef="#ctx0" brushRef="#br0" timeOffset="77147.36">2487 9829 0,'-26'0'15,"12"13"-15,14 1 16,0-1 0,0 0-16,0 0 15,14-13 1,-1 0-16,0 0 15,0-13-15,1 0 16,-14 0-16,0-1 16,13 14-16,-13-13 0,-13 0 0,13-13 15,-14 12-15,14 1 16,-13 0-16,13 0 0,0-1 0,-13 1 16,13 0-16,0 0 0,-13 13 15,13-13-15,-14 39 16,14-13-1,14 0-15,-14 1 0,0 12 0,0-13 16,13 14-16,-13-14 0,13 13 16,-13-12-16,13 12 0,1-13 0,-1 27 15,-13-27-15,13 1 16</inkml:trace>
  <inkml:trace contextRef="#ctx0" brushRef="#br0" timeOffset="78904.67">3387 8149 0,'-14'-13'0,"1"13"15,0 0 1,-13 13-16,12 0 16,1 1-16,13-1 15,-13 13-15,0 1 0,-1 12 16,1-12-16,13 13 0,-13-1 0,13-12 15,-13 12-15,13-12 0,0-1 0,0 1 16,0-1-16,0 1 0,0-1 16,0 1-16,13-1 0,-13-13 0,13 14 15,-13-14-15,13 13 0,1-12 0,-1-1 16,0 0-16,0 0 0,14 1 16,-14-1-16,13-13 0,-12 13 15,25-13-15,-12 0 0,-14 0 0,13-13 16,-12 13-16,12-13 0,-13 13 0,14-14 15,-14 1-15,0 0 16,1 0-16,-1-1 0,0 1 0,0 0 16,0 0-16,1-14 0,-14 14 0,13 0 15,-13-14-15,13 14 0,-13-13 16,0 12-16,0-12 0,0 0 0,0-1 16,-13 1-16,13 12 0,-13-38 15,13 25-15,-14 14 16,14-14-16,-13 14 0,0-13 0,0 12 15,0-12-15,-1 13 0,1 0 0,-13-14 16,12 14-16,-12 0 16,13 13-16,-1 0 0,1-14 15,0 28-15,0-14 0,0 13 16,-1 0-16</inkml:trace>
  <inkml:trace contextRef="#ctx0" brushRef="#br0" timeOffset="79545.07">3651 8943 0,'0'40'31,"13"-14"-31,-13-13 16,14 27-16,-1 0 0,13 13 0,-12 0 16,12-1-16,-13 1 0,1 0 15,-1 0-15,13 13 0,-13-13 0,1 0 16,12 27-16,-26-41 15,13 1-15,1-14 0,-1 14 16,-13-14-16,13-12 0,0 25 0,-13-25 16,14-1-16,-14 0 0,13 0 15,-13 1-15,13-14 16,-13 13 0</inkml:trace>
  <inkml:trace contextRef="#ctx0" brushRef="#br0" timeOffset="79860.95">3784 9922 0,'0'13'0,"0"0"15,13 14-15,0-14 16,13 40-16,14-13 15,-27-27 1,1-13-16,-1 13 0,0-13 0,0 0 16,1 13-16,-1-13 0,0-13 15,0 13-15,0 0 16,-13-13-16,27-14 0,-27 14 16,13-13-16,0-14 0,1 14 15,-14-1-15,13 14 0,0-14 16,-13 14-16,13 0 0,-13 0 15,14 13-15</inkml:trace>
  <inkml:trace contextRef="#ctx0" brushRef="#br0" timeOffset="80569.64">3321 10861 0,'-27'0'16,"27"13"-16,0 1 0,-13-1 0,0 0 15,13 27-15,0-14 0,0 1 16,-14-1-16,28 1 0,-14-1 15,0 0-15,0 1 0,13-14 16,0 14-16,-13-14 0,13 0 0,1 0 0,-1 1 16,0-14-16,0 0 0,0 13 15,1-13-15,-1-13 0,0 13 16,0 0-16,1-14 0,12-12 0,-13 13 16,-13-1-16,13 1 0,-13 0 15,0-14-15,0 1 0,0-14 16,0 14-16,-13-1 0,0-12 15,0 12-15,0 1 0,-1-1 0,1 14 16,0-13-16,0 12 0,-1 1 16,14 0-16,-13 13 0,13-13 15,-13 13-15,13 13 32,0 13-32,13-12 0,-13-1 15,13 0-15,1 14 0,-1-14 0,0 13 16,0 1-16,14 26 15,-14-27-15,13 27 0,1-13 16,-14-14-16,0 14 16,1 0-1,-1-27-15,0 13 0,0 1 16,-13-14 0,14 0-16,-14 0 15,13-13-15</inkml:trace>
  <inkml:trace contextRef="#ctx0" brushRef="#br0" timeOffset="80796.64">3704 11046 0,'0'40'15,"0"-27"1,0 0-16,0 1 16,0-1-16,13 13 0,-13-12 15,0-1-15,0 0 0,0 0 0,14-13 16,-14 14-16,0-1 16</inkml:trace>
  <inkml:trace contextRef="#ctx0" brushRef="#br0" timeOffset="81040.56">3797 10861 0,'0'-13'0,"13"13"0,27-27 31,-27 27-31,0 0 16</inkml:trace>
  <inkml:trace contextRef="#ctx0" brushRef="#br0" timeOffset="81232.52">3850 10954 0,'26'-27'31,"-13"27"-31,-13-13 16,14 13-16,-1-13 15,0 13 1</inkml:trace>
  <inkml:trace contextRef="#ctx0" brushRef="#br0" timeOffset="81600.74">4247 10623 0,'-14'-13'16,"-12"39"-1,13-13-15,-1-13 16,1 14-16,0-1 0,0 0 16,0 0-16,13 1 15,0-1-15,13-13 16,0 0-16,0 13 15,0-13-15,1 0 0,-1 0 16,0 0-16,0 0 0,1 13 16,-1-13-16,0 0 15,0 14-15,-13-1 16,0 0 0,-13 0-16,0 0 15,13 1-15,-13-14 0,-1 13 16,1-13-16,0 13 0,-14-13 0,14 13 15,-13-13-15,13 0 0,-14 0 16</inkml:trace>
  <inkml:trace contextRef="#ctx0" brushRef="#br0" timeOffset="85508.46">3400 6866 0,'-13'-13'47,"-1"13"-32,-12 13 1,13-13-16,0 0 16,13 13-16,-14-13 0,1 13 15,0 1-15,0-1 16,-1 0-16,14 0 0,0 1 16,-13-1-16,13 0 0,0 0 0,-13 0 15,13 1-15,0 12 0,0-13 16,0 1-16,0 12 0,0-13 0,0 14 15,13-14-15,-13 40 0,13-27 16,-13-12-16,14 25 16,-1-12-16,-13-14 0,0 0 15,13 0-15,0 1 0,-13-1 0,14 0 16,-1 0-16,0 1 0,0-1 0,0-13 16,-13 13-16,14-13 0,12 13 15,-13-13-15,1 0 0,-1-13 16,0 13-16,13 0 0,-12-13 0,-1 13 15,0-13-15,0 13 0,1-14 16,-1 1-16,0 0 0,0 0 0,1 13 16,-1-14-16,0 1 0,-13 0 0,13 0 15,0-1-15,-13 1 0,14 0 16,-14 0-16,0 0 0,0-1 16,13 1-16,-13 0 0,0 0 0,0-1 15,0 1-15,0 0 0,0-13 0,0 12 0,0 1 16,-13 0-16,13 0 15,0-1-15,0 1 0,-14 0 0,14 0 16,0-1-16,-13-12 0,0 13 16,13 0-16,-13 13 0,0-14 15,-1 1-15,14 0 0,-26 0 16,-1-1-16,1-12 16,13 26-16,-1-13 0,-12-1 15,13 14-15,0-13 16,-14 13-16,14 0 15,0 0-15,-1-13 0,1 13 0,0 0 16,0 0-16,13-13 16</inkml:trace>
  <inkml:trace contextRef="#ctx0" brushRef="#br0" timeOffset="86124.06">3876 6416 0,'53'-13'16,"-40"26"-16,1-13 16,-14 13-16,0 1 15,0-1-15,-14 0 0,1 0 16,13 1-16,0-1 15,-13 0-15,26 0 32,0 0-32,1 1 15,-1-1 1,-13 0 0,0 0-1,-13 1 1,13-1-16,-14-13 15,1 13-15,0-13 16,13 13-16,-13-13 0</inkml:trace>
  <inkml:trace contextRef="#ctx0" brushRef="#br0" timeOffset="86680.88">3625 6324 0,'-27'26'16,"14"0"-16,13-12 0,-13-1 0,13 13 15,-13-12-15,13 12 0,0 1 0,-14-1 16,14 0-16,14 1 0,-14-1 15,13 14-15,0 13 0,14-27 16,-14 1-16,0-14 0,0 0 16,14 1-16,-14-1 0,13 0 0,-12 0 15,12-13-15,14 13 0,-14-13 16,1 0-16,-1 0 0,1 0 16,-1-13-16,14 0 0,26-13 15,-26 12-15,-14 1 0,1 0 16,12-27-16,-12 27 0,-14-13 15,0 12-15,0-12 0,-13 13 0,14-14 16,-1 14-16,-13-14 0,13 14 0,-13-13 16,0 13-16,0-14 0,0 14 15,0-14-15,0 1 16,-13 13-16,0-14 0,13 14 0,-27-13 0,14-1 16,0 14-16,-14-14 0,14 14 0,-13 0 15,-1 0-15,1 13 0,-1-14 16,-13 14-16,-26-13 0,40 13 15,-14 0-15,-26 13 0,13 1 16,-26 12-16,52-13 16,-79 40-1,53-13-15</inkml:trace>
  <inkml:trace contextRef="#ctx0" brushRef="#br0" timeOffset="95180.08">3942 5358 0,'40'0'0,"106"-27"16,-80 14 0,13 0-16,0 0 0,14-1 0,0 1 15,12 13-15,14-13 0,1 0 0,-15 0 16,-12 13-16,-14 0 0,14-14 15,-14 14-15,-12 0 0,-1 0 0,-13 0 16,-1 0-16,1 0 0,-13 0 0,0 0 16,-14 0-16,1 0 0,-1 0 15,-13 0-15,14 0 0,-14 0 0,0 0 16,-52 14 15</inkml:trace>
  <inkml:trace contextRef="#ctx0" brushRef="#br0" timeOffset="95496.47">4604 5411 0,'0'0'0,"13"13"16,13-13-16,1 0 0,-1 0 0,27 0 15,27 0-15,-1 0 0,0-13 16,14 13-16,0-13 0,-1 13 0,-12-14 15,12 14-15,1-13 0,-14 0 0,14 13 16,-14-13-16,1-1 0,-14 14 16,0-13-16,0 0 0,-26 13 15,13 0-15,-14-13 0,1 13 0,-14 0 16,1-14-16,-14 14 0,14 0 16,-14 0-16,0 0 0,0 0 15,0 0-15,1 0 0,-41 0 47,14 14-47,0-14 16</inkml:trace>
  <inkml:trace contextRef="#ctx0" brushRef="#br0" timeOffset="97566.85">9684 7104 0,'0'13'31,"0"-39"0,13 13-31,0-1 16,-13 1-16,13 0 0,1 0 0,-1-1 16,0 1-16,0 0 0,1 0 15,12 0-15,0-14 0,1 14 0,-1 0 16,1-1-16,-14 1 0,14 0 0,-1 0 16,-13-1-16,14 14 0,-14-13 15,13 13-15,-12-13 0,12 13 0,1-13 16,-14 13-16,13 0 0,1 0 15,-14 0-15,13 0 0,-12 0 16,12 0-16,1 0 0,-1 0 0,-13 0 16,14 13-16,-1-13 0,1 13 0,-14-13 15,13 13-15,1-13 0,-1 14 0,1-14 16,-14 13-16,13-13 0,1 13 16,-1-13-16,-13 13 0,14-13 0,-1 14 15,1-1-15,-1-13 0,1 13 16,-1-13-16,1 0 0,-1 13 0,1-13 15,-1 14-15,1-14 0,-1 0 0,0 0 16,1 13-16,-1-13 0,1 0 0,-1 0 16,1 0-16,-1 0 15,1 0-15,-1 0 0,-13-13 0,14 13 16,-1 0-16,-13 0 0,14 0 0,-14 0 16,27-14-16,-27 14 15,0-13-15,1 13 0,-1-13 0,0 0 16,0 13-16,0-14 0,1 1 0,-14 0 15,13 0-15,0-1 0,-13 1 16,13 0-16,-13 0 0,14 0 0,-14-1 16,0 1-16,13 0 0,-13 0 0,0-1 15,13 1-15,-13 0 0,0 0 16,0 0 0,13-1-1,1 14 16,-1 14-15,0-14-16,0 13 0,0-13 16,1 13-16,-1-13 0,0 13 0,0-13 15,14 13-15,-14-13 0,14 14 16,-14-1-16,13-13 0,1 13 0,-1 0 16,14-13-16,-1 14 0,1-1 15,0-13-15,-14 13 0,14-13 16,0 13-16,-14-13 0,14 0 0,-14 0 15,14 13-15,-14-13 0,14 0 0,0 0 16,-1 0-16,1 0 0,0 0 0,13 0 16,-14 0-16,-12 0 0,13-13 15,-1 13-15,-12 0 0,26 0 0,-27 0 16,14 0-16,0 0 0,-1-13 0,1 13 16,13 0-16,-13-13 15,-1 13-15,1 0 0,0 0 0,-1-13 16,-12 13-16,12 0 0,-12 0 0,39 0 15,-40 0-15,14 0 0,-13 0 16,-1 0-16,14 0 0,-14 0 16,1 13-16,12-13 0,1 0 0,-14 13 15,14 0-15,0-13 0,-14 13 0,14-13 16,-14 14-16,1-1 0,-1-13 16,1 13-16,-14-13 0,14 13 0,-14-13 15,13 14-15,-13-14 0,1 13 0,-1-13 16,0 0-16,0 13 0,1-13 15,-1 13-15,0-13 16,-13 14-16,13-14 0,-13 13 16,14-13-16,-14 13 15,13 0 1,0 0 15</inkml:trace>
  <inkml:trace contextRef="#ctx0" brushRef="#br0" timeOffset="97698.63">14446 7131 0</inkml:trace>
  <inkml:trace contextRef="#ctx0" brushRef="#br0" timeOffset="103341.85">21881 8043 0,'0'-13'0,"-13"40"31,13-14-31,0 0 16,-13 0-16,13 14 0,-14-14 0,1 13 15,13-12-15,0 12 0,-13-13 16,13 1-16,-13 12 0,13-13 0,0 0 16,0 1-16,13-1 0,-13 0 15,13 0-15,0-13 0,1 14 16,-1-14-16,0 0 0,0 0 0,1 0 16,-1 0-16,13 0 0,-13 0 0,1 0 15,-1-14-15,0 14 0,0 0 16,1-13-16,-1 13 0,-13-13 15</inkml:trace>
  <inkml:trace contextRef="#ctx0" brushRef="#br0" timeOffset="103633.47">21762 8242 0,'-13'0'15,"39"-13"1,-13 13-1,1 0-15,-1-14 0,13 14 0,1 0 16,-14 0-16,14-13 0,-1 13 0,-13 0 16,14 0-16,-1-13 0,-13 13 15,14 0-15,-14 0 0,0 0 16,0 0-16,1 0 0,-1 0 0,0 0 16,0 0-1,-13 13-15,0 0 16,0 1-1,0-1-15,0 0 16,0 0-16,0 0 16</inkml:trace>
  <inkml:trace contextRef="#ctx0" brushRef="#br0" timeOffset="104077.74">22344 7977 0,'0'0'0,"0"27"16,0-14-1,-13 0-15,13 0 0,0 1 16,-13-1-16,13 0 0,-14 13 0,1 1 16,13-14-16,-13 14 0,13-14 0,-13 0 15,13 0-15,-14 1 0,14-1 16,-13 0-16,0-26 62,26 0-62,0-1 16,1 14-16,-1 0 0,-13-13 16,13 13-16,0 0 15,1 0-15,-1 0 0,0 0 0,0 0 16</inkml:trace>
  <inkml:trace contextRef="#ctx0" brushRef="#br0" timeOffset="104257.49">22648 8136 0,'0'-13'15,"-13"39"32,0-26-31,0 13-1</inkml:trace>
  <inkml:trace contextRef="#ctx0" brushRef="#br0" timeOffset="107224.68">9009 6668 0,'0'39'31,"13"-26"-31,-13 1 16,0-1-16,0 0 0,0 0 16,0 1-16,0-1 15,0 0-15,0 0 16,0 0-16,0 1 15</inkml:trace>
  <inkml:trace contextRef="#ctx0" brushRef="#br0" timeOffset="108029.74">9221 6615 0,'13'0'15,"-26"0"-15,39-14 0,-13 14 16,-13-13 0,-13 26-1,0 1-15,0-14 0,0 13 16,-1-13-16,1 13 15,13 0-15,-13-13 0,0 0 0,13 14 16,-14-1-16,28 0 31,-1-13-31,0 0 16,0 13-16,1-13 0,-1 0 16,0 0-16,0 0 0,0 0 15,1 0-15,-14 13 0,13-13 0,-13 14 16,-13-1-1,-1 0-15,1-13 16,-13 13-16,13 1 0,-14-1 16,1 0-16,12-13 0,-12 13 0,-1 0 15,14 1-15,-13-14 0,13 13 16,-1-13-16</inkml:trace>
  <inkml:trace contextRef="#ctx0" brushRef="#br0" timeOffset="110420.77">14631 6456 0,'14'-13'0,"-28"26"78,1 0-78,0 0 0,0-13 0,13 14 16,-13-1-16,-1 0 0,1-13 0,13 13 15,-13 0-15,0 1 16,-1-1-16,14 0 16,-13-13-16,26 13 31,1-13-31,12 0 15,-13 0-15,1 0 0,-1 0 16,0 0-16,0 0 0,0-13 16,1 13-16,-1 0 0,0 0 15,0 0-15,1-13 0,-1 13 16,0-13-16</inkml:trace>
  <inkml:trace contextRef="#ctx0" brushRef="#br0" timeOffset="110623.56">14684 6429 0,'0'-13'15,"-13"40"1,13-14-16,0 0 16,-13-13-16,13 13 0,0 1 0,0-1 15,-13 0-15,13 0 0,0 0 16,0 1-16,0-1 0,-14 0 0,14 0 15,0 1-15,0-1 0,0 0 16,14 0 0</inkml:trace>
  <inkml:trace contextRef="#ctx0" brushRef="#br0" timeOffset="110984.74">14922 6429 0,'-13'0'0,"26"0"0,-39 0 16,13 14-16,0-14 0,-1 0 15,-12 13-15,13 0 16,-1-13-16,1 13 0,13 1 15,0-1 1,13 0-16,1-13 0,-14 13 16,13-13-16,13 13 15,-12 1-15,-1-1 16,0-13-16,-13 13 0,13-13 0,-13 13 16,0 1-1,-13-1-15,0-13 0,0 13 16,-14 0-16,14-13 0,-27 14 15,14-1-15,13-13 0,-14 13 16,14-13-16,0 0 0</inkml:trace>
  <inkml:trace contextRef="#ctx0" brushRef="#br0" timeOffset="111932.51">6800 7422 0,'0'0'0,"0"-14"0,-13 41 31,13-14-31,0 0 16,0 0-16,0 1 0,0-1 16,0 0-16,0 0 15,0 14-15,0-14 0,0 0 0,0 1 16,0-1-16,0 0 0,0 0 0,0 0 16,0 1-16,0-1 15</inkml:trace>
  <inkml:trace contextRef="#ctx0" brushRef="#br0" timeOffset="112269.44">6734 7607 0,'0'0'0,"-14"26"31,14 1-15,0-14-16,0 0 0,0 0 15,14 1-15,-14-1 16,0 0-16,0 0 16,13 1-16,-13-1 15,13-13 1,0 0-1,1-13-15,-14-1 16,13 14-16,0-13 16,0 13-16,-13-13 0,13 0 15,-13-1-15</inkml:trace>
  <inkml:trace contextRef="#ctx0" brushRef="#br0" timeOffset="112922.5">6588 7263 0,'0'-13'31,"-13"39"0,13-13-15,0 0-16,0 1 15,-13-1-15,13 0 0,0 0 16,0 1-16</inkml:trace>
  <inkml:trace contextRef="#ctx0" brushRef="#br0" timeOffset="113217.58">6668 7263 0,'13'13'47,"0"-13"-47,13 0 15,-12-13-15,-1 13 16,0-13-16,0-1 16,-13 1-1,0 0-15,-13 0 16,0 13-16,0 0 16,-14 0-16,14 0 15,0 13-15,0-13 0,-1 13 16,1-13-16,13 13 0,0 1 15</inkml:trace>
  <inkml:trace contextRef="#ctx0" brushRef="#br0" timeOffset="114050.66">17185 7382 0,'0'26'31,"0"-12"-15,0-1-16,0 0 0,0 0 16,0 0-16,0 1 0,0-1 15,0 0-15,0 0 0,0 1 0,0-1 16,0 13-16,0-12 0,0-1 0,0 0 16,13 0-16</inkml:trace>
  <inkml:trace contextRef="#ctx0" brushRef="#br0" timeOffset="114397.45">17079 7567 0,'-13'13'31,"13"1"-15,0-1-16,0 0 0,0 0 15,13 0-15,-13 1 0,0-1 16,13-13-16,-13 13 0,13 0 16,1-13-16,-14 14 15,26-14-15,0 0 16,-26-14-16,14 14 15,-1 0-15,0-13 0,0 13 16,1-13-16,-1 13 0,0-13 16,0 13-16,1 0 15,-1 0-15,0-14 16</inkml:trace>
  <inkml:trace contextRef="#ctx0" brushRef="#br0" timeOffset="116070.71">17119 6919 0,'0'13'47,"13"0"-47,-13 1 15,0-1-15,0 0 0,0 0 16,0 0-16,0 1 15,0-1-15,-13 0 0,13 0 16,-14 1-16,1-1 0,0 0 16,0-13-1,13 13-15,-14-26 16,28-13 0,-1 26-1,-13-14-15,13 1 0,0 13 0,-13-13 16,14 0-16,-1 13 0,0-14 0,-13 1 15,13 13-15,-13-13 0,13 13 16,-13-13-16,0 0 0,0-1 16,0 1-16,-13 13 0,13-13 15,-13 13-15,13-13 16,-13 13-16,0 0 16,-1 0-16,1 0 0,0 0 15</inkml:trace>
  <inkml:trace contextRef="#ctx0" brushRef="#br0" timeOffset="116353.52">17264 6919 0,'-13'26'62,"26"-12"-62,-13-1 16,13-13-16,-13 13 0,14 0 15,-14 0-15,13-13 16,-13 14-16,0-1 16,-13 0-16,-14 0 15,14-13-15,0 14 16,-14-1-16,1-13 0,12 13 0,-12 0 15,0-13-15,-1 14 0,1-14 16</inkml:trace>
  <inkml:trace contextRef="#ctx0" brushRef="#br0" timeOffset="121396.79">9657 6496 0,'0'-14'15,"0"1"1,-13 13 15,13-13-31,-13 13 16,13-13-16,-13 13 15,-1-14-15,1 1 16,0 13-16,0-13 16,-1 13-16,1 0 0,13-13 15,-13 13-15,0 0 0,0-14 16,-1 14-16,1 0 0,0 0 0,0-13 15,-1 13-15,1 0 0,0 0 0,0 0 16,-14 0-16,14 0 0,0 0 16,0 0-16,-1 0 0,-12 0 0,13 0 15,-1 0-15,1 0 0,-13 13 0,13-13 16,-1 0-16,-12 0 0,13 0 16,-1 14-16,-12-14 0,13 0 0,-14 13 15,14-13-15,0 0 0,-14 13 0,14-13 16,0 13-16,-14-13 0,14 14 15,-13-14-15,12 13 0,1-13 16,0 13-16,-13 0 0,12-13 0,1 14 16,0-1-16,0 0 0,-1-13 0,1 13 15,0 0-15,0 1 0,-1-1 16,1-13-16,0 13 0,0 0 16,0 1-16,-1-1 0,14 13 0,-13-12 15,0-1-15,13 0 0,-13 13 16,-1-12-16,14-1 0,0 13 0,-13 14 15,13-27-15,-13 0 0,13 1 16,0-1-16,0 13 0,13-12 16,-13-1-16,0 13 0,13-12 0,-13-1 15,14 0-15,-14 0 0,13 0 0,0 1 16,0-14-16,1 13 0,-14 0 16,13-13-16,0 13 0,0-13 0,0 14 15,14-1-15,-14-13 0,0 0 16,1 0-16,-1 13 0,0-13 15,0 0-15,1 0 0,-1 0 0,0 0 16,13 0-16,-12 0 0,-1 0 16,0 0-16,0 0 0,1 0 15,-1-13-15,0 13 0,14 0 0,-14 0 16,0 0-16,0 0 0,0 0 0,1 0 16,-1 0-16,0-13 0,0 13 15,1 0-15,12 0 0,1-14 16,-1 14-16,-13 0 0,40-13 15,-40 13-15,14-13 0,-1 13 16,14-13-16,-14 13 0,1 0 16,-14-14-16,14 14 0,-14 0 15,40-13-15,-40 13 0,13 0 16,-12-13-16,12 13 0,1 0 16,-14-13-16,13 13 0,1 0 0,-14 0 15,13-13-15,1 13 0,-1 0 0,1-14 16,26 14-16,-40-13 15,53 13-15,-53-13 0,14 13 16,26-13-16,-27 13 0,1 0 16,-1 0-16,0-14 0,1 14 15,-1 0-15,27-13 0,-26 13 16,-1 0-16,27 0 0,-26-13 16,-1 13-16,1 0 0,-14 0 15,13 0-15,1 0 0,-1-13 16,1 13-16,-1 0 0,0 0 0,1 0 15,-1 0-15,-12 0 0,12 0 0,1 0 16,-1 0-16,0 0 0,-12-14 16,12 14-16,1 0 0,-1 0 0,14 0 15,-14 0-15,-13 0 0,14 0 16,-1 0-16,-12 0 0,12 0 16,0 0-16,-12 0 0,12 0 0,-13 0 15,14 0-15,-1 0 0,1 0 0,-14 0 16,13 0-16,1 0 0,-14 14 15,14-14-15,-1 0 0,1 0 0,-14 0 16,13 0-16,1 0 0,-1 0 16,1 0-16,-1 0 0,1 13 15,-1-13-15,0 0 0,14 0 0,-13 0 16,-1 0-16,1 13 0,12-13 0,-12 0 16,-1 0-16,14 0 0,-14 0 15,14 0-15,-14 13 0,41-13 16,-41 0-16,0 0 0,27 0 15,-26 0-15,-1 0 0,1 0 16,-1 0-16,1 0 0,-1 0 16,1 0-16,12 0 0,-12 0 0,12 0 0,14 0 15,-13 0-15,-14 0 16,1-13-16,13 13 0,-14 0 16,1 0-16,-1 0 0,0 0 0,1-13 15,26 13-15,-27 0 0,14 0 16,-14 0-16,1 0 0,-1 0 15,1 0-15,-14 0 0,14 0 16,-1 0-16,0-13 0,1 13 0,-1 0 16,-12 0-16,12 0 0,0 0 15,1 0-15,-1 0 0,1-14 16,-1 14-16,1 0 0,12 0 0,-12 0 16,-1 0-16,-12-13 0,12 13 15,-13 0-15,14 0 0,-14 0 16,0 0-16,14 0 0,-14 0 0,13 0 15,-12 0-15,-1 0 0,13 0 0,27-13 16,-40 13-16,14 0 16,-1 0-16,1 0 0,-14 0 0,13 0 15,-12 0-15,12 0 0,-13 0 0,27 0 16,-13 0-16,-1 0 16,-13 0-16,14 0 0,-14 0 0,13 0 15,1 0-15,-14 0 0,14-13 0,-14 13 16,26 0-16,-12 0 0,-14 0 15,14 0-15,-14 0 0,13 0 16,-12 0-16,12 0 0,-13 0 16,14 0-16,-14 0 0,13-13 0,-12 13 0,12 0 15,0 0-15,14 0 16,-13 0-16,12-14 16,-12 14-16,79-13 15,-67 13 1,-12 0-16,-14 0 15,27-13-15,-1 13 16,-12 0-16,-14 0 0,13 0 16,-12 0-16,12 0 0,1 0 15,12 0 1,-25 0-16,12 0 0,0 0 16,1 0-16,13 0 15,-14 0-15,14 0 16,-14-13-16,1 13 15,-14 0-15,13-14 16,-12 14-16,12-13 16,-13 13-16,1-13 15,-1 0-15,-13 0 0,13 13 16,-13-14-16,13-12 16,-13 13-16,13-14 15,-13 14-15,0 0 0,0-14 16,0 14-16,0 0 0,0 0 15,0-1-15,0 1 0,-13 0 16,13 0-16,0-1 0,-13 14 16,13-13-16,-13 0 0,0 0 0,-14-1 15,14 1-15,0 13 0,-14-13 16,1 0-16,-1 0 16,14 13-16,0 0 0,0 0 15,-1-14-15,1 14 0,0 0 16,-14 0-16,14-13 0,-13 13 15,-1 0-15,1 0 0,13-13 16,-14 13-16,14 0 16,-14 0-16,-26 0 0,27 0 15,0 0-15,-1-13 0,-13 13 0,14 0 16,0 0-16,-1 0 0,-13 0 16,14-14-16,-1 14 0,-12 0 15,12 0-15,-12 0 0,12-13 0,-52 13 16,39 0-16,-13-13 0,0 13 15,14 0-15,-14 0 0,-53-13 16,53 13-16,13-14 0,-52 14 16,52-13-16,13 13 0,-25 0 15,25-13-15,1 13 16,-14 0-16,13 0 0,1 0 0,0 0 16,-1 0-16,-13 0 0,14 0 15,-40 0-15,39 0 16,-12-13-16,-1 26 0,14-13 0,-14 0 15,-26 0-15,39 0 0,1 0 16,-27 0-16,26 0 0,1 0 16,13 0-16,-14 0 0,1 0 15,13 0-15,-27 0 0,13 0 16,1 0-16,-27 0 0,27 13 16,-27-13-16,26 0 15,-12 0-15,12 0 0,1 0 16,-1 13-16,1-13 0,-27 0 0,40 0 15,-14 0-15,1 0 16,12 0-16,-12 14 0,-1-14 0,14 0 16,-13 0-16,-1 0 0,1 0 0,-27 0 15,13 0-15,14 0 0,-14 0 16,14 0-16,-14 0 0,14 0 16,-1 0-16,-13 0 0,14 0 0,-14 0 15,14 0-15,-14 0 0,0 0 0,14 0 16,0 13-16,-14-13 0,13 0 15,-12 0-15,12 0 0,-12 0 0,12 0 16,-39 0-16,26 0 0,1 0 16,-14 13-16,13-13 15,0 0-15,1 0 0,-1 0 0,13 0 16,-12 13-16,12-13 0,-52 0 16,39 0-16,-52 14 0,52-14 15,-13 0-15,-13 0 16,26 0-16,14 0 0,-40 0 15,39 0-15,-13-14 0,-12 14 16,12 0-16,13 0 0,1 0 16,-14 14-16,14-14 0,-40 0 15,26 0-15,13 0 0,-12 0 0,12 0 16,1 0-16,-1 0 0,1 0 16,-1 0-16,1 0 0,0 0 0,12 0 15,-12 0-15,13 0 0,-1 0 16,-25 0-16,25 13 0,1-13 15,0 0-15,0 0 0,0 0 16,-1 0-16,1 0 0,0 0 16,0 13-16,-1-13 0,1 0 0,0 0 15,0 0-15,0 0 16,-1 13-16,1-13 0,0 0 0,-14 0 0,14 0 16,0 14-16,-27-14 0,27 0 15,0 13-15,0-13 16,-14 0-16,14 0 0,-27 13 15,27-13-15,0 0 0,-1 0 0,1 0 16,0 0-16,0 0 0,0 13 16,-1-13-16,1 0 15</inkml:trace>
  <inkml:trace contextRef="#ctx0" brushRef="#br0" timeOffset="159516.51">11456 767 0,'14'53'0,"-14"27"31,0-54-31,0-13 0,0 0 0,13 1 15,-13-1-15,0 13 0,0-12 0,0-1 16,0 0-16,0 0 0,0 14 0,0-14 16,0 0-16,13 0 15,-13 1-15,0-1 0</inkml:trace>
  <inkml:trace contextRef="#ctx0" brushRef="#br0" timeOffset="160019.75">11351 781 0,'26'-27'0,"-52"54"0,65-54 15,-25 14-15,-1 13 0,0-13 16,0 13-16,0 0 0,14 0 0,-14 13 16,0-13-16,1 0 0,-1 13 0,0-13 15,0 13-15,-13 1 0,14-1 16,-14 0-16,0 0 0,0 0 0,-14 14 15,14-14-15,-13 0 0,0 14 16,0-14-16,13 0 0,-14 0 0,1-13 16,0 14-16,0-1 0,13 0 15,-14-13-15,14 13 0,-13-13 0,13 14 16,-13-1-16,13 0 16,13-13-1,0 0-15,1 0 16,-1 0-16,0 13 0,0-13 0,1 0 15,-1 0-15,0 0 16,0 0-16,1-13 0,-1 13 0,0 0 16,0 0-16,0 0 0,1 0 15,-14-13-15,13 13 0</inkml:trace>
  <inkml:trace contextRef="#ctx0" brushRef="#br0" timeOffset="160816.44">11853 847 0,'-13'-14'15,"0"14"1,-14 0-16,14 14 15,0-1-15,0 0 16,0 0 0,13 1-16,-14-1 15,14 0-15,0 0 0,0 0 32,14-13-32,-1 0 15,0 0 1,0 0-1,-13-13-15,13 0 0,-13 0 16,0 0-16,14-1 16,-14 1-16,0 0 15,13 0 17,0 26-1,-13 0-31,13 0 15,-13 1 1,14-1 0,-1-13 31,0-13-32,0 13-15,-13-14 16,13 14-16,1 0 31,-1 0-31,0 14 16,-13-1-1,13-13 1,-13 13-16,0 0 31,14-39 0,-1 13-15,0-1 0,0 14-1,-13-13-15,14 13 16,-1 0-16,0 0 16,0 0-1,-13-13-15,13 13 0,1 0 0</inkml:trace>
  <inkml:trace contextRef="#ctx0" brushRef="#br0" timeOffset="161253.48">12197 728 0,'-13'0'0,"13"13"31,0 0-31,0 0 0,13 1 16,-13-1-16,0 0 16,14 0-16,-14 0 15,0 1-15,13-1 0,-26 0 16,13 0-16,0 1 0,0-1 15,-14 0-15,14 0 0,-13 0 16,0-13-16,0 14 16,13-28 31,13 14-47,0-13 0,0 0 15,1 13-15,-14-13 0,13 0 16,0-1-16,0 14 15,0-13-15,-13 0 0,14 13 0,-1-13 16,0-1-16,0 1 16,-13 0-16</inkml:trace>
  <inkml:trace contextRef="#ctx0" brushRef="#br0" timeOffset="161484.51">12488 714 0,'0'14'0,"14"-28"31,-1 14-31,0-13 0,0 13 16,0-13-16,1 13 15,-1-13-15,0 13 16</inkml:trace>
  <inkml:trace contextRef="#ctx0" brushRef="#br0" timeOffset="161719.76">12581 542 0,'40'14'32,"-27"-1"-17,0-13-15,14 13 0,-14 0 0,0-13 16,-13 14-16,13-1 0,0 13 16,1-26-16,-14 13 0,0 1 15,13-1-15,-26-13 0,13 26 16,-14-12-16,14-1 15,-13 0-15</inkml:trace>
  <inkml:trace contextRef="#ctx0" brushRef="#br0" timeOffset="162316.57">13097 529 0,'-13'0'31,"13"13"-15,0 1-16,0-1 15,0 0-15,0 0 0,0 1 16,13-1-1,-13 0-15,13-13 16,0 13 0,1-13-16,-1 0 15,0-13-15,0 13 16,14 0 0,-27 13-16,13-13 0,0 0 15,0 0 1,1 0-16,-1 0 15,0 0-15,0-13 16,1 13 0,-14-13-16,0 0 0,13-1 15,-13 1 1,-13 0-16,13 0 0,0-1 16,0 1-16,-14 0 15</inkml:trace>
  <inkml:trace contextRef="#ctx0" brushRef="#br0" timeOffset="162787.96">13388 410 0,'0'13'32,"0"1"-17,0-1-15,13 0 16,-13 0-16,0 0 0,0 1 15,13-1 1,-13 0-16,0 0 16,14-13-1,-1 0 1,0 0-16,0 0 31,1 0-31,-1 0 16,-13-13-1,13 13-15,0 0 16,0 13 0,1-13-1,-14 14 1,0-1-16,0 0 16,0 0-1,26-26 48,-13 0-48,-13 0 1,14 13-16,-1-14 16</inkml:trace>
  <inkml:trace contextRef="#ctx0" brushRef="#br0" timeOffset="162913.6">13666 503 0,'-14'13'0,"28"-26"0,-1 13 16,-13-14 0</inkml:trace>
  <inkml:trace contextRef="#ctx0" brushRef="#br0" timeOffset="163886.06">12144 1654 0,'14'26'15,"-14"-13"1,0 1-16,13-1 0,-13 0 15,0 0-15,0 0 0,0 1 0,13-14 16,-13 13-16,0 0 0,0 0 16,0 1-16,0-1 0,13-13 15</inkml:trace>
  <inkml:trace contextRef="#ctx0" brushRef="#br0" timeOffset="164137.17">12039 1733 0,'-14'-13'15,"28"0"1,-1-1-16,0 1 0,0 13 15,0-13-15,1 0 0,12-1 16,-13 14-16,1-13 0,-1 13 16,0-13-16,0 13 0,14-13 0,-14 13 15</inkml:trace>
  <inkml:trace contextRef="#ctx0" brushRef="#br0" timeOffset="164331.51">12091 1865 0,'-13'14'31,"26"-1"-15,1-26-16,-1 13 16,0 0-16,0 0 0,14 0 15,-14-14-15,0 14 0,14-13 0,-14 13 16,13-13-16,-12 13 0</inkml:trace>
  <inkml:trace contextRef="#ctx0" brushRef="#br0" timeOffset="164840.94">12515 1601 0,'-13'-13'0,"-14"13"31,27 13-31,0 0 0,-13 0 0,13 0 16,0 1-16,0-1 0,0 0 0,0 0 15,0 14-15,0-14 16,13 0-16,-13 0 0,0 1 0,13-1 16,1 0-16,-1 0 15,0-13-15,0 14 0,0-14 0,1 0 16,-1 0-16,0-14 0,0 14 15,1-13-15,-1 13 0,-13-13 0,13 0 16,0-1-16,-13-12 0,14 13 0,-14-14 16,0 1-16,-14 13 0,14-14 15,-13 1-15,0-1 0,-14 1 16,14 13-16,0-1 0,-14 1 0,14 13 16,0-13-16,0 0 0,0 13 0,-14 0 15,14 0-15,0 0 16,-1 0-16,1 13 0,0-13 15,13 13-15,0 0 0,0 1 16,13-1-16,-13 0 0,13 0 16,1 1-16,-1 12 0,0-13 0,14 0 15,-14 1-15,0-1 0,0 0 0,14 0 16,-14 14-16,0-27 0,14 13 0,-14 0 16,0 0-16,0-13 0,1 14 15,-1-1-15,0 0 0,0-13 16,0 0-16,1 0 15</inkml:trace>
  <inkml:trace contextRef="#ctx0" brushRef="#br0" timeOffset="165357.5">12872 1548 0,'0'-13'16,"0"39"15,13-13-31,-13 1 0,0-1 16,13 13-16,-13-13 0,0 1 0,14 12 15,-14-13-15,0 1 0,13-1 0,-13 13 16,0-13-16,0 1 0,13-14 16,-13 13-16,0 0 0,0 0 15,0-52 16,0 25-31,0-12 16,0 0-16,0-1 0,0-13 16,0 1-16,0 12 0,0 1 0,13-27 15,-13 40-15,0-14 0,14 14 16,-14 0-16,13 13 0,0-13 0,0 13 16,1 0-1,-14 26 1,-14-13-16,14 14 0,-13-1 0,0 1 15,0-1-15,-1 1 0,1-14 16,0 13-16,13-13 0,0 1 0,-13-1 16,13 0-16,0 0 15,0 1-15,13-14 0,-13 13 0,13-13 16,0 0-16,1 0 0,-1 0 16,13 0-16,-12 0 0,12-13 15,-13 13-15,0 0 16,1-14-16,-1 14 0,0-13 0,0 0 15,1 13-15,-1-13 0,0 13 0,0-14 16,0 14-16</inkml:trace>
  <inkml:trace contextRef="#ctx0" brushRef="#br0" timeOffset="166276.6">13295 1455 0,'53'0'31,"-40"0"-31,1-13 0,12 13 0,-13 0 15,14-13-15,-14 13 0,14 0 0,-14-13 16,0 13-16,13 0 0,-12-14 16,-1 14-16,0-13 0,0 13 0,1 0 15,-1-13-15,0 13 16,-13-13-16</inkml:trace>
  <inkml:trace contextRef="#ctx0" brushRef="#br0" timeOffset="166529.69">13507 1257 0,'26'0'16,"-12"0"-16,78 39 15,-79-25 1,14-1-16,-14 0 0,14 0 0,-14 1 15,0-1-15,0 0 0,1 0 0,-1 1 16,-13-1-16,0 0 0,0 13 16,0-12-16,-13-1 0,-1 13 0,14-12 15,-13 12-15,0-13 0,0 1 0,-1 12 16,1-13-16</inkml:trace>
  <inkml:trace contextRef="#ctx0" brushRef="#br0" timeOffset="167477.32">14261 833 0,'-13'14'15,"13"-1"-15,-13 0 0,13 0 16,0 1-16,0 12 0,0-13 0,0 0 15,0 14-15,0-14 0,13 14 16,-13-14-16,13 0 0,-13 14 0,13-14 16,1 0-16,-1 0 0,0 0 15,0-13-15,0 0 0,1 0 0,-1 0 16,0 0-16,0 0 0,1-13 0,-1 0 16,0 0-16,0 0 0,0-14 15,-13 14-15,14-14 0,-14 1 0,0-1 16,-14 14-16,1-26 0,0 12 15,0 1-15,0-14 0,-14 27 0,14 0 16,0-14-16,-1 27 0,1-13 16,13 0-16,-13 13 0,0 0 0,0 0 15,-1 13-15,14 0 16,0 0-16,0 1 0,0-1 16,0 13-16,14 1 0,-1-14 0,0 27 15,-13-14-15,26 0 0,-12-12 0,-1 12 16,0-13-16,0 14 0,14-14 15,-14 14-15,0-14 0,0-13 0,1 13 16</inkml:trace>
  <inkml:trace contextRef="#ctx0" brushRef="#br0" timeOffset="167672.14">14711 847 0,'13'26'31,"-13"-13"-31,0 1 16,0 12-16,0-13 0,0 0 0,0 14 15,0-1-15,0 1 0,0 13 16,0-14-16,0 0 0,0 1 16,0-14-16,0 14 0</inkml:trace>
  <inkml:trace contextRef="#ctx0" brushRef="#br0" timeOffset="168173.06">14499 1416 0,'0'0'0,"-13"13"16,13 0-16,0 0 15,0 0-15,-13 1 0,13 12 16,0-13-16,0 14 0,13-14 15,-13 0-15,0 1 0,13-1 0,0 0 16,1 0-16,-1-13 16,0 0-16,0 0 0,1 0 0,-14-13 15,13 13-15,0-13 16,-13 0-16,0-1 0,13-12 0,-13 13 16,0-1-16,-13-12 0,13-1 0,-13 14 15,13-13-15,0 13 0,-13-1 16,13 1-16,-14 13 0,14-13 0,-13 26 31,13 0-31,0 1 0,0-1 16,0 0-16,0 13 0,0-12 15,0-1-15,13 13 0,-13-12 0,14-1 16,-14 0-16,13 14 0,0-14 16,0 0-16</inkml:trace>
  <inkml:trace contextRef="#ctx0" brushRef="#br0" timeOffset="168429.28">14790 1508 0,'13'0'0,"-26"0"0,40-13 0,-14 13 16,0 13 0,0-13-16,-13 13 0,0 1 15,0-1-15,0 0 16,0 0-16,0 1 0,-13-1 0,13 0 15,0 0-15,0 0 16,13-13 0,1 0-16,-1 0 15,0 0-15,0 0 16,0 0-16,1 0 0,-1 0 0,0 0 16</inkml:trace>
  <inkml:trace contextRef="#ctx0" brushRef="#br0" timeOffset="168884.67">14658 1905 0,'-13'26'16,"26"-52"-16,-40 66 0,27-27 0,0 0 0,0 0 15,0 1-15,14-1 16,-14 0-16,13-13 0,-13 13 16,13 1-16,0-14 0,1 0 0,-1 0 15,0 0-15,0-14 0,1 14 16,-1-13-16,0 0 0,0 0 15,-13-14-15,13 14 0,-13-14 16,0 1-16,-13 13 0,13-14 0,-13 14 16,13-13-16,-13 12 0,0 1 0,-1 0 15,1 0-15,0 13 16,0 0-16,-1 0 16,14 13-16,0 0 0,-13 0 15,13 1-15,0-1 0,13 0 16,-13 14-16,0-14 0,14 0 0,-14 0 15,13 0-15,0 1 0,0-1 16,-13 0-16,14 0 0,-1 1 0,0-1 16,0-13-16,-13 13 0,13-13 15,1 0-15</inkml:trace>
  <inkml:trace contextRef="#ctx0" brushRef="#br0" timeOffset="169177.6">14962 1905 0,'0'13'47,"13"0"-47,-13 1 0,14-14 15,-14 13-15,13-13 0,0 13 16,0 0-16,1-13 0,-14 14 15,13-14-15,-13 13 0,13-13 0,-13 13 16,0 0-16,0 1 16,0-1-1,-13 0 1,0-26 0,13 0-16,-14-1 15</inkml:trace>
  <inkml:trace contextRef="#ctx0" brushRef="#br0" timeOffset="169616.77">14737 569 0,'53'0'0,"-40"13"0,14-13 0,-14 0 15,14 13-15,-1-13 0,0 14 0,-12-1 16,25 0-16,-25 0 0,12 14 16,1-14-16,-14 13 0,13 1 0,-13-1 15,1 1-15,-1 12 0,0-12 0,-13 13 16,13-1-16,1-12 0,-1 12 15,0 1-15,14 13 0,-14 0 0,13 0 16,-13-13-16,14 12 0,-1-12 0,-12 13 16,12 0-16,-13-13 0,14-1 0,-27 1 15,13 0-15,0-1 0,0 14 16,1-26-16,-14 12 0,13 1 0,-13 0 16,0-14-16,-13 1 0,13-1 0,-14 1 15,1-1-15,0 1 0,-13-1 16,12 1-16,-12-1 0,-1-13 15,1-13-15,-1 13 0,14-13 0,-26 0 16,12 0-16,-26-13 0,0 0 0,-13-13 16</inkml:trace>
  <inkml:trace contextRef="#ctx0" brushRef="#br0" timeOffset="170084.93">13970 648 0,'-40'40'16,"27"-27"-16,13 0 0,-13 1 16,13 12-16,-13 1 0,13-1 0,0 14 15,13-1-15,0 1 0,0-14 16,1 27-16,12 0 0,-13 0 0,14 0 16,-1-13-16,-13 13 0,14 0 15,-1 0-15,1 0 0,-14-1 16,13 15-16,1-14 0,-14 13 0,27 39 15,-14-52-15,1 53 16,-1-66-16,-13 0 0,1-1 0,-1-12 16,13-1-16,-12 1 0,25 26 15,-26-40-15,14 0 0,-14 0 16,0-13-16,14 13 0,-14-13 0,0 0 16,14 0-16,-14 0 0,13 0 15,-12-13-15,12 13 0,-13-13 0,14 13 16,-14-13-16,0 13 0,1-13 15</inkml:trace>
</inkml:ink>
</file>

<file path=ppt/ink/ink15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5:42.922"/>
    </inkml:context>
    <inkml:brush xml:id="br0">
      <inkml:brushProperty name="width" value="0.05292" units="cm"/>
      <inkml:brushProperty name="height" value="0.05292" units="cm"/>
      <inkml:brushProperty name="color" value="#0070C0"/>
    </inkml:brush>
  </inkml:definitions>
  <inkml:trace contextRef="#ctx0" brushRef="#br0">4842 3625 0,'-27'13'63,"27"159"-63,0 13 15,0-39-15,-13 12 0,13-25 16,-26 12-1,12-65-15,1-14 16,13 13-16,0-39 16,0-27-16</inkml:trace>
  <inkml:trace contextRef="#ctx0" brushRef="#br0" timeOffset="1935.42">5001 3731 0,'26'0'78,"40"39"-62,53-25-16,40 12 0,39-13 15,80 27-15,93-27 16,277 14-16,-40-1 15,107-26-15,79 0 16,-40 0 0,278 0-16,-146 0 15,53 0-15,-52 0 16,-28 0-16,292 27 16,-330-27-16,-67 0 15,-40 0-15,-66 26 16,212 0-16,-251-26 15,-67 0-15,0 27 16,107-27-16,-186 0 16,-66 0-16,39 0 15,-224 0-15,357 0 16,-199 0-16,-52 0 16,-27 0-16,-40 0 15,146 0-15,-344 0 16,-53-27 15,0 41 188,0 78-219,0-12 15,0 25-15,-13 41 16,-27-53-16,-13 52 16,13-13-16,1-26 15,-28 13-15,14-13 16,14-26 0,26-54-16,-14 14 15,14-40 110,-40 13-125,-53-13 16,-39 13-16,-160 14 15,-25-14-15,-186 40 16,-53-53-16,-106 0 16,-330 26-16,211 1 15,-106-1-15,1 1 16,-40 25-16,-212 1 16,330 0-16,-12 0 15,79-26-15,0-27 16,-80 26-16,226-26 15,65 27-15,147-1 16,-41-13 0,133 14-16,132-1 15,13-13-15,27-13 0,13 14 16,-27-14-16,40 13 16,0-13-16,1 13 15,-1-13 1,-53 13-16,14-13 15,12 0-15,-52 0 16,53 0-16,-67 0 0,80 0 16,-39-13-1,52 0-15,-53 0 16,13 13-16,54 0 16,-67-27-16,0 14 15,-13-27-15,14 27 16,-1 0-16,13-14 15,-12 14-15,-28-27 16,28-12-16,-41 12 16,40 27-16,14-40 15,-14 39-15,-26-25 16,66 26-16,-13-1 16,26 1-1,-13 0-15,26 0 16,14 13-16,-1 0 0,1-14 15,13 14-15,26 0 16,-13-13-16,27 13 16,-27 0-16,26 0 15,14-26 48,13 13-48,-13-107-15,13-12 16,0 0-16,0 26 16,26-66-16,27 27 15,-26 52-15,-1 0 16,-26 54-16,13-14 16,1 39-16,-14 1 15</inkml:trace>
  <inkml:trace contextRef="#ctx0" brushRef="#br0" timeOffset="6287.31">12766 6416 0,'-13'-13'0,"0"53"16,-1-27-16,1 27 15,13-14-15,0 0 16,-13 1-16,13 13 0,0-14 16,0 1-16,0-1 0,0 0 0,0 1 15,0-1-15,13 1 0,-13-14 0,13 13 16,-13-12-16,14-1 0,-1 0 15,0-13-15,0 13 0,1-13 0,-1 0 16,0 0-16,0 0 0,14-13 0,-1 0 16,1 0-16,-14-14 0,13 1 0,1-1 15,-14 1-15,0-1 0,1-12 16,-1 12-16,-13-12 0,0 12 0,0-13 16,-13 14-16,13-14 0,-40-26 15,27 40-15,-14-1 0,1 1 16,12 13-16,-12-1 0,13 1 0,-14 13 15,14 0-15,-13 0 0,12 0 16,-12 0-16,13 13 0,-1 1 0,-12-1 16,13 0-16,13 13 0,-13 1 0,13-1 15,0 1-15,0-1 0,0 14 16,13 0-16,-13-1 0,13-12 0,0 13 16,14-1-16,-14-12 0,0-1 0,0 1 15,1-1-15,12-13 0,-13 0 0,1 14 16,-1-14-16,0 0 15,0-13-15,0 14 0,1-14 0</inkml:trace>
  <inkml:trace contextRef="#ctx0" brushRef="#br0" timeOffset="6660.09">13189 6747 0,'14'0'16,"-28"0"-16,41 0 0,-27 13 0,0 0 15,0 1-15,0-1 16,0 0-16,0 0 15,13 0-15,-13 1 0,13-1 16,1 0-16,-14 0 0,13-13 16,0 14-16,0-1 0,-13 0 15,14-13-15,-14 13 0,13 1 16,-13-1-16,0 0 0,0 0 16,0 0-16,-13 1 0,13-1 15,-14-13-15,1 0 16,13 13-16,-13-13 0,0 0 0,-1 0 15,1 0-15,13-13 16</inkml:trace>
  <inkml:trace contextRef="#ctx0" brushRef="#br0" timeOffset="6915.23">13679 6456 0,'26'13'31,"-26"0"-31,14-13 0,-14 14 0,13-1 16,-13 0-16,13 0 0,-13 14 0,13-14 15,-13 0-15,0 14 0,0-14 0,0 13 16,0-12-16,-13 12 0,13-13 15,0 14-15,0-14 0,0 13 0,-13-12 16,13-1-16</inkml:trace>
  <inkml:trace contextRef="#ctx0" brushRef="#br0" timeOffset="7072.44">13745 6932 0</inkml:trace>
  <inkml:trace contextRef="#ctx0" brushRef="#br0" timeOffset="7387.57">13454 6720 0</inkml:trace>
  <inkml:trace contextRef="#ctx0" brushRef="#br0" timeOffset="7515.87">13454 6839 0,'0'14'16,"27"-14"-1,-14-14 1,0 14-16,0 0 0</inkml:trace>
  <inkml:trace contextRef="#ctx0" brushRef="#br0" timeOffset="8235.48">12793 7938 0,'-27'66'31,"14"-40"-31,13-13 0,0 14 0,0-1 16,13 1-16,-13-1 0,13 1 0,1 12 15,-14-12-15,13-14 0,0 13 0,0-12 16,1-1-16,12 0 0,-13 0 16,0-13-16,1 0 0,-1 0 0,13 0 15,-12 0-15,-1-13 0,13 13 0,-12-13 16,-1 0-16,0-14 15,0 14-15,-13-13 0,13-1 0,-13 1 16,0-1-16,-13-13 0,13 1 0,-13-1 16,0 14-16,0-14 0,-1 0 0,1 14 15,0-1-15,0 1 0,-1 13 16,1-1-16,0 1 0,0 13 0,13-13 16,-14 13-16,1 0 0,0 0 15,13 13-15,-13 0 0,13 1 16,0 12-16,0-13 0,0 14 15,0-1-15,0 14 0,13 0 0,-13-1 16,13 1-16,0-14 0,1 14 0,-1-13 16,0 12-16,0-12 0,1-14 15,-1 13-15,0-12 0,0-1 0,1 0 16,-1 0-16,0 1 0,-13-1 0,13-13 16,0 13-16,1-13 0</inkml:trace>
  <inkml:trace contextRef="#ctx0" brushRef="#br0" timeOffset="8539.69">13361 8162 0,'0'14'15,"0"-28"-15,0 41 0,14-14 0,-14 0 16,0 1-16,13 12 0,-13-13 16,0 0-16,13 14 0,-13-14 15,0 14-15,0-14 0,13 0 0,-13 14 16,0-14-16,14 0 0,-14 0 15,13-13-15,-13 13 0,13-13 16</inkml:trace>
  <inkml:trace contextRef="#ctx0" brushRef="#br0" timeOffset="8768.24">13626 8004 0,'40'-14'16,"-27"1"-16,0 13 16,0 0-16,1 0 0,-1 0 15,0 0-15,-13 13 16,0 1-16</inkml:trace>
  <inkml:trace contextRef="#ctx0" brushRef="#br0" timeOffset="8904.04">13719 8057 0,'-27'26'0,"54"-52"0,-67 65 16,27-26-1,26 1 17,0-28-17,0 14-15,1-13 0,-1 13 0,13-13 16,-12 0-16,12 13 0,-13-13 15,14-1-15,-1 1 0</inkml:trace>
  <inkml:trace contextRef="#ctx0" brushRef="#br0" timeOffset="9237.27">14288 7739 0,'26'-13'31,"-13"13"-16,-13 13-15,13-13 0,-13 13 0,27 27 16,-27-27-16,0 14 0,13 26 16,0-27-16,-13-13 15,0 14-15,0-1 0,14-13 0,-14 14 16,0-14-16,13 0 0,-13 1 0,13-1 16,-13 0-16,13 0 0</inkml:trace>
  <inkml:trace contextRef="#ctx0" brushRef="#br0" timeOffset="9414.45">14473 8361 0</inkml:trace>
  <inkml:trace contextRef="#ctx0" brushRef="#br0" timeOffset="12782.79">18084 6694 0,'-26'79'32,"26"-65"-32,0 12 0,0-13 0,0 14 15,0-1-15,0 1 0,0-1 16,13 1-16,-13-1 0,0 0 0,13-12 16,1 12-16,-14-13 0,13 1 15,0-1-15,0 0 0,0-13 0,1 13 16,-1-13-16,0 0 0,0 0 0,1-13 15,12 0-15,-13 13 0,0-27 0,14 14 16,-14-13-16,0-14 0,1 14 16,-1-14-16,-13 13 0,0-12 0,0-1 15,-13 0-15,-1 1 0,1-1 0,0 0 16,-14 14-16,1-1 0,0 1 16,12-1-16,-12 14 0,-1 0 15,14 0-15,0 13 0,-13 0 0,12 0 16,1 13-16,0 13 15,0-12-15,13 12 0,0 1 16,0-1-16,13 14 0,-13-1 0,13 1 16,0-13-16,1 12 0,-1 1 0,26 26 15,-25-26-15,12-14 0,-13 1 16,1 12-16,12-25 0,-13 12 16,0-13-16,1 14 0,-1-14 0,0 0 15,0 0-15,1 1 0,-1-1 16,0-13-16,-13 13 0,13-13 0,14 0 15</inkml:trace>
  <inkml:trace contextRef="#ctx0" brushRef="#br0" timeOffset="13124.98">18666 6945 0,'27'14'31,"-27"-1"-31,0 0 16,0 0-16,0 0 0,0 14 0,-13-14 15,13 0-15,0 1 0,-14-1 0,14 0 16,0 0-16,0 1 0,0-1 15,0 0-15,0 0 16,0 0-16,14 1 16,-1-14-1,0 0-15,0-14 0,0 14 16,1 0-16,-1-13 0,0 0 16,0 13-16,-13-13 0,14 13 15,-1-13-15,-13-1 0</inkml:trace>
  <inkml:trace contextRef="#ctx0" brushRef="#br0" timeOffset="13324.38">19050 6800 0,'13'-13'0,"0"13"0,1-14 15,-1 14-15,0-13 16,0 13-16,1 0 16,-1 13-16,-13 1 15</inkml:trace>
  <inkml:trace contextRef="#ctx0" brushRef="#br0" timeOffset="13512.82">19063 6932 0,'-13'13'16,"26"-26"-16,-26 40 0,0-27 15,39 0 1,-13 0 0,1 0-16,-1-14 15,0 14-15,0 0 0,1-13 16,-1 13-16,0 0 0,-13-13 16,13 13-16,1 0 0,-1 0 0,-13-13 15,13 13-15,0 0 16,0-14-16</inkml:trace>
  <inkml:trace contextRef="#ctx0" brushRef="#br0" timeOffset="14202.99">19778 6747 0,'-14'26'0,"14"40"31,0-52-31,0-1 16,0 0-16,0 0 0,14 1 15,-14-1-15,0 0 16,0 0-16,-14-52 47,14 25-47,0 1 0,0-13 15,0-1-15,-13 1 0,13-1 0,0 14 0,0-13 16,0 12-16,0 1 0,0 0 16,0 0-16,0 0 0,13 13 15,1 13 1,-14 0 0,13 0-16,-13 0 0,13 1 15,0-1-15,1 0 0,-14 0 16,13-13-16,-13 14 0,13-14 0,0 0 15,0 0-15,1-14 16,-1 1-16,0 0 0,0 0 16,-13-1-16,14 1 0,-1 0 0,-13 0 15,26 0-15,-26-1 16,13 14-16,-13-13 0,14 13 16,-1 13-16,-13 1 0,13-1 15,-13 0-15,0 0 16,0 14-16,0-14 0,13 0 15,-13 0-15,0 1 0,0-1 0,0 0 16,14 0-16,-14 0 0,13-13 16,-13 14-16,13-14 15</inkml:trace>
  <inkml:trace contextRef="#ctx0" brushRef="#br0" timeOffset="15004.01">20294 6773 0,'13'-26'0,"-26"52"0,26-65 16,-13 25 15,-27 28-15,27-1-16,-13-13 0,13 13 15,0 0-15,-13 1 0,13-1 16,0 0-16,0 0 0,13 0 16,0 1-16,1-14 15,-1 0-15,0 0 0,13 0 16,-12 0-16,25-14 0,-12 14 0,13-13 16,-1 0-16,-12 13 0,12-13 0,41-14 15,-54 14-15,-13 0 16,14 13-16,-1-13 0,-12-1 0,-1 1 15,0 13-15,0-13 0,0 13 0,1-13 16,-1 13-16,-13-13 16,-27 13-1,14 13-15,0-13 16,0 13-16,0 0 0,-1-13 0,1 13 16,0 1-16,0-1 0,-1 0 15,14 0-15,-13-13 0,13 14 16,0-1-16,0 0 0,13-13 15,-13 13-15,14-13 0,12 0 16,-26-13-16,13 13 16,14-13-16,-14 13 0,0-13 0,14-14 15,-14 14-15,0-14 0,0 14 16,1-26-16,-14 12 0,13-13 16,-13 14-16,13-1 0,-13 1 15,0 0-15,0 12 0,13-12 0,-13 13 16,0-14-16,0 14 0,0 0 15,-26 39 1,26 1 0,-13-14-16,13 0 15,-14 14-15,14-14 0,0 13 0,0-13 16,0 14-16,0-14 0,0 0 16,14 14-16,-14-14 0,13 0 15,0-13-15,-13 14 0,13-14 0,1 0 16,-1 0-16,13 0 15,-13 0-15,14 0 16,-14 0-16,0 13 0,1 0 16,-1 0-16,-13 0 15,13 1-15,-13-1 16,13-13-16,-13 13 0,14-13 16,-1 0-1,0-13 1</inkml:trace>
  <inkml:trace contextRef="#ctx0" brushRef="#br0" timeOffset="15107.59">21140 6496 0</inkml:trace>
  <inkml:trace contextRef="#ctx0" brushRef="#br0" timeOffset="15868.33">21392 6443 0,'-14'0'0,"-12"0"15,13 0 1,-1 13-16,1-13 0,0 13 0,0 0 16,-1 1-16,1-1 0,0 0 15,0 13-15,0 1 0,-1-14 16,14 0-16,0 1 0,0-1 0,0 0 16,0 0-16,14-13 15,-14 14-15,13-14 0,0 0 16,13-14-16,-12 14 15,-1 0-15,0-13 0,-13 0 16,13 13-16,1-13 16,-1-1-16,-13 1 0,13 0 15,0 0 1,-13-1-16,14 14 16,-14-13-16,13 13 31,0 13-16,0 1 1,-13-1 0,13-13-16,-13 13 15,14 0 1,-1-13 0,0-13-1,0 13 1,-13-13-16,14 13 15,-1-13-15,0 13 16,0 0 0,1 0-1,-14 13-15,13-13 16,0 13-16,0-13 16,-13 13-1,13-13-15,-13 14 16,14-28-1,-1 14-15,93-79 94</inkml:trace>
  <inkml:trace contextRef="#ctx0" brushRef="#br0" timeOffset="16107.9">22304 6363 0,'-39'13'15,"25"1"-15,-25 12 0,-14 14 16,13 0-16,-13-14 0,-39 53 15,52-26-15,-53 27 16,40-41-16,27 14 0,-53 27 16,52-54-16,14 1 0,-14-1 15,14 0-15,0-12 0,39-14 32,-12-14-32</inkml:trace>
  <inkml:trace contextRef="#ctx0" brushRef="#br0" timeOffset="16319.12">22371 6403 0,'-14'26'16,"1"-12"-16,-13 12 0,-41 40 16,28-26-16,-1 0 0,0 13 15,-13-14-15,1 14 0,12 0 16,-66 53-16,66-53 0,1-14 15,-27 54-15,26-40 0,27-27 16,-14 14-16,14-13 0,0-1 16,-1-13-16,14 0 0,-13 1 0,13-1 15</inkml:trace>
</inkml:ink>
</file>

<file path=ppt/ink/ink15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6:26.194"/>
    </inkml:context>
    <inkml:brush xml:id="br0">
      <inkml:brushProperty name="width" value="0.05292" units="cm"/>
      <inkml:brushProperty name="height" value="0.05292" units="cm"/>
      <inkml:brushProperty name="color" value="#0070C0"/>
    </inkml:brush>
  </inkml:definitions>
  <inkml:trace contextRef="#ctx0" brushRef="#br0">3757 3532 0,'0'0'0,"0"13"62,0 54-62,-13 52 16,13 39-16,0 28 15,0 131-15,53 93 16,-27 133-16,14 39 16,-14 39-16,-26 160 15,0-199-15,0-79 16,0-146-1,14-66-15,12 13 16,-26-119-16,13-39 16,-13-67-16,14-13 15,-14-39-15,0-14 0</inkml:trace>
  <inkml:trace contextRef="#ctx0" brushRef="#br0" timeOffset="2508.73">3770 3691 0,'27'0'110,"52"13"-110,14 0 0,39 1 15,40 12 1,-40-26-16,120 13 15,12 1-15,14-14 16,92 26-16,239-26 16,79 0-16,-119 0 15,79 26-15,66-26 16,186 0-16,-146 0 16,-40 0-16,-65 27 15,-41-1-15,186 1 16,-238 13-16,-54-14 15,-25 0-15,-41-26 16,1 40-16,52 0 16,67 39-16,-54-52 15,-25 12 1,144-12-16,-144-1 0,-94-26 16,-52 0-16,-27 13 15,-52-13-15,-120 0 16,-53 14-16,-39-14 15,-13 0-15,-14 13 16,0-13 0,-13 66 77,53 80-77,-27 12-16,-12 1 16,-1 13-16,40 212 15,13-1-15,0 27 16,27 80-16,39 145 16,-39-132-16,26-40 15,-53-53-15,-13-27 16,39 67-1,-52-106-15,0-159 0,-27-66 16,13-26-16,-26-27 16,27 14-16,-27-54 15,0 14-15,13-27 16,-13 0 0,0 0-1,-13 1 48,-40 25-48,-27-12-15,-65-14 16,13 13-16,-67 14 16,-92-40-16,-53 13 15,-26 27-15,-67-13 16,-26-27-16,-13 0 15,-27 0-15,-171 0 16,158-40-16,-66 13 16,-27 27-16,0 0 15,-145 0-15,225 0 16,-26-39 0,-1099 12-1,1138 1-15,53 26 16,-146 0-16,41 0 15,171 0-15,26 0 16,120 0-16,-80-13 16,-171-14-1,171 14-15,40 13 0,-40 0 16,106-27-16,-106 14 16,146 0-1,66 0-15,-26-14 16,26 14-16,-53-27 15,0 1-15,13 25 16,0-12-16,53 13 16,27 0-16,26 13 15,-40 0-15,27-14 16,-40 14-16,67 0 16,26 0-16,-14 0 15,14 0 1,-14 0-1,14 0 17,0 0-1,0 0-15,-1-53 93,1 14-93,13-14-16,-26-13 15,26 13-15,-27 13 16,14-39-16,0 26 15,0 0-15,-14-13 16,27 39-16,0 1 16,-13-1-16</inkml:trace>
  <inkml:trace contextRef="#ctx0" brushRef="#br0" timeOffset="6190.51">9499 4683 0,'-14'79'0,"14"-65"16,-13 65-1,13-66-15,-13 14 0,13-14 16,0 0-16,0 14 0,0-14 0,0 0 16,0 0-16,0 1 0,-13-1 15,13 0-15</inkml:trace>
  <inkml:trace contextRef="#ctx0" brushRef="#br0" timeOffset="6676.58">9379 4868 0,'0'40'31,"0"-27"-15,14 0-16,-14 1 0,0-1 0,0 0 15,13 0-15,-13 1 0,0-1 16,13 0-16,-13 0 16,13 1-16,1-14 15,-1 0-15,0 0 16,0 0 0,1-14-16,-1 14 15,0-13-15,0 13 0,-13-13 16,13 13-16,-13-13 0,14 13 15,-14-14-15,13 14 0</inkml:trace>
  <inkml:trace contextRef="#ctx0" brushRef="#br0" timeOffset="7468.36">10676 4683 0,'13'40'31,"-13"-27"-31,0 0 15,0 0-15,0 1 0,0 12 0,0-13 16,0 14-16,0-14 0,0 0 0,13 14 16,-13-14-16,0 0 0,0 0 15,0 1-15,0-1 0,0 0 0,0 0 16,0 1-16,0-1 16</inkml:trace>
  <inkml:trace contextRef="#ctx0" brushRef="#br0" timeOffset="7943.54">10597 4934 0,'13'27'47,"-13"-14"-47,13-13 15,-13 13-15,0 1 0,13-1 16,-13 0-16,0 0 0,13-13 16,-13 14-16,14-1 15,-1-13 1,0 0 0,0 0-1,1 0-15,-14-13 0,13-1 16,0 1-16,0 0 15,1 0-15,-14-1 16,13 14-16,-13-13 16,13 0-16,0 0 15,0 13 1</inkml:trace>
  <inkml:trace contextRef="#ctx0" brushRef="#br0" timeOffset="8751.16">12846 4643 0,'0'40'16,"0"-27"-1,0 1-15,0-1 0,0 0 0,0 0 16,0 0-16,0 14 0,-14-14 0,14 0 16,0 14-16,0-14 15,0 0-15,0 1 0,0-1 0,0 0 16,0 0-16,0 0 0,0 1 0,0-1 15</inkml:trace>
  <inkml:trace contextRef="#ctx0" brushRef="#br0" timeOffset="9135.39">12753 4895 0,'0'13'15,"0"0"-15,0 0 16,0 1-16,13-1 15,-13 0-15,0 0 16,13-13-16,-13 14 0,14-1 16,-1-13-16,0 13 15,0-26 1,1 13-16,-1 0 16,0 0-16,-13-13 0,13 13 15,0 0-15,-13-14 0,14 14 16,-1 0-16,0-13 0,0 13 15,-13-13-15,14 13 0</inkml:trace>
  <inkml:trace contextRef="#ctx0" brushRef="#br0" timeOffset="14132.66">7210 6191 0,'-27'13'47,"14"-13"-47,13 14 16,-13-14-16,0 13 0,0 0 0,13 0 15,-14 1-15,1-1 0,0 0 0,0 0 16,-1 1-16,1-1 0,0 0 15,13 0-15,-13 0 0,-1 1 0,1-1 16,0 0-16,0 0 16,13 1-1,-13-14-15,13 13 0,-14-13 16,14 13-16,-13-13 31</inkml:trace>
  <inkml:trace contextRef="#ctx0" brushRef="#br0" timeOffset="14444.46">6945 6337 0,'-13'0'32,"0"13"-32,0-13 0,13 13 0,-14-13 15,14 13-15,0 1 0,-13-1 0,13 0 16,-13 0-16,13 14 0,-13-14 16,13 0-16,0 1 0,0-1 0,0 0 15,0 0-15,0 0 0,0 1 16,0-1-1,13-13-15,0 0 0,0 13 16,1-26 0,-1 13-16,0 0 15,-13-13-15,13 13 0,1 0 0,-14-14 16,13 14-16</inkml:trace>
  <inkml:trace contextRef="#ctx0" brushRef="#br0" timeOffset="15243.26">6125 6535 0,'0'0'15,"-13"13"-15,13 1 0,-13-1 0,13 13 16,0-12-16,0-1 15,0 0-15,0 0 0,0 1 0,13-1 16,-13 0-16,0 13 0,13-12 16,-13-1-16,13-13 0,-13 13 15,14 0-15,-14 1 0,13-14 0,0 13 16,0-13-16,0 0 0,1 0 16,-1 0-16,0 0 15,0-13-15,1-1 0,-1 1 16,-13 0-16,0 0 0,13-1 0,-13-12 15,0 13-15,-13-14 0,13 14 16,0-13-16,-13 12 0,-1-12 16,14 13-16,-13-14 0,0 14 0,13 0 0,-13 0 15,13-1-15,-14 1 0,14 0 16,-13 0-16,0-1 0,13 1 16,-13 13-1,26 27 16,-13-14-31,13 0 0,0 14 16,-13-14-16,14 0 0,-1 0 16,0 14-16,0-14 0,-13 13 0,14-12 15,-1-1-15,0 13 0,-13-12 0,13-1 16,1 0-16,-14 0 0,13 0 16,-13 1-16,13-1 0,0 0 15,-13 0-15,13-13 16,-13 14-16,14-14 0</inkml:trace>
  <inkml:trace contextRef="#ctx0" brushRef="#br0" timeOffset="15568.28">6456 6628 0,'-13'26'31,"13"-12"-31,13 12 15,-13-13 1,13 0-16,-13 1 16,13-14-16,-13 13 0,14-13 0,-1 0 15,0 0-15,0-13 16,0 13-16,-13-14 16,0 1-16,14 0 0,-28 0 15,14 0-15,0-1 16,-13 1-16,13 0 0,-13 13 0,13-13 15,-13 13-15,0 0 0,13-14 16,-14 14-16,-12 0 16,13 0-16,13 14 0,-14-14 15,14 13-15,-13-13 0,0 13 16</inkml:trace>
  <inkml:trace contextRef="#ctx0" brushRef="#br0" timeOffset="17296.36">14076 6218 0,'0'13'62,"0"0"-62,13 0 0,-13 1 16,0-1-16,13 0 0,-13 0 16,14 1-16,-1-1 0,-13 0 15,13 13-15,0-12 0,0-1 0,-13 0 16,14 0-16,-14 1 0,13-1 0,0 0 15,-13 0-15,13-13 0,-13 14 16,14-1-16,-14 0 16,13-13-16</inkml:trace>
  <inkml:trace contextRef="#ctx0" brushRef="#br0" timeOffset="17647.95">14116 6509 0,'26'66'15,"-26"-53"1,13 0-16,0 1 0,-13-1 15,14-13-15,-14 13 0,13 0 0,0-13 16,0 0-16,-13 14 0,14-14 0,-1 0 16,0 0-16,14 0 15,-14-14-15,0 1 16,0 0-16,-13 0 16,0-1-16,0 1 0,0 0 15,0 0-15,0-1 16,0 1-16,0 0 0,-13 0 15</inkml:trace>
  <inkml:trace contextRef="#ctx0" brushRef="#br0" timeOffset="18141.86">14499 6443 0,'0'26'31,"0"-13"-31,0 1 0,0 12 0,-13-13 16,13 0-16,0 1 0,13 12 0,-13-13 16,0 14-16,0-14 0,13 0 0,-13 1 15,14-1-15,-14 0 0,13 0 16,0 0-16,0-13 0,1 0 15,-1 14-15,-13-28 0,13 14 16,0 0-16,0-13 0,1 13 0,-1-13 16,0-13-16,0 12 0,1 1 15,-14-13-15,13 12 0,-13-12 0,0 13 16,0-14-16,0 14 0,0-13 0,-13 12 16,13 1-16,-14 0 0,14-14 15,-13 27-15,0-13 0,0 0 0,-1 13 16,1-13-16,0 13 0,0 0 15,-14 13-15,14-13 16,0 13-16,13 0 16,-13 1-16,13-1 0,0 0 0,0 0 15,0 1-15,0-1 0,13 0 0,-13 13 16,13-12-16,0-1 0,-13 0 16,14 14-16,-1-14 0,-13 0 0,13 0 15,13 1-15,-26-1 0,14 0 16,-14 0-16,13-13 0,0 13 0,0 1 15,-13-1 1</inkml:trace>
  <inkml:trace contextRef="#ctx0" brushRef="#br0" timeOffset="18476.7">14975 6588 0,'0'0'0,"-26"13"31,26 1-31,-13-1 16,-1 0-16,14 0 0,-13 1 16,0-1-16,13 0 15,-13 0-15,13 0 16,0 1-16,13-1 15,0-13 1,0 0 0,-13 13-16,14-13 0,-1 0 15,0 0-15,0-13 0,1 13 16,-1 0-16,0-13 16,0-1-16,1 1 15,-1 0-15</inkml:trace>
  <inkml:trace contextRef="#ctx0" brushRef="#br0" timeOffset="18694.8">15015 6615 0,'0'26'16,"0"-52"-16,0 65 0,0-25 0,0-1 15,0 0-15,0 0 0,0 0 16,0 1-16,13-1 0,-13 0 0,0 0 15,0 1-15,14-1 0,-14 0 0,0 0 16,13-13-16,-13 13 0,13 1 16,-13-1-1,13-13-15,-13 13 16</inkml:trace>
  <inkml:trace contextRef="#ctx0" brushRef="#br0" timeOffset="19959">6694 6945 0,'-13'0'0,"26"27"31,-13-14-16,0 0 1,13-13-16,-13 13 16,0 1-16,13-41 47,-13 14-32,0 0 16,14 13-31,-1 13 32,0-13-32,-13 13 15,13-13 1,1-13 15,-14 0-15,13 13-16,-13-13 15,0-1 1,13 14-16,0 0 16,-13 14-1,13-14 1,1 0-16,-14 13 0,13-13 16,0 0-16</inkml:trace>
  <inkml:trace contextRef="#ctx0" brushRef="#br0" timeOffset="20151.28">6959 6866 0,'13'26'31,"-13"-12"-31,0-1 16,13 0-1,-13 0-15,0 1 0,13-14 16,-13 13-16</inkml:trace>
  <inkml:trace contextRef="#ctx0" brushRef="#br0" timeOffset="20326.66">6879 6747 0,'-26'13'32</inkml:trace>
  <inkml:trace contextRef="#ctx0" brushRef="#br0" timeOffset="20730.58">7038 6813 0,'13'40'31,"-13"-27"-31,13 0 0,-13 0 16,14 1 0,-14-1-16,13-13 15,0-13 1,0-1-1,1 1 1,-1 13 0,0 0-1,0 0-15,0 13 16,1-13 0,-14 14-16,13-14 0,0 13 15,0-13 1</inkml:trace>
  <inkml:trace contextRef="#ctx0" brushRef="#br0" timeOffset="21640.58">15333 6257 0,'-14'0'15,"1"14"-15,0 12 16,13-13-16,-13 1 16,13-1-16,0 13 0,0-13 0,0 14 15,0-14-15,0 14 0,13-14 0,-13 13 16,13-12-16,-13 12 0,13-13 16,1 0-16,-14 1 0,13-1 0,0 0 15,0 0-15,1 1 0,-1-14 16,0 0-16,-13 13 0,13-13 15,0 0-15,1-13 0,-1 13 16</inkml:trace>
  <inkml:trace contextRef="#ctx0" brushRef="#br0" timeOffset="22175.5">15571 6429 0,'0'0'0,"0"14"31,0-1-15,0 0-16,0 0 15,0 1-15,0-1 16,13-13-16,-13 13 16,0 0-1,13-39 16,-13 13-15,13 13-16,-13-14 16,14 1-16,-1 13 31,0 0-15,-13 13-16,13 1 15,-13-1 16,14-26 1,-1-1-32,-13 1 15,13 13-15,-13-13 16,13 13-16,0 0 31,1 13-31,-1 0 16,-13 1-1,13-14-15,-13 13 16,13-13 0,1 0-1</inkml:trace>
  <inkml:trace contextRef="#ctx0" brushRef="#br0" timeOffset="22556.6">15954 6376 0,'0'0'0,"-26"0"32,13 0-32,-1 0 15,14 14-15,-13-14 0,13 13 0,-13-13 16,13 13-16,-13-13 0,13 13 0,0 1 16,-13-14-16,13 13 0,0 0 15,0 0 1,13 1-1,0-28 1,0 14-16,0-13 16,1 0-1,-1 0 1,0 13 0,0 0-1,-13 13 1,0 0-1,14 0-15,-14 1 16,13-14-16,0 0 31</inkml:trace>
  <inkml:trace contextRef="#ctx0" brushRef="#br0" timeOffset="22754.03">16192 6324 0,'0'0'0,"-13"26"16,13-13-1,0 0-15,-13-13 0,13 14 0,0-1 16,-13 0-16,13 0 16,-13-13-16,13 14 0,0-1 0,-14 0 15,14 0-15,-13 1 16</inkml:trace>
  <inkml:trace contextRef="#ctx0" brushRef="#br0" timeOffset="22946.64">16073 6416 0,'0'27'47,"14"-27"-47,-14 13 15,13-13-15,-13 13 16,13-13-16,0 0 16,1 0-16,-1 0 0,0 0 15,0 0-15,0-13 16,1 13-16,-1 0 0</inkml:trace>
  <inkml:trace contextRef="#ctx0" brushRef="#br0" timeOffset="23217.05">16153 6072 0,'13'-13'0,"0"26"15,172 67 16,-158-54-31,-1 0 0,1-12 0,-1 12 16,-12 1-16,-1-14 0,-13 13 16,13 1-16,-13-14 0,-13 13 0,13 1 15,-13 13-15,-1-1 0,1 1 0,0-14 16,0 14-16,-14 0 0,1 0 0,12-14 16,-12 14-16,0-14 15</inkml:trace>
  <inkml:trace contextRef="#ctx0" brushRef="#br0" timeOffset="30418.55">9459 6707 0,'0'13'344,"0"1"-344,0-1 15,13 0 1,-13 0-16,0 1 0,0-1 15,13-13-15,-13 13 16,14 0-16,-1 0 16,0 1-16,0-14 15,-13 13-15,13-13 0,1 0 16,-14 13-16,13-13 0,0 0 0,0 13 16,1-13-16,-1 0 15,0 0-15,0 0 16,1 0-16,-1 0 0,0 0 15,0 0-15,0 0 16,1 0-16,-1 0 0,0-13 16,0 13-16,1 0 0,-1-13 0,13 13 15,-13-13-15,1 13 0,-1 0 16,0-14-16,0 14 16,1 0-16,-1-13 0,0 13 0,0 0 15,1-13-15,-1 13 0,0 0 0,0 0 16,-13-13-16,13 13 0,1 0 15,-1 0-15,0 0 0,0-13 0,1 13 16,-1 0-16,0 0 0,0 0 0,1-14 16,-1 14-16,0 0 0,0 0 15,0 0-15,14 0 0,-14-13 0,0 13 16,1 0-16,-1 0 0,13 0 16,-12 0-16,12-13 0,-13 13 0,14 0 15,-14 0-15,13 0 0,1 0 16,-14-13-16,14 13 0,-1 0 15,0 0-15,-12 0 0,12 0 0,-13 0 0,14 0 16,-14 0-16,0 0 0,14 0 16,-14 0-16,0 0 0,0 0 0,14 0 15,-14 0-15,0 0 0,1 0 16,-1 13-16,0-13 0,13 0 0,-12 0 16,-1 13-16,0-13 0,0 0 15,1 13-15,-1 1 0,0-14 16,0 13-16,1 0 15,-1-13-15,-13 13 0,13-13 0,-13 13 16,13-13-16,-13 14 0,13-14 0,-13 13 16,14 0-16,-14 0 15,13-13-15,-13 14 16,13-1 0,-13 0-1,0 0 1,13-13-16,-13 14 31,0-41 16,14 27-47,-14-13 16,13 0-1,-13-1-15,13 14 16,-13-13-16,13 13 0,-13-13 15,13 13-15,-13-13 16,14 13-16,-1-14 0,0 14 16,0-13-16,1 13 15,-1-13 1,0 13-16,0 0 0,14 0 0,-14 0 16,0-13-16,0 13 0,14 0 0,-14 0 15,0 0-15,14-13 0,-14 13 0,14 0 16,-14 0-16,0 0 15,13 0-15,-12 0 0,-1 0 0,13 0 0,-12 0 16,-1 0-16,13 0 0,-12 0 0,-1 0 16,0 0-16,13 0 0,-12 0 15,-1 0-15,0 0 0,0 0 0,27 0 16,-27 0-16,14 0 16,-1 0-16,-13 0 15,1 13-15,-1-13 0,0 0 0,0 0 16,1 0-16,-1 0 0,0 0 15,13 0-15,-12 0 0,-1-13 0,0 13 16,0 0-16,1 0 0,12 0 16,-13 0-16,1 0 0,-1 0 0,0 0 15,0 0-15,0 0 0,1 0 0,-1 0 16,0 0-16,0 0 0,1 0 16,-1 0-16,0 0 0,0 0 0,1 0 15,-1 0-15,0 0 0,0 0 16,0 0-16,1 0 0,12 0 15,-13 0 1,1 0-16,-1 13 16,0-13-16,0 0 15,0 0-15,1 0 16,-1 0-16,0 0 16,0 0-16,1-13 15,-1 13-15,0 0 16,0 0-16,1 0 15,-1 0-15,0 0 16,0 0-16,-13-14 0,13 14 16,1 0-16,-1-13 15,0 13-15,0 0 0,-13-13 16,14 13-16,-1-13 16,0-1-1,-13 1 1,13 13-16,-13-13 15,14 13-15,-14-13 16,0 0 15,13 13-15,-13-14 93,-13 28-15,-1-14-94,14 13 16</inkml:trace>
  <inkml:trace contextRef="#ctx0" brushRef="#br0" timeOffset="36479.43">21458 5980 0,'-40'13'15,"27"0"-15,0 0 0,-1 0 16,-12 1-16,13-1 0,-14 0 0,1 14 15,-1-14-15,1 13 0,-1-12 16,1 12-16,13-13 0,-14 0 16,14 1-16,0-1 0,0 0 0,-1 0 15,1-13-15,13 14 0,-13-1 0,0-13 16,13 13-16,-14-13 16</inkml:trace>
  <inkml:trace contextRef="#ctx0" brushRef="#br0" timeOffset="36763.69">21140 6112 0,'-66'53'31,"66"-40"-31,-13 0 0,0 14 0,-1-14 16,14 13-16,-13-12 0,13-1 0,0 13 16,-13-12-16,13-1 0,0 0 0,13 0 15,-13 0-15,0 1 0,13-1 16,1 0-16,-1-13 0,0 13 0,0-13 16,14 0-16,-14 0 0,0 0 0,14 0 15,-14 0-15,13 0 16,-12 0-16,12 0 0,-13 0 0,14-13 15,-14 13-15,13 0 0,1-13 0,-14 13 16</inkml:trace>
  <inkml:trace contextRef="#ctx0" brushRef="#br0" timeOffset="38621.28">21868 5503 0,'0'0'0,"-27"14"32,27-1-32,-13 0 0,13 13 0,-13-12 15,13-1-15,0 13 0,-13-12 0,13 12 16,0-13-16,0 14 0,0-14 16,0 0-16,0 0 0,13 1 15,-13-1-15,13 0 0,-13 0 0,13-13 16,-13 14-16,14-14 0,-1 13 0,0-13 15,0 0-15,1 0 0,-1-13 16,0 13-16,0 0 0,0-14 0,1 1 16,-1 0-16,0-14 0,0 14 0,-13-13 15,14 13-15,-14-14 0,13 1 16,-13 12-16,0-12 0,0-1 0,0 14 16,0-13-16,-13-1 0,13 14 15,-14-13-15,14 12 0,-13 1 0,0 0 16,13 0-16,-13 0 0,-1-1 15,1 14-15,0 0 0,0 0 16,0 0-16,-1 14 16,1-1-16,13 0 0,-13 0 15,13 0-15,-13 14 0,13-14 16,0 0-16,0 14 0,0-14 16,0 0-16,0 0 0,0 14 0,13-14 15,-13 0-15,13 1 0,-13-1 0,13 0 16,-13 0-16,14 1 0,-1-14 15,-13 13-15,13-13 0,0 13 0,0-13 16,1 0-16,-1 0 16,0-13-16,0 13 0,1 0 0,-14-13 15,13 13-15,0-14 16,-13 1-16,13 13 0,-13-13 0,13 13 16,-13-13-16,14 13 0,-1-14 15,0 1 1,-13 26 15,0 1-31,0-1 16,0 0-16,13-13 0,-13 13 15,0 1-15,14-14 0,-14 13 16,13-13-16,0 0 16,0 0-1,1-13-15,-1 13 0,0-14 0,0 1 16,0 13-16,-13-13 0,14 0 15,-1 13-15,-13-14 16,13 14 0,0 0-1,-13 14-15,0-1 16,14 0 0,-14 0-16,13-13 15,-13 14-15,13-14 16,0 0-16,1-14 15,-1 14-15,0-13 0,0 13 16,-13-13-16,13 0 0,1-1 0,-1 14 16,-13-26-16,13 13 0,0-1 15,-13-12-15,14 13 0,-14-14 16,13 1-16,-13-1 0,13 14 0,-13-13 16,0-1-16,13 1 0,-13-1 15,0 1-15,0-1 0,0 14 0,0 0 16,0 0-16,0 0 0,13-1 0,-13 1 15,0 0-15,-13 26 32,13 0-32,-13 14 15,13-14-15,0 13 0,0 1 16,0-1-16,-13 1 0,13-1 16,0 1-16,0-14 0,0 13 0,0 1 15,0-14-15,0 14 0,13-14 0,-13 0 16,0 13-16,13-12 15,-13-1-15,0 0 0,13 0 0,1 1 16,-28-41 31,1 14-47,0 13 0,13-13 16,-13 13-16,0 0 0,-1 0 15,14-14-15,-13 14 0,0 0 0,-14 0 16,27-13-16,-13 13 15,26-13 17,1 0-17,-1 13-15,0-13 0,0-1 0,1 14 16,-1-13-16,0 0 0,0 13 16,0-13-16,1-1 0,-1 14 0,0-13 15,0 13-15,1-13 0,-1 13 16,0 0-1,-13 13 1,13-13-16,-13 13 0,0 1 16,0-1-16,0 0 0,0 0 15,0 1-15,0-1 16,14 0-16,-14 13 16,0-12-1</inkml:trace>
  <inkml:trace contextRef="#ctx0" brushRef="#br0" timeOffset="38925.58">22847 5212 0,'0'0'0,"0"-13"0,-13 40 31,-1-14-15,14 0-16,0 0 0,0 14 0,0-14 16,-13 13-16,13-12 0,0 12 15,0-13-15,0 14 0,0-14 0,0 13 16,0-12-16,0-1 0,0 13 0,0-12 16,0-1-16,0 0 0,-13 0 0,13 0 15,0 1-15,0-1 16,0 0-16,0 0 0,0 1 15,0-1 1,13-13 0</inkml:trace>
  <inkml:trace contextRef="#ctx0" brushRef="#br0" timeOffset="39384.04">22701 5569 0,'0'-92'31,"0"65"-31,0 1 0,0 0 16,0-1-16,0-13 0,-13 14 0,13-14 15,0 14-15,0-1 0,0 1 16,0 13-16,0-1 0,0-12 0,0 13 16,0-1-16,0 1 15,0 0-15,0 0 0</inkml:trace>
  <inkml:trace contextRef="#ctx0" brushRef="#br0" timeOffset="39555.94">22807 5040 0,'0'-13'0,"13"26"31</inkml:trace>
  <inkml:trace contextRef="#ctx0" brushRef="#br0" timeOffset="40183.32">23058 5411 0,'0'-13'0,"0"-1"16,0-25-1,0 25-15,0 1 16,-13 13 0,0 0-16,0 0 15,13 13-15,-13 1 0,13-1 16,-14 0-16,14 0 16,0 1-16,-13-14 0,13 13 0,0 0 15,0 0-15,0 0 0,13-13 16,-13 14-16,0-1 0,14 0 15,-1-13 1,0 0-16,0 0 16,-13-13-16,13 13 15,-13-13-15,14 13 0,-14-14 0,13 1 16,0 0-16,0 0 0,1 0 16,-1-1-16,0 14 15,0-13-15,1 26 16,-1 1-1,-13-1-15,0 0 0,0 0 16,0 0-16,0 1 16,13-1-1,-13 0 1,13-39 0,0 26-1,1-14-15,-1 1 0,0-13 0,0 13 16,1-1-16,-1 1 0,0 0 15,0 0-15,0-1 0,1 1 16,-1 13-16,0-13 0,0 26 16,-13 0-16,-13 14 15,13-14-15</inkml:trace>
  <inkml:trace contextRef="#ctx0" brushRef="#br0" timeOffset="40435.3">22212 5953 0,'185'-92'31,"-132"78"-31,0-12 0,0 13 0,13-14 15,-13 14-15,0 0 0,13-14 0,-26 27 16,12-13-16,-12 0 0,-13 0 16,-1 13-16,1 0 0,-14 0 0,0 0 15,0 0-15,0 0 0</inkml:trace>
  <inkml:trace contextRef="#ctx0" brushRef="#br0" timeOffset="40663.57">22291 6046 0,'27'-14'0,"145"-52"32,-133 53-32,14 13 0,-13-13 0,39-14 15,-39 14-15,0 0 0,-1 13 16,-12-13-16,-14 13 0,13 0 0,-12-13 15,-1 13-15,0 0 0,0 0 16,1 0-16,-1 0 0,0 0 0,0 0 16</inkml:trace>
  <inkml:trace contextRef="#ctx0" brushRef="#br0" timeOffset="41143.41">22900 6178 0,'13'53'16,"-13"-40"-1,0 0-15,13 14 0,-13-1 16,0 1-16,13-1 0,-13-13 0,14 14 16,-14-1-16,0-12 0,13 12 15,-13-13-15,0 14 0,0-14 0,0 0 16,13-13-16,-13 13 0,0 1 0,0-1 15</inkml:trace>
  <inkml:trace contextRef="#ctx0" brushRef="#br0" timeOffset="41373.46">22992 6178 0,'-13'-13'0,"-13"39"32,12-26-32,1 13 0,-13 14 0,12-14 15,-12 14-15,0-1 0,-1 1 0,1-1 16,12 0-16,-12-12 0,-1 12 16,14-13-16,0 1 0,0-1 0,0 0 15,-1-13-15</inkml:trace>
  <inkml:trace contextRef="#ctx0" brushRef="#br0" timeOffset="41527.57">22939 6191 0,'14'27'0,"-1"-27"0,0 13 15,-13 0-15,13-13 0,-13 13 16,14-13-16,-14 14 0,52 25 31,-38-39-31,-14 14 0,13-14 16</inkml:trace>
</inkml:ink>
</file>

<file path=ppt/ink/ink15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7:40.450"/>
    </inkml:context>
    <inkml:brush xml:id="br0">
      <inkml:brushProperty name="width" value="0.05292" units="cm"/>
      <inkml:brushProperty name="height" value="0.05292" units="cm"/>
      <inkml:brushProperty name="color" value="#0070C0"/>
    </inkml:brush>
  </inkml:definitions>
  <inkml:trace contextRef="#ctx0" brushRef="#br0">18336 2514 0,'0'39'0,"0"-12"0,0-14 0,0 0 16,0 0-16,0 14 16,13-14-16,-13 0 0,0 14 0,0-14 15,13 0-15,-13 0 0,0 14 0,13-14 16,1-13-16,-14 13 0,13 1 16,0-14-16,-13 13 0,13-13 0,0 0 15,1 0-15,-1 0 0,0 0 0,0-13 16,1-1-16,-1 1 0,0 0 15,14 0-15,-27-14 0,13 1 0,0-1 16,0-12-16,-13 12 0,0 1 0,0-1 16,0-12-16,-13-1 0,0 13 15,0 1-15,-1-1 0,1 1 0,-13 0 16,12 12-16,1 1 0,0 0 16,-14 13-16,14-13 0,0 13 15,0-14-15,0 14 0,-1 0 0,1 14 16,0-14-16,0 13 0,-1 0 0,1 0 15,0 1-15,13 12 0,-13 0 16,13 1-16,0-1 0,0 1 0,13 13 16,-13-14-16,13 14 0,0-1 0,-13-12 15,14-1-15,-1 1 0,0-1 16,0 1-16,1-14 0,-1 13 16,-13-12-16,13-1 0,0 0 0,0 0 15,-13 1-15,14-1 0,-14 0 0,13-13 16,-13 13-16,13-13 0,0 0 15,1 0-15</inkml:trace>
  <inkml:trace contextRef="#ctx0" brushRef="#br0" timeOffset="683.99">18838 2619 0,'-26'14'0,"13"52"31,-1-53-31,14 0 0,0 0 0,14 1 16,-14-1-16,0 0 0,0 0 0,13 1 15,-13-1-15,13-13 0,0 13 16,1-13 0,-1-13-16,0 13 15,-13-13-15,13-1 0,-26 1 16,13 0-16,0-14 15,0 14-15,-13 0 0,13 0 0,0 0 0,-13-14 16,-1 27-16,14-13 0,-13 0 16,0-1-16,0 14 0,-1 0 15,1 14-15,0-14 16,13 13-16</inkml:trace>
  <inkml:trace contextRef="#ctx0" brushRef="#br0" timeOffset="1417.4">18455 3294 0,'0'0'0,"-14"27"0,1-14 0,13 0 16,0 13-16,0-12 0,0 12 15,0-13-15,0 14 0,0-1 0,0 1 16,13-1-16,-13-13 0,14 14 0,-14-14 15,13 14-15,0-14 0,-13 0 16,13 0-16,1 0 0,-1-13 16,0 14-16,0-14 0,1 0 0,-1 0 15,0 0-15,0-14 0,0 14 0,1-13 16,-1 0-16,0-13 16,0-1-16,-13-13 0,14 14 0,-1-14 0,-13 14 15,0-1-15,-13-12 0,13-1 0,-14 0 16,14 14-16,-13-14 0,0 14 15,0 12-15,-1-12 0,14 13 0,-13 13 16,0-13-16,13-1 0,-13 14 0,0-13 16,-1 26-1,1-13-15,13 14 0,-13-1 16,13 0-16,0 13 0,0-12 0,0 12 16,0 1-16,13-1 0,-13 14 0,13-14 15,-13 14-15,14-14 0,-1 1 16,-13-1-16,13 1 0,0-1 15,-13-13-15,13 14 0,-13-14 0,14 0 0,-14 1 16,13-1-16,-13 0 0,13 0 16,0 0-16</inkml:trace>
  <inkml:trace contextRef="#ctx0" brushRef="#br0" timeOffset="1605.84">18865 3440 0,'0'52'16,"0"-38"-16,0-1 15,0 0-15,0 0 0,0 14 16,0-14-16,-13 0 0,13 1 16,0-1-16,0 0 0,13 0 0,-13 0 15,0 1-15,13-1 16</inkml:trace>
  <inkml:trace contextRef="#ctx0" brushRef="#br0" timeOffset="2480.23">18534 4114 0,'-26'27'16,"26"-14"-16,-14 132 31,28-118-31,-14-1 16,13 1-16,-13-14 0,13 14 15,0-1-15,-13-13 0,14 14 0,-1-14 16,0-13-16,0 13 0,0 0 0,1-13 16,-1 0-16,0 0 0,0 0 0,1 0 15,-1-13-15,0 0 0,0 13 16,0-27-16,1 14 0,-14-13 0,13-1 15,-13-12-15,0-1 0,0 13 0,0-12 16,0-1-16,-13 0 0,-1 14 16,1-14-16,0 14 0,13 13 15,-13-14-15,0 14 0,-1 0 0,1-1 0,0 14 16,0-13-16,-1 0 16,1 13-16,0 0 15,13 13-15,-13 0 0,13 1 0,-13-1 16,13 13-16,0-12 0,0 12 15,0 1-15,0 12 0,0-12 0,0 12 16,0-12-16,13 12 0,-13-12 16,13-1-16,-13 1 0,13-14 0,-13 14 15,13-1-15,-13-13 0,14 0 16,-1 1-16,-13 12 0,13-13 0,0 1 16,-13-1-16,14-13 0,-14 13 15,13 0-15,0-13 0,-13 14 0,13-14 16,0 0-16</inkml:trace>
  <inkml:trace contextRef="#ctx0" brushRef="#br0" timeOffset="2838.29">18971 4326 0,'26'0'0,"-52"0"0,65 13 15,-39 0-15,0 1 16,0-1-16,-13 13 0,13-12 16,-13-1-16,13 13 0,-13-13 0,13 1 15,-14 12-15,14-13 16,-13 1-16,13-1 0,0 0 15,0 0-15,13-13 16,1 0 0,-1 0-16,0-13 0,0 13 15,1 0-15,-1-13 0,0 13 16,0-13-16,0 13 0,1 0 0,-1 0 16,0-14-16</inkml:trace>
  <inkml:trace contextRef="#ctx0" brushRef="#br0" timeOffset="3608.11">18719 4961 0,'-26'13'16,"26"0"-16,-40 93 31,40-79-31,0-1 0,0 1 0,0 12 15,0-12-15,0-1 0,0 1 16,13-1-16,-13 1 0,14-14 0,-14 13 16,13-12-16,0-1 0,0 0 15,0 0-15,1-13 0,-1 13 0,0-13 16,0 0-16,1 0 0,-1-13 0,0 13 16,0-13-16,1 0 0,-1-14 15,0 14-15,0-13 0,-13-1 0,13-13 16,-13-39-16,-13 39 0,13 1 15,-13-1-15,0-26 0,0 26 16,-1 14-16,1-1 0,0 14 16,0 0-16,-1 0 0,1-1 15,0 14-15,0 0 0,-1-13 0,-12 26 16,13-13 0,13 14-16,-13-1 0,13 0 0,0 13 15,0-12-15,0-1 0,0 13 0,0 1 16,13 13-16,0-1 0,-13-12 15,13 12-15,0-12 0,1 13 0,-1-14 16,0 14-16,0-14 0,1 1 0,-1-14 16,0 13-16,0-12 0,-13 12 0,14-13 15,-1 14-15,0-14 0,-13 0 16,13 0-16,-13 1 0,13-1 16,1 0-16,-1 0 15,0-13-15,0 0 16</inkml:trace>
  <inkml:trace contextRef="#ctx0" brushRef="#br0" timeOffset="3944.18">19129 5252 0,'14'13'31,"-14"0"-31,0 1 16,0-1-16,-14-13 15,14 13-15,0 0 0,14 1 16,-14-1-16,13 0 16,-13 0-16,13-13 0,0 14 0,-13-1 15,14-13-15,-1 13 0,-13 0 0,26 0 16,-26 1-1,0-1-15,0 0 16,0 0-16,-13 1 0,0-1 16,0-13-16,-1 13 15,1-13-15,0 13 0,0 0 16,-1-13-16,1 0 16</inkml:trace>
  <inkml:trace contextRef="#ctx0" brushRef="#br0" timeOffset="4888.81">18838 6085 0,'-13'27'31,"13"-14"-31,0 0 0,-13 14 0,13-14 16,0 13-16,0 14 0,0-13 0,0-1 15,0 1-15,0-1 0,13 27 16,-13-27-16,13 1 0,-13-14 16,14 0-16,-1 1 0,0-1 0,13 0 15,-12-13-15,-1 0 0,0 0 16,0 0-16,14 0 0,-14-13 15,0 0-15,1-1 0,12-12 0,-13-1 16,0 1-16,1-53 0,-14 39 16,0 0-16,0-13 0,-14 14 15,1-1-15,-13-26 0,13 39 16,-14 1-16,-13-14 0,27 27 16,-13 13-16,12-13 0,1 13 15,0-14-15,0 14 0,0 0 0,-1 14 16,1-14-16,0 13 0,13 0 15,-13 0-15,13 1 0,-14 12 0,14-13 16,14 14-16,-14 12 0,13-12 16,0 13-16,0-14 0,14 14 0,-14-14 15,0 1-15,14-1 0,-14 1 0,40 39 16,-40-40 0,14 1-16,-14-14 0,13 13 15,-13-12-15,1-1 16,-1 0-16,0 0 0,-13 0 15,13-13-15,-13 14 0,14-14 16</inkml:trace>
  <inkml:trace contextRef="#ctx0" brushRef="#br0" timeOffset="5245.96">19434 6363 0,'-14'27'31,"1"-27"-31,13 13 0,-13 0 0,0 0 16,0 14-16,-1-14 0,1 0 15,0 1-15,13-1 0,-13 0 16,-1 0-16,14 0 0,-13 1 0,0-1 15,13 0 1,0 0-16,13 1 16,0-14-16,1 0 0,12 0 15,1 0-15,-1 0 16,0 0-16,-12 0 0,12-14 16,1 14-16,12-13 15,-26 13-15,1-13 0,25 0 16,-39-1-16,14 1 15</inkml:trace>
  <inkml:trace contextRef="#ctx0" brushRef="#br0" timeOffset="5473.92">19526 6324 0,'-39'52'15,"39"-38"1,0 12-16,0 27 15,0 26 1,0 27-16,13-53 16,-13 0-1,0-40-15,13 27 0,-13-14 16,0 14 0,13-13-16,-13-1 15</inkml:trace>
  <inkml:trace contextRef="#ctx0" brushRef="#br0" timeOffset="6754.1">19725 3453 0,'13'0'0,"0"0"0,0-13 15,1 13-15,-1 0 0</inkml:trace>
  <inkml:trace contextRef="#ctx0" brushRef="#br0" timeOffset="6904.68">19791 3678 0,'53'-14'32</inkml:trace>
  <inkml:trace contextRef="#ctx0" brushRef="#br0" timeOffset="7218.35">19976 4432 0,'13'0'16,"0"0"-16,1 0 15</inkml:trace>
  <inkml:trace contextRef="#ctx0" brushRef="#br0" timeOffset="7391.25">19936 4670 0,'27'0'46,"-14"0"-30</inkml:trace>
  <inkml:trace contextRef="#ctx0" brushRef="#br0" timeOffset="7592.02">19989 5186 0,'13'13'0,"1"-13"0,-1-13 16,0 13-16,0 0 0,1 0 0,12-13 15</inkml:trace>
  <inkml:trace contextRef="#ctx0" brushRef="#br0" timeOffset="8336.42">14274 5199 0,'53'-26'15,"-26"26"1,-1-14-16,14 1 0,-1 0 16,1 0-16,0-1 0,0 1 0,-1 0 15,-12 0-15,12-14 0,-12 27 16,-1-13-16,1 0 0,-14 13 0,0-13 16,0-1-16,1 14 0</inkml:trace>
  <inkml:trace contextRef="#ctx0" brushRef="#br0" timeOffset="8649.9">14605 4987 0,'-40'14'0,"-26"39"16,66-27-1,-13-13-15,13 14 0,-13-1 16,13 1-16,0-1 0,0 1 16,0-1-16,-14 0 0,14 1 0,0-1 15,-13 1-15,13-1 0,0 1 0,-13-14 16,13 0-16,-13 0 0,13 1 15,-13-1-15,13 0 0,-14-13 0,14 13 16,-13-13-16,13 14 0,-13-14 16,0 0-16,39-14 47,-13 14-47,1-13 0,-1 13 0,0 0 15,13 0-15,-12-13 0,-1 13 16,13 0-16,-12-13 0,12 13 15,-13 0-15,1 0 0,12-14 0,-13 14 16,0-13-16,14 13 0,-14-13 0</inkml:trace>
  <inkml:trace contextRef="#ctx0" brushRef="#br0" timeOffset="9224.95">14949 5001 0,'-13'0'0,"26"0"0,-26-14 15,-14 28 1,14-1-16,13 0 0,-13 0 15,13 1-15,0 12 0,-13 0 0,13 1 16,0-14-16,0 14 0,0-1 0,13 1 16,-13-1-16,0-13 0,13 14 15,0-14-15,-13 0 0,13 0 0,1 1 16,-1-1-16,0-13 0,0 13 16,1-13-16,12 0 0,-13-13 0,1 13 15,-1 0-15,13-13 0,-13-1 16,14 1-16,-14-13 0,0-1 0,-13 1 15,14-1-15,-14 1 0,0-1 0,0-12 16,0-1-16,-14 14 16,1-14-16,0 13 0,0 14 0,-1 0 0,14-14 15,-13 27-15,0-13 0,0 0 0,0 13 16,-1 0-16,1 0 16,0 13-16,13 0 0,-13-13 0,13 14 15,0 12-15,-14-13 0,14 14 0,14-14 16,-14 14-16,13 12 0,0-12 15,-13 12-15,13-12 0,1-1 16,12 14-16,-13-14 0,0-12 0,-13 12 16,27 14-16,-14-14 0,0-12 15,-13 12-15,14-13 0,-14 0 16,13 1-16,-13-1 0,13 0 0,-13 0 16,13-13-16,-13 14 0,14-14 15</inkml:trace>
  <inkml:trace contextRef="#ctx0" brushRef="#br0" timeOffset="9751.24">15293 5080 0,'0'-13'0,"0"26"0,0 0 31,0 0-15,0 14-16,0-14 0,0 14 0,0 12 16,0-12-16,0-1 15,0-13-15,0 14 0,0-14 0,0 0 16,0 1-16,0-1 0,-13 0 16,13-39 15,0 12-31,0-12 0,13-14 15,0 14-15,-13-14 0,13 14 0,1-1 16,-1 1-16,0-1 0,0 14 16,-13 0-16,14 0 0,-1-1 15,0 1-15,0 13 0,-13 13 16,0 14 0,0-14-16,-13 0 0,0 14 15,0-1-15,-1 1 0,1-1 16,0 1-16,0-14 0,13 0 0,-14 0 15,14 0-15,-13 1 0,13-1 16,0 0-16,0 0 0,0 1 16,0-1-16,13 0 15,1-13-15,-1 0 16,0 0-16,0 0 16,1-13-16,12 13 0,-26-13 15,13 13-15,0-14 0,1 14 16,-1-13-16,0 0 0,0 0 15</inkml:trace>
  <inkml:trace contextRef="#ctx0" brushRef="#br0" timeOffset="10324.15">15835 4908 0,'-26'26'32,"26"-12"-32,-13-1 0,13 13 15,0 1-15,-14 26 0,14-27 16,0 1-16,0-1 0,0-13 0,14 14 15,-14-1-15,0-12 0,13-1 16,-13 0-16,13 0 0,0 0 0,1-13 16,-14 14-16,13-14 0,0 0 15,0 0-15,0 0 0,1-14 0,-1 14 16,0-13-16,0 0 0,14-27 16,-27 27-16,13-13 0,0-27 15,-13 13-15,0 0 0,0-39 16,-13 39-16,13 1 15,-13-1-15,0 13 0,-1-12 0,1-1 16,0 40-16,13-13 16,-13 0-16,-1 13 15,1 0-15,13 13 16,0 0-16,0 0 0,-13 0 0,13 1 16,0 12-16,0-13 0,0 14 0,13-1 15,-13 14-15,0-14 0,13 1 0,1 13 16,-14-14-16,13-13 0,-13 14 15,13-1-15,-13-13 0,13 14 0,1-14 16,-14 0-16,26 14 0,-13-14 16,-13 0-16,14-13 15,-1 0-15,0 0 0,0 0 0,0 0 16,1 0-16,12 0 16</inkml:trace>
  <inkml:trace contextRef="#ctx0" brushRef="#br0" timeOffset="10655.86">16192 5027 0,'0'0'0,"14"13"31,-14 1-31,0-1 15,-14 0-15,14 0 0,0 0 16,0 1-16,14-14 0,-14 13 16,13 0-16,-13 0 0,13-13 0,-13 14 15,13-1-15,-13 0 0,14-13 16,-14 13-16,13 1 0,-13-1 16,13 0-16,-13 0 15,-13 0-15,13 1 0,-13-1 16,-1 0-16,1-13 0,0 13 15,13 1-15,-27-14 0,14 0 0,0 0 16,0 13-16,0-13 0,-1 0 0,1 0 16,-13 0-16</inkml:trace>
  <inkml:trace contextRef="#ctx0" brushRef="#br0" timeOffset="11015.87">15544 5173 0,'27'-14'0,"-54"28"0</inkml:trace>
  <inkml:trace contextRef="#ctx0" brushRef="#br0" timeOffset="11189.08">15491 5305 0,'0'0'0,"-13"0"16,53 0 15,-27-13-31,0 13 16,14-14-16,-14 14 0</inkml:trace>
  <inkml:trace contextRef="#ctx0" brushRef="#br0" timeOffset="11480.85">16364 4908 0,'27'-26'32,"-14"26"-32,0 0 15,1-14-15,-1 14 0,0 0 0,0-13 16</inkml:trace>
  <inkml:trace contextRef="#ctx0" brushRef="#br0" timeOffset="11964.41">16722 4710 0,'-14'-14'0,"28"28"0,-41-28 16,14 28-16,0-1 15,13 0 1,-13 0-16,13 0 0,-14 14 0,14-14 16,-13 14-16,13-14 0,-13 13 0,13 1 15,13-14-15,-13 0 16,0 0-16,13 1 0,1-1 16,-1-13-16,-13 13 0,13-13 0,0 0 15,14 0-15,-14-13 16,27 0-16,-27 13 0,0-14 15,0-12-15,1 13 0,-1 0 0,-13-1 16,0-12-16,0-1 0,0 1 16,0-1-16,0 1 0,0 0 15,-13-1-15,13-13 0,-14 27 16,14 0-16,-13 0 0,13-14 16,-13 14-16,-14 26 31,27 1-31,0-1 15,0 0-15,14 13 0,-14-12 0,0 12 16,13-13-16,0 14 0,0 26 16,1-27-16,-1-13 15,0 14-15,0-14 0,-13 0 0,13 14 16,1-14-16,-14 0 0,13-13 16,-13 13-16,13 1 0</inkml:trace>
  <inkml:trace contextRef="#ctx0" brushRef="#br0" timeOffset="12164.89">17105 4762 0,'0'27'16,"0"-14"-16,0 0 15,0 1-15,0-1 0,0 0 16,0 0-16,0 1 0,0-1 0,0 0 15,0 0-15,0 0 0,0 1 0,0-1 16,0 0-16,0 0 0,0 1 16,14-14-16,-14 13 0</inkml:trace>
  <inkml:trace contextRef="#ctx0" brushRef="#br0" timeOffset="13481.96">19606 7170 0,'0'0'0,"-14"27"16,-25 26-1,12-14-15,1 14 0,-1-13 16,-12 13-16,-1 0 0,0 0 0,14 0 15,-14 13-15,0-27 0,14 14 16,0 0-16,-27 40 0,39-67 16,-12 1-16,13 12 0,-1-12 0,14-14 15,-13 0-15,0 14 0,13-14 16,-13 0-16,13 0 0,0 1 16,-13-14-1</inkml:trace>
  <inkml:trace contextRef="#ctx0" brushRef="#br0" timeOffset="13866.91">19076 7752 0,'-105'159'31,"78"-119"-31,14 13 16,-14-14-16,1 1 0,13-14 0,0 14 15,-14 13-15,27 0 0,0-40 16,13 0-16,-13 14 16,14-14-16,38 14 0,28-14 15,12-13-15,-39-13 16,80-1-16,555-131 47</inkml:trace>
  <inkml:trace contextRef="#ctx0" brushRef="#br0" timeOffset="18226.5">13917 12356 0,'0'-13'0,"13"13"16,-13-13-16,0 39 46,-13-13-30,13 14-16,0-14 0,0 27 16,0-14-16,0-13 0,0 14 15,0-1-15,0-13 0,0 14 0,-13-14 16,13 0-16,0 1 0,0-1 0,0 0 16,0 0-16</inkml:trace>
  <inkml:trace contextRef="#ctx0" brushRef="#br0" timeOffset="19311.91">13785 11893 0,'0'-13'0,"-13"0"31,-1 26-31,1 0 15,0 0-15,13 0 16,-13 1-16,13-1 0,-14 13 16,14-12-16,0-1 0,0 0 0,0 0 15,0 1-15,0-1 0,0 0 0,0 0 16,14-13-16,-14 13 0,0 1 16,26-14-16,-13 0 15,14 0-15,-27-14 0,13 14 16,0-13-16,0 0 15,1 0-15,-1 0 0,-13-14 0,13 14 16,-13-14-16,13 1 0,-13-1 0,0 14 16,0-13-16,0 13 0,0-14 15,-13 14-15,13 0 0,-13-14 16,13 14-16,0 0 0,-13 13 0,-14 0 31,27 13-31,0 0 16,-13 0-16,13 1 0,0-1 0,0 0 15,0 0-15,0 14 0,0-14 16,0 0-16,0 14 0,0-14 0,13 13 16,-13-12-16,0-1 0,0 0 15,0 0-15,13 14 0,-13-14 16,14 0-16</inkml:trace>
  <inkml:trace contextRef="#ctx0" brushRef="#br0" timeOffset="19524.78">14089 11906 0,'0'27'0,"0"-14"16,0 0-16,0 0 16,0 1-16,0-1 0,0 0 15,0 0-15,0 1 0,0 12 0,0-13 16,13 0-16,-13 1 15,0-1-15,14 0 0,-14 0 16,13-13-16,0 0 0</inkml:trace>
  <inkml:trace contextRef="#ctx0" brushRef="#br0" timeOffset="20890.89">15597 12382 0,'0'-13'16,"13"13"-16,-13 13 31,0 1-31,0-1 16,0 13-16,0-12 0,0 12 0,0 1 16,0-1-16,0 0 0,0-12 15,0 39-15,0-40 0,0 0 16,0 14-16,0-14 0,0 0 15,14 0 1</inkml:trace>
  <inkml:trace contextRef="#ctx0" brushRef="#br0" timeOffset="21501.5">15597 11853 0,'-26'14'16,"13"-1"-1,13 0-15,-14 0 0,14 0 16,-13 14-16,13-1 0,-13 1 16,13-1-16,0-12 0,0 25 15,0-12-15,0-14 0,13 0 16,-13 14-16,13-27 0,1 13 15,-14 0-15,13-13 0,0 0 0,0 13 16,0-13-16,1-13 0,12 0 16,-13 0-16,1-1 15,-1-39-15,0 27 16,-13 0-16,0-1 0,0 1 0,0-41 16,-13 54-16,13-13 15,-13-14-15,13 27 0,-14 13 16,14-13-16,-13 13 0,13-14 0,-13 14 15,0 14 1,13-1-16,-14 0 0,14 0 16,-13 1-16,13-1 0,0 13 15,0-13-15,0 1 0,0 12 16,13-13-16,-13 14 0,0-14 0,14 14 16,-1-1-16,-13-13 0,13 14 15,0-1-15,-13-13 0,14 1 16,-1-1-16,-13 0 0,13 0 15,0-13-15,-13 14 0,13-14 0</inkml:trace>
  <inkml:trace contextRef="#ctx0" brushRef="#br0" timeOffset="21853.18">15915 12039 0,'13'0'16,"-26"0"-16,39 0 0,-13 0 16,-13 13-16,0 0 15,0 0-15,-13 0 0,13 1 16,-13 12-16,13-13 0,-13 1 16,13-1-16,0 0 0,-14-13 15,14 13-15,0 1 16,-13-14-16,26 13 15,1-13 1,-1 0-16,0 0 16,0 0-16,1 0 15,-1 0-15,0 0 16,0 0-16,1 0 0,-1-13 16,13 13-16,-13-14 15,14 14-15,-14 0 0,14 0 16</inkml:trace>
  <inkml:trace contextRef="#ctx0" brushRef="#br0" timeOffset="22511.96">16060 12184 0,'13'-13'0,"-26"26"0,40-26 0,-14 13 16,-13 13-16,13-13 15,0 13-15,1 1 16,-14-1-16,0 0 16,0 0-16,-14 0 15,14 1-15,-13-1 0,0 0 16,13 0-16,-13-13 0,13 14 0,-14-1 15</inkml:trace>
  <inkml:trace contextRef="#ctx0" brushRef="#br0" timeOffset="23348.07">19500 12449 0,'0'-14'0,"-13"14"16,-1 14-16,1-14 16,13 13-16,-13-13 0,0 13 0,13 0 15,-14 1-15,1 12 0,13-13 16,-13 0-16,13 1 0,-13-1 0,13 13 16,-13-12-16,13-1 0,0 0 0,0 0 15,0 1-15,0-1 16,0 0-16,13-13 0,-13 13 15,0 0-15,13 1 0,-13-1 16,13-13 0,14 0-1,-14 0 1,0-13-16,0 13 16,1 0-16,-1 0 31,0-14-16,-39 41 48</inkml:trace>
  <inkml:trace contextRef="#ctx0" brushRef="#br0" timeOffset="23804.17">19050 12554 0,'-13'14'0,"13"-1"0,0 0 15,0 0-15,-13 27 16,13-27-16,0 1 0,0 12 15,-14-13-15,14 0 0,0 1 0,0 12 0,0-13 16,-13 1-16,13-1 0,0 0 16,0 0-16,0 1 15</inkml:trace>
  <inkml:trace contextRef="#ctx0" brushRef="#br0" timeOffset="24905.63">19434 12581 0,'-14'0'16,"1"13"-16,13 0 0,-13 1 15,13-1-15,-13 0 16,13 0-16,0 1 0,-13-1 0,13 0 16,0 0-16,0 0 0,-14 1 0,14-1 15,0 0-15,0 0 0,14 1 16,-14-1-16,13-13 15,13 0 1,-13-13-16,1 13 16,-1-14-16,0 1 0,0 0 0,1 0 15,-1-14-15,0 14 0,0-13 0,0-1 16,-13 1-16,14-1 0,-14 1 16,13 12-16,-13-12 0,0 13 0,0-14 15,-13 14-15,13 0 0,0 0 0,-14-1 16,14 1-16,0 0 0,-13 13 15,13-13-15,-13 13 0,0 13 16,0-13 0,13 13-16,0 0 0,0 1 15,0-1-15,-14 0 0,14 0 16,0 1-16,0-1 0,14 13 0,-14-13 16,0 1-16,0-1 0,13 0 15,-13 0-15,0 14 0,13-14 0,0-13 16,-13 13-16,13 1 0,1-1 0,-1-13 15,-13 13-15,13-13 0,0 0 16,1 0 0</inkml:trace>
  <inkml:trace contextRef="#ctx0" brushRef="#br0" timeOffset="25088.81">19738 12594 0,'26'-13'15,"-52"26"-15,52-39 0,-12 26 0,12 0 16,-26 13-1,13-13-15,-13 13 0,14-13 0,-14 13 16,0 1-16,13-1 0,-13 0 16,0 0-16,0 1 0,0-1 0,0 0 15,0 0-15,0 0 0,0 1 16,-13-14-16,13 13 0,-14-13 0,1 0 16,0 0-16,0 13 0,-1-13 15</inkml:trace>
  <inkml:trace contextRef="#ctx0" brushRef="#br0" timeOffset="26600.41">14129 12422 0,'26'0'0,"-13"0"0,93 0 15,-66 0 1,-14 0-16,14 0 0,13 0 15,0 0-15,-13 0 0,13 0 0,-1 0 16,-12 13-16,13-13 0,-13 0 0,-1 0 16,1 0-16,13 0 15,-13 0-15,-14 0 0,14 0 0,0 0 16,-14 0-16,14 0 0,-14 0 0,14 0 16,0-13-16,-14 13 0,0 0 15,14 0-15,-13 0 0,12 0 0,-12-13 16,-1 13-16,1 0 0,12 0 0,-12 0 15,-14 0-15,40-13 16,-27 13-16,1 0 0,-14 0 0,14-14 16,-14 14-16,13 0 0,-13 0 15,14 0-15,-14 0 0,14-13 0,-14 13 16,13 0-16,-12 0 0,-1 0 0,13 0 16,-13 0-16,14 0 15,-14-13-15,0 13 0,1 0 0,12 0 16,14 0-16,-27 0 0,0 0 15,14 0-15,-1 0 0,-13 0 16,14 0-16,-1 0 0,-13 0 0,14 0 16,-1 0-16,1 0 0,-1 0 15,-12 0-15,12 0 0,14 0 0,-14 13 16,1-13-16,-1 0 0,1 0 0,-1 0 16,0 0-16,27 0 0,-26 0 15,-1 0-15,1 0 0,-1 0 16,1 0-16,-14-13 0,13 13 0,1 0 15,-1 0-15,1 0 0,-1 0 16,1 0-16,12 0 0,-12 0 0,-1-13 16,1 13-16,12 0 0,-12 0 0,-1 0 15,1 0-15,12 0 0,-12 0 16,-1 0-16,1 0 0,-14 0 16,14 0-16,-1 0 0,14 0 0,-14 0 15,1 0-15,-1 0 0,0 0 0,14 13 16,-13-13-16,12 0 0,1 0 15,-14 0-15,14 0 0,0 0 0,-14 0 16,54 0-16,-54 0 0,27 0 16,-13 0-16,-1 0 0,-12 0 15,13 0-15,13 0 0,-14 0 16,-12 0-16,12 0 0,-12 0 0,12 13 16,1-13-16,-13 0 0,12 0 0,-12 0 15,12 0-15,-12 0 0,13 13 16,-14-13-16,1 0 0,12 14 0,-12-14 15,-1 0-15,-13 0 0,14 0 16,-1 13-16,1-13 0,-14 0 0,13 0 16,1 0-16,-14 0 0,0 0 0,14 0 15,-14 0-15,0 0 0,0-13 16,1 13-16,-1 0 16,-13-14-16,-13 14 15,-1-13-15</inkml:trace>
  <inkml:trace contextRef="#ctx0" brushRef="#br0" timeOffset="29304.99">13891 12740 0,'39'13'0,"-78"-26"0,92 26 0,-27 0 0,-13-13 16,14 0-16,-1 0 0,1 13 16,52-13-16,-39 14 0,13-14 15,-14 0-15,14 0 0,0 0 16,0 0-16,0 13 0,0-13 16,0 0-16,0 0 0,0 0 0,-14 0 0,14 0 15,0 0-15,-13 0 16,13 13-16,-14-13 0,1 0 0,13 0 15,-13 0-15,-1 0 0,-12 0 0,13 0 16,-1 0-16,1 0 0,13 0 16,-13 0-16,12 0 0,-12 0 0,26 0 15,-13 0-15,-13 0 0,26 0 16,-13 0-16,26 0 16,-13 0-1,1 0-15,12 0 16,-39 0-16,-14 0 0,14 0 15,-14 0-15,14 0 0,-14 0 0,14 0 16,-13 0-16,12 0 0,-12 0 0,-1 0 16,1 0-16,-1 0 0,1 0 15,-1 0-15,0 0 0,1 0 0,-1 0 16,-12-13-16,12 13 0,1 0 0,-14 0 16,0 0-16,13 0 0,-12 0 15,12 0-15,-13 0 0,1 0 0,12 0 16,-13 0-16,1 0 0,12 0 0,-13 0 15,0 0-15,14 0 0,-14 0 16,0 0-16,14 0 0,-14 13 0,13-13 16,-12 0-16,12 0 0,14 0 15,-14 0-15,1 0 0,-1 0 16,-13 0-16,14 0 0,-1 0 16,1 0-16,-14 0 0,14 0 0,12 13 15,-12-13-15,-14 0 16,13 0-16,1 0 0,-14 0 0,13 0 15,-12 0-15,12 0 0,-13 0 0,14 0 16,-1 0-16,-12 0 0,12 0 16,0 0-16,1 0 0,-14 0 15,40 0-15,-40 0 0,14 0 16,-1 0-16,-13 0 0,14 0 0,-14 0 16,27 14-16,-14-28 15,-12 14-15,12 0 0,-13 0 0,14 14 16,-14-28-16,0 28 0,14-14 0,-14-14 15,0 28-15,14-14 0,-14 0 16,0 0-16,0 0 0,0 0 0,14 0 16,-14 0-16,0 0 0,1 0 0,-1 0 15,13 0-15,1 0 16,-1 0-16,1 0 16,-1 0-16,-13 0 0,1 0 15,-1 0-15,0 0 0,13 0 0,-12-14 16,-1 14-16,0 0 0,14 0 15,-14 0-15,0 0 0,0 0 0,1 0 16,-1 0-16,13 0 0,-13 0 16,1 0-16,-1 0 0,0 0 15,0 0-15,1 0 0,-1-13 0,0 13 16,0 0-16,0 0 0,1 0 16,-1 0-16,0 0 0,0 0 15,1 0-15,-1-13 16,0 13-16,0 0 15,1 0-15,-1 0 16,0 0-16,0 0 0,0-13 16,1 13-1,-1 0-15,0 0 16,0 0-16,1 0 16,-1 0-1,0 0-15,0 0 16,1 0-16,-1 0 15,0 0-15,0 0 16,0-14 0,1 14-1,-1 0 17,0 0 14,0 0 189,-13 14 62,14-14-157,-1 0-108,-40-14 61</inkml:trace>
  <inkml:trace contextRef="#ctx0" brushRef="#br0" timeOffset="29939.99">18878 12382 0,'26'0'0,"-12"0"16,-1 0-16,0 0 16,-13-13-16,13 13 0,1 0 15,-1 0-15,0 0 0,0 0 16,1 13 0,-14 1-1,-14-1-15,14 0 0,0 0 16,0 1-16,0-1 0,-13 13 15,13-12-15,0-1 0,0 0 16,0 0-16,0 0 0,0 1 16,0-1-16,13 0 0,1 0 15,-1 1 1</inkml:trace>
  <inkml:trace contextRef="#ctx0" brushRef="#br0" timeOffset="30731.4">14195 12382 0,'-13'-13'47,"-1"13"-31,1 0-16,0 0 0,-13 0 16,12 0-16,-12 0 0,-1 0 0,1 0 15,-1 0-15,1 0 0,0 0 0,-1 0 16</inkml:trace>
  <inkml:trace contextRef="#ctx0" brushRef="#br0" timeOffset="32221.24">11959 12515 0,'-13'-13'15,"13"39"1,-13-13 0,13 0-1,0 1 17,0-41 14,0 14-14,-14 26 30,14-26 16,40 13 469,-27 0-547</inkml:trace>
  <inkml:trace contextRef="#ctx0" brushRef="#br0" timeOffset="33581.49">23072 12475 0,'-14'27'47,"14"-14"-31,14-13 15,-1 0-15,0-13 15,0 13-15,-39 0 31,13 0-47</inkml:trace>
  <inkml:trace contextRef="#ctx0" brushRef="#br0" timeOffset="34866.73">13851 12634 0,'-27'0'0,"-12"0"31,26 0-31,-1 0 16,1 0-16,0 0 0,-14 0 0,14 0 15,-13 0-15,12 0 0,-12 0 16,0 0-16,-14 0 0,13 0 15,1 13-15,-14-13 0,14 0 0,-14-13 16,14 13-16,-14 0 0,14 0 0,-1 0 16,-13 0-16,1 0 0,12 0 15,-12 0-15,12 0 0,-13 0 0,1 0 16,12 0-16,-12 0 0,12 0 0,1 0 16,-14 0-16,27 0 0,-14 0 15,1 0-15,-1 0 0,1 0 16,13 0-16,-14 0 0,1 0 0,13 0 15,-1 0-15,-12 13 0,13-13 16,-1 0-16,1 0 0,0 0 0,0 0 16,-1 0-16,1 0 0,13 13 0,-13-13 15,0 0-15,0 0 16,-1 0 0,1 0-16,0 0 15,0 14 1,-1-14-16,1 0 15,0 0-15,0 0 16,-14 0 0,14 0-16,0-14 15,0 14-15,-1 0 0,1 0 16,-13-13 0,12 13-16,-12 0 15,13 0-15,0 0 0,-1 13 16,1-13-16,0 0 15</inkml:trace>
  <inkml:trace contextRef="#ctx0" brushRef="#br0" timeOffset="36927.73">19090 12607 0,'26'0'0,"-13"0"0,1 0 15,-1 0-15,13 0 16,-12 0-16,-1 0 0,0 0 16,0 0-16,14 0 0,-14 0 0,13 0 15,1 0-15,-1 0 0,1 0 0,-1 0 16,14 0-16,13 0 0,-14-13 15,14 13-15,0 0 0,-13 0 0,13 0 16,0 0-16,0 0 0,0 0 16,-14 0-16,14 0 0,0-13 0,0 13 15,0 0-15,0 0 0,0 0 0,0 0 16,0 0-16,0-13 0,0 13 16,-1 0-16,-12 0 0,13 0 15,0-14-15,0 14 0,-13 0 0,12 0 16,1 0-16,-13 0 0,13-13 15,0 13-15,-13 0 0,13 0 0,-14 0 16,1 0-16,0 0 0,-14-13 0,27 13 16,-13 0-16,-14 0 0,14 0 15,-1 0-15,-12 0 0,13 0 0,-14 0 16,14 0-16,-14 0 0,14 0 0,-14-13 16,14 13-16,0 13 15,-14-26-15,14 26 0,-14-26 0,14 13 16,-13 13-16,-1-13 0,0 0 0,1 0 15,-1 0-15,1 0 0,-1 0 16,1 0-16,-1 0 0,1 0 0,-1 0 16,-13 0-16,14 0 0,-1 0 0,1 0 15,-14 13-15,13-13 0,-12 0 16,12 0-16,-13 0 0,1 0 0,-1 0 16,0 0-16,13 0 0,-12 0 15,-1 0-15,0 0 0,0 0 16,1 0-16,-1 0 0,0 0 15,0 0-15,0 0 0,1 13 16,-1-13-16,0 0 16,14 0-16,-14 0 15,0 0 1,0 0-16,1 0 16,-1 0-16,0 0 15,0 0-15,0 0 16,1 0-1,-1 0 1,0 0-16,0 0 16,1 0 31,-1 0-16,0 0-16,0 0 1,1 0 15,-1 0-31,0 0 16,0 0-16,0 0 16,1 0-1,-1 0 1,0-13-1,0 13-15,1 0 16,-1 0 15,0 0-15,0 0 15,1 0 125</inkml:trace>
</inkml:ink>
</file>

<file path=ppt/ink/ink15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48:33.406"/>
    </inkml:context>
    <inkml:brush xml:id="br0">
      <inkml:brushProperty name="width" value="0.05292" units="cm"/>
      <inkml:brushProperty name="height" value="0.05292" units="cm"/>
      <inkml:brushProperty name="color" value="#0070C0"/>
    </inkml:brush>
  </inkml:definitions>
  <inkml:trace contextRef="#ctx0" brushRef="#br0">5622 4247 0,'-13'0'0,"0"13"0,0-13 16,-1 0-16,1 0 15,40 0 32,-14 0-47,0 0 0,14 0 0,12 0 16,1-13-16,0-1 0,-1 14 15,14-13-15,-13 0 0,0 13 0,13-13 16,-27-1-16,0 14 0,1-13 0,-1 13 16,1-13-16,-14 13 0,0 0 15,1 0-15,-1-13 0,0 13 16,0 0-16,0 0 0,1-13 15,-28 13 48</inkml:trace>
  <inkml:trace contextRef="#ctx0" brushRef="#br0" timeOffset="1775.07">6363 5159 0,'-26'0'31,"52"-13"1,-13 0-17,14 0-15,-14-1 0,27 1 0,0 0 16,-1 0-16,-12 0 0,12-1 15,1 1-15,0-13 0,-1 12 16,1 1-16,-13 0 0,65-14 16,-65 27-16,-1-13 0,-13 0 15,14 13-15,-14 0 0,-13-13 16,13 13-16,0 0 0,1 0 0,-1-13 16,0 13-16,0 0 15,1-14 1,-1 14-1,0 0 1,-13 14 47,-13-1-48,13 0-15,0 0 16</inkml:trace>
  <inkml:trace contextRef="#ctx0" brushRef="#br0" timeOffset="2614.51">5834 5980 0,'27'-14'15,"-14"14"1,0 0-16,13-13 0,1 0 16,-1 13-16,14-13 0,0-1 0,-1 1 15,1 0-15,0 0 0,-1 0 16,1 13-16,0-14 0,0 1 0,-1 0 15,-12 0-15,-1-1 0,1 14 0,-1-13 16,-13 13-16,14-13 0,-14 13 16,0-13-16,0 13 0,1 0 0,-1-14 15,0 14-15,0 0 0,1-13 16,-1 13 0,0 0 15,0-13 0</inkml:trace>
  <inkml:trace contextRef="#ctx0" brushRef="#br0" timeOffset="3592.75">6257 6694 0,'14'-13'31,"12"0"-31,-13-1 16,14 1-16,-1 0 0,14 0 0,-14-1 15,14 1-15,-13 0 16,12 0-16,-12-1 0,-1 1 0,27 0 15,-40 0-15,14 0 0,-14 13 0,0-14 16,0 14-16,1 0 0,-1-13 16,0 13-16,0 0 0,1 0 15,-14-13-15,13 13 16,0 0-16,-13 13 94,0 0-79,-13 1-15</inkml:trace>
  <inkml:trace contextRef="#ctx0" brushRef="#br0" timeOffset="4457.95">6257 7488 0,'27'0'16,"-14"-14"-16,0 14 0,1 0 15,-1-13-15,13 0 0,14 0 0,-14 0 16,14-1-16,0 1 0,-14 0 0,14 0 15,-14-1-15,1 1 0,-1 0 16,14 0-16,-27-1 0,14 1 0,-14 13 16,13-13-16,-12 13 0,-1-13 0,0 13 15,0 0-15,0-13 0,1 13 16,-1 0-16,0 0 0,-13-14 16,13 14-16,1 0 0,-1-13 15,0 13 1</inkml:trace>
  <inkml:trace contextRef="#ctx0" brushRef="#br0" timeOffset="167132.63">3135 5292 0,'0'13'78,"0"0"-63,27-13 1,-14 0 0,80 27-1,-14-27 1,27 13-16,0-13 0,52 13 16,81 0-16,-94 1 15,-26-1-15,-13-13 16,-27 0-16,14 0 15,-40 0-15,-13 0 16,26 0-16,0 0 16,-40 0-16,27 0 15,0 0-15,13 0 16,14 0-16,-1 0 16,-26 0-1,13 0-15,-26 0 16,26 0-16,-26 0 15,-1 0-15,-12 0 16,12 0-16,-12 0 16,-1 0-16,-12-27 15,38 1-15,-12-1 16,-13 1-16,12-1 0,-25-12 16,12 12-1,14 1-15,-1-27 16,14 40-16,-53-14 15,27 14 1,-27 0-16,13 13 0,0-13 16,-13-1-16,0-12 15,0 13 17,0-1-32,0 1 15,0 0-15,0-14 16,-13 14-1,13-13-15,-13 13 16,0-1 0,-1 1-1,-12-13-15,26 12 16,-27 1-16,-12 0 16,12-14-16,-12 14 15,-1 0-15,-13-13 16,-13-1-16,26 14 15,-26 0-15,13-1 16,0-12-16,-13 13 16,-27-14-16,40 27 15,-39-13-15,12 13 16,14 0-16,-26 0 16,26 0-16,26-13 15,-13 13-15,-13 0 16,-14 0-16,28 0 15,-15 0-15,54 0 16,-27 0-16,1 0 16,12 0-1,1 0-15,-14 13 0,-13-13 16,27 13-16,13-13 16,-1 0-16,1 0 15,-13 0-15,-27 0 16,13 0-16,-13 14 15,0-1 1,-26-13-16,26 0 16,-13 0-16,0 0 15,-1 0-15,15 13 16,12-13-16,0 0 16,-13 0-16,14 0 0,-28 13 15,1-13 1,27 13-16,-14-13 15,13 0-15,0 27 16,14-14 0,-14-13-16,27 0 0,13 13 15,-13 1-15,0-14 16,-1 0 0,1 13-1,13 13-15,-13-13 16,13 14-16,0 13 15,0-1-15,0-25 16,0 25-16,0-12 16,0 26-1,13-40-15,0 13 16,-13 14-16,14-27 16,12 27-16,-26-14 15,13-12-15,0 25 16,-13-25-16,14-1 15,-14 0 1,13 0-16,-13 0 16,0 1-1,0-1 1,0 0 0,13 0-1,0 1-15,1 12 16,12-13-16,14 14 0,-27-14 15,13-13 1,1 0-16,26 0 16,0 0-16,-14 0 15,-12 0 1,13 0-16,-27 0 16</inkml:trace>
  <inkml:trace contextRef="#ctx0" brushRef="#br0" timeOffset="168789.52">15386 3903 0,'0'-14'0,"0"1"31,-14 13-31,28 27 31,-14-14-31,0 0 0,0 14 0,13-1 16,-13 0-16,0 1 0,0-1 0,13 1 16,-13-1-16,0 1 0,0-1 15,0 1-15,0-1 0,13 1 16,-13-1-16,0-13 0,0 0 0,0 14 16,0-14-16,0 0 0,0 1 0,0-1 15,0 0-15,0 0 16</inkml:trace>
  <inkml:trace contextRef="#ctx0" brushRef="#br0" timeOffset="169187.56">15266 3942 0,'0'-26'0,"0"52"16,14-65-16,-14 25 0,0 1 0,13 0 15,0 0-15,0-1 0,1 14 16,-1-13-16,0 0 0,0 13 0,14 0 0,-14 0 15,0 0-15,14 0 0,-14 13 16,13 0-16,-12-13 0,-1 14 16,0-1-16,0 13 0,1-12 0,-14-1 15,13 0-15,-13 0 0,0 14 0,0-14 16,-13 0-16,13 14 0,-14-14 16,14 0-16,-13 0 0,0 1 0,0-1 15,-1 0-15,14 0 0,-26 14 16,13-14-16,-1-13 15,1 0-15</inkml:trace>
  <inkml:trace contextRef="#ctx0" brushRef="#br0" timeOffset="169936.34">15624 4366 0,'-14'13'0,"28"-40"47,-1 27-47,-13-13 0,0 0 0,0 0 15,13-1-15,-13 1 16,0 0-16,0 0 0,0 0 15,-13-1-15,13 1 16,-27 26 15,27 1-15,0-1-16,0 0 0,0 0 16,0 0-16,14 1 0,-1-1 15,-13 0-15,13-13 0,-13 13 16,13-13-16,-13 14 0,14-14 15,-1 0-15,0 0 0,0-14 16,0 14-16,1 0 16,-14-13-16,13 13 0,-13-13 15,13 0-15,0 13 0,1-14 16,-1 14-16,0-13 0,0 13 16,1 13-16,-1-13 15,0 0-15,0 14 0,0-14 16,-13 13-16,14-13 0,-14 13 15,13 0-15,-13 1 0,13-14 16,-13 13-16,13 0 16,1-39 15,-14 12-15,0 1-16,0 0 15,13 0-15,-13-1 0,0 1 0,13 13 16,-13-13-16,13 13 0,-13-13 0,14 13 15,-14-13-15,13 13 16,0 0-16</inkml:trace>
  <inkml:trace contextRef="#ctx0" brushRef="#br0" timeOffset="171205.73">16192 4154 0,'-13'0'16,"0"13"-16,13 0 16,-13 1-16,13-1 0,-13 0 0,13 0 15,-14 1-15,14-1 0,-13 13 16,13-13-16,0 1 0,0-1 0,-13 13 16,13-12-16,13-1 0,-13 0 0,0 0 15,13 1-15,-13-1 0,14-13 16,-1 13-16,0-13 0,0 0 15,0 13-15,1-26 0,12 13 16,-13 0-16,14 0 0,-14-13 0,14 0 16,-14 13-16,13-14 0,1-12 15,-14 13-15,0-1 0,0 1 16,-13 0-16,14 0 0,-14-1 16,0 1-16,0 0 0,0 0 15,0 0-15,0-1 16,-14 14-16,-12 14 31,26-1-31,-13 0 16,13 0-16,0 0 15,0 1 1,13-14-16,-13 13 16,13 0-16,0-13 15,1 0 1,-1 0-1,0-13-15,0 13 0,1 0 16,12 0 0,-13 0-16,0 0 15,1 13-15,-1-13 16,-13 13 0,13-13-16,-13 14 0,0-1 15,13-13 1,-13 13-1,14-26 17,-14 0-32,13 13 0,-13-14 0,13 14 15,-13-13-15,13 13 0,1-13 16,-1 13 0,0 0-1,0 13-15,0-13 16,-13 13-16,14-13 0,-1 0 15,0 0 1,0 0 0,1-13-16</inkml:trace>
  <inkml:trace contextRef="#ctx0" brushRef="#br0" timeOffset="171466.66">16854 4207 0,'13'-66'16,"-26"132"-16,26-159 0,0 80 0,-13 0 15,0-14-15,0 14 0,0 0 16,0 0-16,0-1 0,0 1 15,0 0-15,0 53 32,0-27-17,0 0-15,0 0 0,0 1 16,0 25-16,0-12 0,0-14 16,14 13-16,-14-12 0,0 12 15,13-13-15,-13 1 0,13-1 0,-13 0 16,13 0-16,-13 0 0,14 14 15,-1-14-15,-13 0 16,13-13-16</inkml:trace>
  <inkml:trace contextRef="#ctx0" brushRef="#br0" timeOffset="171788.92">16761 4286 0,'-13'-13'0,"26"0"32,1 0-17,-1 13-15,0-14 16,14 14-16,-14 0 0,0-13 0,0 13 16,0 0-16,1-13 0,12 13 15,1 0-15,-14 0 0,0 0 16,0 0-16,0 13 0,1-13 15,-1 0-15,-13 13 0,13-13 16,-13 14-16,13-14 0,1 13 16,-14 0-16,13-13 15,-13 13-15,0 0 0,0 1 16,13-14-16,-13 13 16,0 0-1,13-13-15,-13 13 16</inkml:trace>
  <inkml:trace contextRef="#ctx0" brushRef="#br0" timeOffset="171973.71">17119 4154 0,'-14'-13'0</inkml:trace>
  <inkml:trace contextRef="#ctx0" brushRef="#br0" timeOffset="172449.15">17238 3810 0,'0'26'31,"0"-12"-31,0 12 16,0 1-16,0-1 0,0 1 15,0 12-15,0-12 0,0-1 16,0 1-16,0-1 0,0 1 0,13-1 16,-13 0-16,13-12 0,-13-1 15,13 0-15,1 14 0,-1-14 16,0 0-16,0-13 0,0 0 0,1 13 16,-1-13-16,0-13 0,14 13 15,-14-13-15,0 0 0,0-1 16,0 1-16,-13 0 0,14-14 0,-14 14 15,0 0-15,13 0 0,-13 0 0,0-1 16,-27 41 15,27-14-31,0 0 16,0 0-16,0 1 0,0-1 16,14-13-1,-14 13-15,13-13 0,-13 13 0,13-13 16,14 14-16,-14-14 15,0 0-15,0 0 0,1 0 16,-1-14-16</inkml:trace>
  <inkml:trace contextRef="#ctx0" brushRef="#br0" timeOffset="173243.68">19672 4075 0,'-66'-27'31,"52"14"-31,1 0 0,0-1 0,0 1 16,-1-13-16,1-1 0,0-12 0,0 12 15,13 14-15,0-27 0,0 27 0,0-13 16,0-1-16,0 14 0,0 0 16,13-14-16,-13 14 0,0 0 15,13 13-15,0-14 0,1 1 0,12 26 31,-26 1-31,0-1 16,-13 0-16,13 0 0,-13 14 0,-14-1 16,14 1-16,-13-1 0,-1 1 0,1-1 15,-1 1-15,1-1 0,-1 1 16,14-14-16,0 0 0,0 0 0,-1 0 16,1 1-16,0-1 0,26 0 31,0-26-31,1 13 0,12 0 0,1 0 15,-1-13-15,14 13 0,-14-14 16,14 14-16,-14-13 0,1 13 0,12-13 16,-12 13-16,-1-13 0,1 13 15,-14-13-15,13 13 0,-12-14 0,12 14 16,-13 0-16,1 0 0,-1-13 0,0 13 16,14 0-16</inkml:trace>
  <inkml:trace contextRef="#ctx0" brushRef="#br0" timeOffset="173732.42">21603 3559 0,'0'-14'0,"0"81"31,0-54-15,0 26-16,0-12 0,-13-1 15,13 14-15,0 0 0,0-1 0,-13-12 16,13-1-16,0-12 0,0 12 0,0 1 15,-13-14-15,13 0 16,0 0-16,0 14 0,0-14 16,13-13-1,0 0 1,-13-13-16</inkml:trace>
  <inkml:trace contextRef="#ctx0" brushRef="#br0" timeOffset="174043.65">21497 3506 0,'0'0'0,"0"-40"16,14 40-16,-14-13 0,0 0 0,13 13 15,0 0-15,0 0 0,1 0 16,-1 0-16,0 13 0,13 0 15,-12-13-15,-1 26 0,0-12 0,0-1 16,1 0-16,-14 0 0,0 14 0,0-14 16,0 0-16,0 1 0,0 12 0,-14-13 15,14 0-15,-13 1 0,0 12 16,0-13-16,-1 1 0,14-1 0,-13 0 16,0-13-16,13 13 0,-13-13 15,13 14-15,-13-14 0,-1 0 16,28 13-16,-14 0 15</inkml:trace>
  <inkml:trace contextRef="#ctx0" brushRef="#br0" timeOffset="174616.56">21736 4022 0,'52'-53'15,"-52"40"1,0-1-16,14 1 0,-14 0 0,0 0 16,0-1-16,13 1 0,-13 0 15,0 0-15,-13 26 31,-1-13-15,14 13-16,0 0 0,0 1 16,0-1-16,0 0 0,0 0 15,14-13-15,-14 14 0,13-1 16,0-13-16,0 0 16,1 0-16,-1 0 15,0 0-15,0 0 0,1-13 0,-1 13 16,0 0-16,0 0 15,-13-14-15,13 14 0,14 14 16,-14-1 0,-13 0-1,0 0 1,13 0-16,-13-39 47,0 13-47,14 13 15,-14-13-15,0-1 0,13 1 0,-13 0 16,13 0-16,0-1 16,-13 1-16,13 0 0,1 13 15,-1 0 1</inkml:trace>
  <inkml:trace contextRef="#ctx0" brushRef="#br0" timeOffset="175631.74">22318 3810 0,'-14'0'0,"28"0"0,-54 0 16,40 13-16,-13-13 15,-1 13-15,14 1 0,-13-14 16,13 13-16,-13 0 0,0 0 16,13 1-16,-13-1 15,13 13-15,0-12 0,0-1 16,13 0-16,0 0 15,0-13-15,-13 13 0,13-13 16,1 0-16,-1 0 0,0 0 0,0 0 16,1-13-16,-1 13 0,0 0 0,0-13 15,1 0-15,-1 13 0,13-13 0,-26-1 16,13 1-16,1 0 0,-1 0 16,0-1-16,-13 1 0,13 0 15,-13 0-15,14-1 16,-14 1-1,0 0 1,-14 39 31,14-12-31,0-1-16,0 0 31,14 0-31,-14 1 15,0-1-15,13 0 32,-13 0-17,13-26 48,0 0-63,0 0 15,-13-1 1,14 14-16,-1-13 16,0 13-1,0 13 1,1-13 0,-14 14-16,0-1 15,13-13 1,-13 13-16,0 0 15,0 1-15,0-1 16,13-40 15,0 27-15,-13-13-16,14 13 0,-14-13 16,13 0-16,0-1 0,0 1 15,0 13 1,-13-13-16,14 13 0,-1 13 15,0-13-15,0 0 16,-13 13-16,14-13 16,-14 14-16,13-14 0,-13 13 15,13-13-15,0 13 16,1-13 0,-1 0-1</inkml:trace>
  <inkml:trace contextRef="#ctx0" brushRef="#br0" timeOffset="175913.68">23032 3506 0,'-13'-27'15,"13"40"1,0 1-16,0-1 15,0 0-15,0 14 0,0-14 16,0 13-16,0-12 0,0 12 16,0 0-16,0 1 0,0-1 0,13 14 15,-13-13-15,0-14 16,13 13-16,-13-13 0,0 1 0,13-1 16,-13 0-16,0 0 0,14 1 0,-14-1 15,0 0-15</inkml:trace>
  <inkml:trace contextRef="#ctx0" brushRef="#br0" timeOffset="176159.79">22820 3810 0,'0'0'0,"27"-13"31,-14 13-15,0-13-16,0 13 0,14 0 0,-1-14 16,-12 14-16,25-13 0,14 0 15,-26 13-15,-1 0 0,1-13 16,-1 13-16,1-14 0,-14 14 16,26-13-16,-25 13 0,12 0 15,-13 0 1</inkml:trace>
  <inkml:trace contextRef="#ctx0" brushRef="#br0" timeOffset="176657.58">23363 3757 0,'0'-13'31,"-14"0"-15,1 26 0,0 0-16,0 0 0,0 1 15,-1-1-15,1 0 16,0 0-16,13 0 0,0 1 15,0-1 1,13-13-16,0 13 16,1-26-16,-1 13 15,0 0-15,0-13 0,-13-1 16,13 14-16,1-13 0,-14 0 0,13 0 16,0 0-16,-13-1 0,13 1 15,-13 26 32,0 1-31,0-1-16,0 0 0,0 0 15,0 0-15,0 1 0,0-1 16,0 0-16,14 0 16,-1 1-1,0-14-15,0 0 16,1 0-16,-1 0 0</inkml:trace>
  <inkml:trace contextRef="#ctx0" brushRef="#br0" timeOffset="177321.37">23720 3757 0,'-27'-13'0,"14"13"0,0-13 16,0 13-16,0 0 0,-1 0 15,1 0-15,0 0 16,0 13 0,13 0-1,13 0 1,-13 1-16,13-1 0,0 0 16,1 0-16,-14 0 0,13 1 15,-13-1-15,0 0 0,13-13 16,-13 13-16,-13 1 0,13-1 15,-13 0-15,13 0 0,-14-13 16,14 14-16,-13-14 0,13 13 0,-13-13 16,0 13-1,-1 0-15,41-26 47,-14 0-47,14 13 16,-14-13-16,0 13 0,13-14 15,-12 1-15,25 0 0,-12-14 0,-14 14 16,13 0-16,-12 0 0,12-1 16,-13-12-16,1 13 0,-1 0 0,0-1 15,-13 1-15,13 0 0,-13 0 16,0-1-16,0 1 16,-13 13-16,13-13 15,-13 13-15,0 0 0,-1 13 16,1-13-16,13 13 15,-13-13-15,13 14 0,0-1 16,-13-13-16,13 13 0,0 0 16,13 1-16,-13-1 0,0 0 15,13-13 1,-13 13-16,13-13 0,-13 13 0,14-13 16,-1 0-16,0 14 0,0-14 15,1 0-15,-1 0 0,0 0 0,0 0 16,0 0-16,1 0 15,-1 0-15,0 0 0,0 0 16</inkml:trace>
  <inkml:trace contextRef="#ctx0" brushRef="#br0" timeOffset="178197.05">17846 3916 0,'0'0'0,"-13"0"0,13-13 32,13-1-32,0 14 15,1 0 1,-1 0-16,0 0 0,0 0 15,1 14-15,-1-14 16,0 13-16,-13 0 16,0 0-16,13 1 0,-13-1 0,0 0 15,0 0-15,0 0 0,0 1 0,0-1 16,-13 0-16,13 0 0,0 1 0,0-1 16,-13 0-16,13 0 15,0 1-15,0-1 0,0 0 0,-13-13 16,13 13-16,0 0 0,13 1 15,-13-1-15,13 0 16,-13 0 0</inkml:trace>
  <inkml:trace contextRef="#ctx0" brushRef="#br0" timeOffset="178417.38">18005 4366 0</inkml:trace>
  <inkml:trace contextRef="#ctx0" brushRef="#br0" timeOffset="179516.66">24368 3532 0,'-13'0'0,"26"-26"31,0 26-31,1 0 15,-1 0 1,0 0-16,0 0 0,1 13 16,-1-13-16,0 13 15,0 0-15,0 1 0,-13-1 16,0 0-16,0 0 16,0 1-16,0-1 0,0 0 15,0 0-15,0 0 0,0 1 0,-13-1 16,13 0-16,0 0 0,-13 14 15,13-14-15,0 0 16,0 1-16,0-1 0,0 0 16,13 0-16,-13 0 15,13-13-15,-13 14 0,14-14 0,-1 0 16,-13 13-16,13-13 0,0 0 0,1 13 16,-1-13-16,0 13 15</inkml:trace>
  <inkml:trace contextRef="#ctx0" brushRef="#br0" timeOffset="179652">24567 4048 0</inkml:trace>
  <inkml:trace contextRef="#ctx0" brushRef="#br0" timeOffset="194531.69">15478 5001 0,'13'0'16,"1"13"-1,-1 0-15,0 0 16,0 1-16,-13-1 0,14 13 15,-1-13-15,-13 14 0,0-1 0,13-12 0,-13 12 16,0-13-16,0 14 0,0-14 0,0 0 16,0 14-16,-13-14 0,13 0 15,0 0-15,0 1 0,-13-1 0,13 0 16,-14-13 0,1-13-1,13 0 1,0-1-16,0 1 0,13-13 0,-13 12 15,0 1-15,14-13 0,-1 13 0,-13-1 16,13 1-16,-13 0 0,13 0 16,0-1-16,-13 1 0,14 0 0,-1 13 15,-13-13-15,13-1 0,0 1 16,1 13-16,-14-13 0,13 13 0,0 0 16,0 0-16,0 0 15,1-13-15,12 13 16</inkml:trace>
  <inkml:trace contextRef="#ctx0" brushRef="#br0" timeOffset="195303.47">15968 5067 0,'0'-13'0,"0"26"0,0-40 15,-14 27-15,1 0 16,0 0 0,13 14-16,-13-14 0,-1 13 0,1 0 15,0 0-15,0 0 0,13 1 16,-13-1-16,-1 0 0,14 0 16,-13 1-16,13-1 0,-13 0 0,13 0 15,0 1-15,0-1 0,0 0 16,0 0-1,13-13-15,0 0 16,1-13-16,-1 13 0,0-13 16,-13 0-16,13-1 0,0 14 0,-13-13 15,14 0-15,-14 0 0,13-1 16,-13 1-16,13 0 0,-13 0 16,13 13-16,-13-14 0,0 1 15,14 40 32,-14-14-47,0 0 16,0 0-16,0 1 15,0-1-15,13 0 32,0-26-17,-13 0 1,13 13-16,1-14 0,-1 14 15,0 0-15,-13-13 16,26 26 0,-12-13-1,-14 14-15,0-1 16,13 0 0,0-26 15,0 0-16,-13-1-15,14 14 0,-1-13 16,0 0-16,0 13 16,0 0-16,1-13 0,-1 13 0,13 13 15,-12-13 1,-14 13-16,13-13 0,-13 13 16,0 1-16,0-1 0,0 0 15,0 0-15,0 1 16,0-1-1</inkml:trace>
  <inkml:trace contextRef="#ctx0" brushRef="#br0" timeOffset="195535.78">16497 4882 0,'13'-14'31,"-13"41"-15,0-14 0,0 0-16,0 0 0,0 14 0,0-14 15,-13 14-15,13-14 0,-13 0 16,13 14-16,0-14 0,-14 0 16,14 13-16,0-12 0,-13-1 0,13 0 0,0 0 15,0 1-15,-13-1 0,13 0 16,0 0-16</inkml:trace>
  <inkml:trace contextRef="#ctx0" brushRef="#br0" timeOffset="195903.64">16748 4974 0,'-26'13'47,"12"-13"-47,-12 14 0,13-1 16,0 0-16,-14 0 0,14-13 16,0 14-16,-27 12 0,40-13 15,-13-13-15,-14 13 0,27 1 16,-13-14-16,13 13 0,-13 0 15,26 0 1,0-13 0,14 0-1,-14 0-15,0 0 16,0 0-16,1-13 0,-1 13 0,0-13 16,0 13-16,1 0 0,-1-13 0,0 13 0,0 0 15,14 0-15,-14-14 16,0 14-16</inkml:trace>
  <inkml:trace contextRef="#ctx0" brushRef="#br0" timeOffset="196581.87">17198 5014 0,'0'0'0,"-13"-13"0,-14 13 31,27 13-31,-13-13 0,13 13 16,-13 0-16,13 1 0,-13-1 16,13 0-16,-14-13 0,14 13 15,0 14-15,0-14 16,14 0-16,-1-13 15,0 0-15,0 0 0,0 0 16,14 0-16,-14-13 0,14 0 0,-14-1 16,13 14-16,1-39 0,-14 26 15,0-1-15,0-12 0,-13-1 16,14 1-16,-14 13 16,0-1-16,0 1 0,-14 13 15,1-13-15,-13 13 16,13 0-1,-1 13 1,28 0 0,-1-13-1,0 14-15,0-14 16,0 0-16,-13 13 0,14-13 0,-1 13 16,0 0-16,-13 1 15,13-1-15,-13 0 0,0 0 0,0 14 16,0-14-16,-13 53 15,0-53 1,13 14-16,-27-1 16,1 27-16,26-40 0,-13-13 15,26-26 1,0 0 0,0 12-16,1-25 0,-1 12 15,13 1-15,1-1 0,-14 1 0,40-27 16,-40 40-1,0-1 1,-13 1-16,-26 40 16</inkml:trace>
  <inkml:trace contextRef="#ctx0" brushRef="#br0" timeOffset="198088.79">15703 5834 0,'13'27'31,"-13"-14"-31,0 0 0,0 0 16,0 0-16,0 1 0,0-1 16,0 0-16,0 0 0,0 1 0,13-14 15,-13 13-15,0 0 16,14-39 0,-14 12-1,13 1-15,-13 0 0,13 0 16,-13-1-16,13 1 0,-13 0 0,14 0 15,-1 0-15,0 13 16,0 0-16,1 0 16,-14 13-16,13-13 15,-13 13-15,13-13 0,-13 13 16,13 0-16,0 1 16,1-1-16,-1-13 15,0 0-15,0 0 16,1 0-16,-14-13 0,13-1 15,0 1-15,0 0 0,-13 0 16,14 0-16,-14-1 0,13 1 16,-13 0-16,13 0 0,-13-1 15,0 1 1,0 40 15,0-14-15,0 0-16,0 0 15,0 1-15,13-1 16,-13 0-16,0 0 16,13-13-16,1 0 15,-1 0 1,-13-13 0,26-13-1,-12 12 1,-14 1-1,13 0-15,0 26 63,0-13-47,-13 13-16,0 1 15,13-1 16,-13 0-31,14-13 16,-1 0 31,0-13-47,0 0 31,1 26 16,-1-13-31,-13 13-16,0 0 15,13-13 1,0-13 31,1 0-32,-1 13 1,0 0 0,0-13-16,0 26 31,1-13-31,-1 0 16,0 0 15,0-13 0,1-1-15,-1 14 15,0 14-15,0-14-1,-13 13 1,14-13-16,-1 0 31,0-13-31,0-1 31</inkml:trace>
  <inkml:trace contextRef="#ctx0" brushRef="#br0" timeOffset="198597.58">16708 5503 0,'0'0'0,"0"27"31,0-14-31,0 0 15,0 0-15,0 1 0,0-1 0,0 13 16,0-12-16,0-1 0,0 13 16,0-12-16,0-1 15,0 0-15,0 0 0,0 0 16,14-39 15,-14 13-15,13 13-16,0-13 0,0-1 15,1 14-15,-1 0 0,0-13 16,0 13-16,1 13 16,-14 1-1,0-1-15,-14 0 16,14 0-16,-13 0 16,0-13-16,13 14 0,-13-14 15,13 13-15,-14-13 16,14 13-16,0 0 47,14-13-32,-1 0-15</inkml:trace>
  <inkml:trace contextRef="#ctx0" brushRef="#br0" timeOffset="198952.38">16814 5794 0,'0'-13'0,"0"26"0,14-26 15,-1 13-15,-13-13 0,13 13 16,0-13-16,0 13 15,-13-14-15,14 14 0,-14-13 0,13 0 0,-13 0 16,13 13-16,-13-13 16,0-1-16,0 1 15,0 0 1,27 26 31,-27 0-47,13-13 15,0 14-15,0-1 16,0 0-16,1-13 16,-14 13-16,13 0 15,-13 1 1,0-54 31,0 27-32,13 0-15,0-1 0,-13 1 16,14 13-16,-1-13 0,0 13 16,0-13-16</inkml:trace>
  <inkml:trace contextRef="#ctx0" brushRef="#br0" timeOffset="199083.2">17343 5569 0,'14'0'0,"-14"-13"31,-14 13 1</inkml:trace>
  <inkml:trace contextRef="#ctx0" brushRef="#br0" timeOffset="206730.75">16126 5027 0,'-39'27'16,"25"-14"-16,1 13 0,-13 1 0,13-1 15,-27 14-15,13 13 0,1 0 0,-14 0 16,14-14-16,-1 14 0,-12 0 15,12 0-15,-26 26 16,27-39-16,13-13 0,-1 12 0,1-12 16,0-14-16,0 13 0,13-12 0,0-1 15,0 0-15,0 0 16</inkml:trace>
  <inkml:trace contextRef="#ctx0" brushRef="#br0" timeOffset="207003.88">16775 5014 0,'-27'66'15,"1"-40"1,-1 27-16,1-13 0,-1 13 0,-12 0 15,12-13-15,-13 13 0,14-1 0,0 1 16,-14 0-16,13-13 0,1 13 16,-1-13-16,14-1 0,-13-12 0,13-1 15,-1 1-15,1-1 0,0-13 0,0 1 16,13-1-16,-14 0 0</inkml:trace>
  <inkml:trace contextRef="#ctx0" brushRef="#br0" timeOffset="207233.02">17158 4974 0,'-79'159'31,"52"-119"-31,1 13 16,-14-1-16,14 1 0,-40 40 16,26-40-16,14-13 0,-1 12 0,1-12 15,-1 0-15,1-14 0,-1 1 16,14-1-16,-13 1 0</inkml:trace>
  <inkml:trace contextRef="#ctx0" brushRef="#br0" timeOffset="214107.54">17952 6072 0,'0'-13'16,"-13"39"15,13-12-31,0-1 16,0 0-16,0 14 0,-13-14 0,13 0 15,0 13-15,0-12 0,0-1 0,0 0 16,0 0-16,0 1 0,0-1 15,0 0-15,0 0 16,0 1-16,0-1 16,13-53 15,-13 27-31,0 0 0,0-1 0,0 1 16,0 0-16,0 0 0,0-1 0,0 1 15,0 0-15,0 0 0,0 0 16,0-1-16,0 1 0,0 0 15,-13 39 17,13-12-32,0-1 0,0 0 0,-14 0 15,14 0-15,0 1 0,0-1 16,0 13-16,0-12 0,0-1 0,0 0 16,0 0-16,0 1 15,0-1-15,0 0 16,0-53 15,0 27-31,0 0 0,0 0 16,0-14-16,0 14 0,0 0 0,0-14 15,0 14-15,0 0 0,0 0 16,0-1-16,0 1 0,0 0 16,0 53 15,-13-27-31,13 0 0,0 13 15,0-12-15,0 12 0,0-13 0,0 14 16,-13-14-16,13 14 0,0-14 0,0 0 16,0 0-16,0 0 0,0 1 0,13-1 15,-13 0 1,0-39 0,0 12-16,0 1 15,0 0-15,13 0 0,-13-14 16,0 14-16,0-13 0,0 12 15,0 1-15,0 0 0,14 0 0,-14-1 16,0 1-16,0 0 16,-14 0-16</inkml:trace>
  <inkml:trace contextRef="#ctx0" brushRef="#br0" timeOffset="214539.02">17926 5649 0,'-14'13'0,"14"0"16,-13 1-16,13-1 15,0 0-15,-13 13 0,13-12 0,0-1 16,-13 13-16,13-12 0,0-1 0,0 13 16,0-12-16,-14 12 0,14-13 0,0 0 15,0 1-15,0-1 16,14 0-16,-14 0 0</inkml:trace>
  <inkml:trace contextRef="#ctx0" brushRef="#br0" timeOffset="-214607.9">18045 5649 0,'13'-13'15,"-13"52"16,0-25-31,0-1 0,0 0 16,0 0-16,0 14 0,0-14 0,-13 13 16,13-12-16,0 12 0,0-13 15,0 1-15,-14 12 0,14-13 16,0 0-16,-13-13 0,13 14 0,-13-1 16,13 0-16,-13-13 0,-1 0 15,1 0-15,0 0 0,0 0 16,0 0-16,13-13 0,-14 13 15,14-13 1,0-1-16,14 1 16,-1 13-16,0-13 0,13 13 15,-12-13-15,-1 13 0,0-13 16,14 13-16,-14 0 0,0 0 0,0-14 16,1 14-16,-1 0 0,-13 14 0,13-14 15</inkml:trace>
  <inkml:trace contextRef="#ctx0" brushRef="#br0" timeOffset="-214087.62">17608 6363 0,'-40'0'31,"27"0"-15,0 0-16,-14 0 0,1 0 0,-1 13 15,1-13-15,-14 0 0,-13 14 16,14-14-16,-14 13 0,0-13 16,13 0-16,-13 13 0,0-13 0,14 0 15,-14 13-15,0-13 0,0 0 0,0 14 16,0-14-16,0 0 0,14 0 15,-1 13-15,0-13 0,14 0 0,-1 0 16,1 0-16,13 0 0,-14 0 0,14 0 16,0 0-16,-1 0 0,1 0 0,0 0 15,0 13-15,-1-13 16,1 0-16</inkml:trace>
  <inkml:trace contextRef="#ctx0" brushRef="#br0" timeOffset="-213637.04">16603 6324 0,'-14'0'0,"1"0"15,0 0-15,-14 0 0,14 0 16,0 0-16,0 13 0,0-13 16,-1 0-16,1 13 0,0-13 0,0 13 15,-1 0-15,-12-13 0,13 14 0,-1-14 16,14 13-16,-13 0 0,0-13 15,13 13-15,-13 1 0,0-1 16,13 0-16,0 0 0,0 1 16,13-1-16,0 0 15,0-13-15,0 13 16,1-13-16,-1 13 0,0-13 0,0 0 16,1 14-16,-1-14 0,0 0 0,0 13 15,1-13-15,-1 0 0,0 0 16,0 0-16,0 13 0,1-13 15,-1 0 1,0 13-16,0-13 31,-13 14-31,14-1 16</inkml:trace>
  <inkml:trace contextRef="#ctx0" brushRef="#br0" timeOffset="-206903.88">22384 5450 0,'13'-13'16,"0"26"15,-13 1-31,0-1 0,0 0 16,0 0-16,0 14 0,0-14 16,0 13-16,0-12 0,0 12 0,0 1 0,0-14 15,0 13-15,0-12 0,0-1 16,0 0-16,0 13 0,0-12 0,0-1 15,0 0-15,0 0 16,13 1-16,-13-1 16,14-13-1</inkml:trace>
  <inkml:trace contextRef="#ctx0" brushRef="#br0" timeOffset="-206500.71">22648 5556 0,'0'0'0,"0"-13"0,0 0 0,-13 13 16,0 13 0,0 0-16,13 0 15,-14 1-15,14-1 0,-13 13 16,13-12-16,0-1 0,0 13 0,0-12 15,0-1-15,13 0 0,-13 0 0,14 0 16,-1 1-16,0-1 16,0 0-16,1-13 0,-1 0 0,0 0 15,0 0-15,0 0 0,1-13 16,-1 13-16,0-13 0,0-1 16,-13 1-16,14 0 0,-14 0 0,0 0 15,0-1-15,0 1 0,0-13 0,-14 12 16,14 1-16,-13 0 0,13 0 15,-13 13-15,13-14 0,-13 1 0,-1 13 16,1 0-16,0 0 0,0 0 0,0 0 16,-1 0-16,1 0 0,13 13 15,-13-13-15,39 0 16</inkml:trace>
  <inkml:trace contextRef="#ctx0" brushRef="#br0" timeOffset="-206179.68">22860 5517 0,'13'0'0,"-26"0"0,13 26 47,-13-13-47,13 0 0,-13 14 16,13-14-16,-14 0 0,14 14 16,0-14-16,0 0 0,0 1 0,0-1 15,0 0-15,0 0 0,27 0 16,39 14-1,-53-27 1,0 0-16,1 0 0,-1 0 0,0-13 0,0-1 16,1-12-16,-14 13 15,0 0-15,13-1 0,-13 1 16,0 0-16,-13 0 0,13-1 0,0 1 16,-14 0-16,14 0 0,-13-1 0,13 1 15,-13 13-15,0-13 0,-1 13 16,1 0-16,0 0 0,0 0 15,-1 0-15,1 13 16</inkml:trace>
  <inkml:trace contextRef="#ctx0" brushRef="#br0" timeOffset="-205911.84">23508 5384 0,'13'0'0,"-26"0"0,13 14 32,-13-1-32,13 0 0,-13 13 15,0-12-15,-1-1 0,1 13 0,0 1 16,0-1-16,-1 1 0,-12 12 0,13-25 16,-1 12-16,14-13 0,-13 14 0,0-14 15,0 0-15,13 0 16,-13 1-16,13-1 0,0 0 0,-14 0 0,14 1 15,-13-1 1</inkml:trace>
  <inkml:trace contextRef="#ctx0" brushRef="#br0" timeOffset="-205570.45">22278 6046 0,'40'0'15,"-1"0"1,14-14-16,0 14 0,0-13 0,13 13 16,0-13-16,0 0 0,1 13 0,-1-13 15,0 13-15,0 0 16,-13-14-16,0 14 0,26 0 16,-39 0-16,-14 0 0,-12 0 0,12 0 15,-13 0-15,1 0 0,-1 0 16,-13 14-16,-13-1 15,-14-13-15,-13 13 0</inkml:trace>
  <inkml:trace contextRef="#ctx0" brushRef="#br0" timeOffset="-205281.65">22225 6191 0,'-66'13'0,"132"-26"0,-159 40 16,80-27-16,0 13 0,0-13 15,39 0 1,1 0-16,12 0 0,14 0 15,13-13-15,1-1 0,-1 14 16,0-13-16,13 0 0,-13 13 0,0-13 16,1 0-16,-14 13 0,-1 0 0,1-14 15,0 14-15,0 0 0,-26-13 16,12 13-16,-12 0 0,-1 0 0,-12 0 16,12 0-16,-13 0 0,0 0 0,1 0 15,-1 0-15,0-13 0,0 13 16,1 0-16,-1 0 15,-40-13 17,14 13-32,0 0 15,0-14-15</inkml:trace>
  <inkml:trace contextRef="#ctx0" brushRef="#br0" timeOffset="-189875.71">23283 5530 0,'-13'13'0,"13"0"16,-13 0 0,0-26 46,13 0-46,-14 26 15,14 0-15</inkml:trace>
  <inkml:trace contextRef="#ctx0" brushRef="#br0" timeOffset="-189619.64">23521 5768 0,'0'-13'16,"0"-1"0,-13 1-16,13 0 31</inkml:trace>
  <inkml:trace contextRef="#ctx0" brushRef="#br0" timeOffset="-186763.81">23905 5503 0,'0'-13'62,"0"0"-46,0 0 0,0-14-1,0 14-15,0 0 0,-13 13 16,13-13-16,0-1 0,-13 1 15,13 0-15,-14 0 0,14-1 0,-13 14 16,0-13-16,0 0 0,-1 0 0,1-1 16,0 1-16,0 0 0,0 13 15,-1-13-15,1 0 0,0 13 16,0-14-16,-1 14 0,1-13 0,0 13 16,13-13-16,-13 13 0,0 0 15,-1 0-15,1-13 0,0 13 0,0 0 16,-1 0-16,1 0 0,0 0 0,0 0 15,-1 0-15,1 0 0,13 13 16,-13-13-16,0 0 0,0 0 0,-1 0 16,1 13-16,0-13 0,-14 0 15,27 13 1,-13-13-16,0 0 0,13 14 16,-13-1-16,-1-13 15,14 13 1,-13-13-16,0 13 15,0 0 1,13 1 0,-13-14-16,13 13 15,-14 0 1,14 0-16,-13 1 16,13-1-1,0 0-15,-13-13 0,13 13 16,0 1-16,-13-14 15,13 13-15,0 0 0,0 0 16,-14 0-16,14 1 16,0-1-1,-13 0 1,13 0-16,0 1 16,0-1-16,0 0 0,0 0 15,0 0 1,0 1-16,-13-1 15,13 0-15,0 0 0,0 1 16,0-1-16,0 0 16,0 0-16,0 1 15,13-1 1,-13 0-16,0 0 16,0 0-1,0 1-15,0-1 16,13 0-1,-13 0-15,0 1 16,0-1-16,14 0 16,-14 0-16,0 1 15,13-1-15,-13 0 0,13 0 16,0 0-16,-13 1 16,14-14-16,-14 13 0,13-13 15,-13 13-15,13-13 0,0 0 16,-13 13-16,13-13 0,1 0 0,-1 0 15,-13 14-15,26-14 0,-12 0 0,-1 0 16,0 0-16,0 0 16,1 0-16,-1 0 0,0 0 0,0 0 15,0 0-15,1 0 0,12-14 0,-13 14 16,1 0-16,-1 0 0,0 0 16,0 0-16,1-13 0,-1 13 0,0 0 15,0 0-15,0-13 0,1 13 0,-1 0 16,0-13-16,0 13 0,1-14 0,-1 14 15,0-13-15,0 13 0,0-13 16,1 0-16,-1 0 0,0-1 16,0 1-16,1 0 0,-14 0 15,13-1-15,-13-12 0,13 13 0,-13-1 16,0 1-16,0 0 0,13 0 16,-13 0-16,0-1 0,-13 1 15,13 0-15,0 0 0,0-1 0,-13 14 16,13-13-16,0 0 0,-13 0 15,13-1-15,-14 14 0,14-13 16,-13 13-16,0-13 16,0 13-16,-1 13 15,1-13 1,0 0-16</inkml:trace>
  <inkml:trace contextRef="#ctx0" brushRef="#br0" timeOffset="-182971.23">16470 6879 0,'14'-13'16,"-1"13"0,0 0-16,0 13 0,0-13 15,-13 13-15,14 1 16,-28 12 0,14-13-16,-26 14 15,13-14-15,0 0 16,13 0-16,-14-13 15,14 14-15,14-14 32,-1 13-32,0-13 15,0 0-15,0 0 16,1 13-16,-1-13 0,0 0 0,0 13 16,1 1-16,-1-1 15,-13 0 1,-13 0-16,-1 1 15,1-14-15,13 13 0,-13 0 16,0-13-16,-1 13 0,1-13 0,0 0 16,0 13-16,0-13 0,-1 14 15,1-14-15,0 0 0,0 0 16,-1 0-16,1 13 16</inkml:trace>
  <inkml:trace contextRef="#ctx0" brushRef="#br0" timeOffset="-182471.85">16735 6919 0,'-13'0'0,"-14"26"31,27-12-31,0-1 0,-13 0 16,13 0-16,0 0 0,-13 1 0,13-1 16,0 0-16,0 0 0,13 1 0,-13-1 15,0 0-15,13 0 0,0 1 16,1-14-16,-1 0 16,0 0-16,0 0 0,1-14 15,-1 14-15,0-13 16,-13 0-16,0 0 15,13-1-15,-26 1 0,13 0 16,0 0-16,0-1 0,-13 14 0,13-13 16,0 0-16,-13 0 0,-1 0 15,1 13 1,-13 0-16,12 0 16,14 13-16,-13-13 15</inkml:trace>
  <inkml:trace contextRef="#ctx0" brushRef="#br0" timeOffset="-182259.79">16947 6760 0,'13'-13'0,"-26"39"47,13-12-47,0-1 16,0 0-16,-14 0 0,14 0 0,0 1 15,0-1-15,0 0 0,0 0 16,0 1-16,0-1 0,0 0 0</inkml:trace>
  <inkml:trace contextRef="#ctx0" brushRef="#br0" timeOffset="-182049.19">17079 6747 0,'0'-27'0,"0"1"15,0 52 32,0-12-47,0-1 0,0 0 0,0 0 16,0 1-16,0-1 0,0 0 15,0 0-15,0 0 0,0 1 16,0-1-16</inkml:trace>
  <inkml:trace contextRef="#ctx0" brushRef="#br0" timeOffset="-181809.87">16880 6853 0,'0'0'0,"-13"-14"0,0 14 15,53 0 17,-27-13-32,0 13 15,0 0-15,14 0 0,-14-13 0,13 13 16,-12 0-16,12-13 0,1 13 16,-14 0-16,13-13 0,-12 13 0,12 0 15,0 0-15,-12-14 0,-1 14 0,0 0 16,0 0-16,1 0 0,-1 0 15,0 0-15,0 0 0</inkml:trace>
  <inkml:trace contextRef="#ctx0" brushRef="#br0" timeOffset="-181423.72">17119 6879 0,'-14'-13'16,"14"0"-1,14-1-15,-1 14 16,0 0 0,0 0-16,0 14 15,-13-1-15,14-13 16,-1 13-16,-13 0 15,13 1 1,-13-1 0</inkml:trace>
  <inkml:trace contextRef="#ctx0" brushRef="#br0" timeOffset="-176652.57">16457 7329 0,'106'13'31,"-80"-13"-31,1 0 16,13 0-16,12 13 0,1-13 0,-13 0 16,13 0-16,0 0 0,0 0 15,0 0-15,0-13 0,0 13 0,-14-13 0,14 13 16,0-13-16,-13-1 16,13 14-16,-14-13 0,1 0 0,0 0 15,-1 0-15,28-14 0,-41 14 16,-13 0-16,14-1 0,-14 1 15,13 0-15,-12 0 0,-1 13 0,0-13 16,0-1-16,-13 1 0,14 0 0,-14 0 16,13-1-16,-13 1 0,0 0 15,0 0-15,0-1 0,0 1 0,0 0 16,0-13-16,-13 12 0,13 1 0,-14-13 16,1 12-16,0-12 0,0 13 15,-14-14-15,14 14 0,-14-13 16,1 12-16,0 1 0,-1 0 0,1 0 15,-14-14-15,13 27 0,-12-13 0,-1 0 16,0 0-16,1-1 0,-1 14 16,0-13-16,1 13 0,-1-13 0,0 13 15,1-13-15,-1 13 0,13 0 0,-12 0 16,12 0-16,-12 0 0,-14 0 16,13 0-16,-13 0 0,0 13 0,0-13 15,0 13-15,0 0 0,14 1 0,-14 12 16,0-13-16,13 14 0,-13-14 15,14 13-15,-14 1 0,13 12 16,0-12-16,1-1 0,12-12 0,1 12 16,-14 14-16,27-14 0,-14 1 0,1-1 15,13 1-15,-1-1 0,14-13 0,-13 1 16,13 12-16,0-13 0,0 14 16,13-14-16,-13 0 0,14 14 0,-1-14 15,13 13-15,-12-13 0,12 14 0,14-14 16,-14 0-16,14-13 0,0 14 15,-14-1-15,14-13 0,-14 0 0,40 0 16,-39 0-16,12 0 16,-12 0-16,-1 0 0,1 0 0,-1 0 15,-12 0-15,12 0 0,-13 0 16,0 0-16,1 0 0,-1 0 0,0 0 16,0 0-16,1 0 0,-1-13 15,0 13 1,0 0-1,1-14 1,-1 14-16,-13-13 16,13 13-1</inkml:trace>
  <inkml:trace contextRef="#ctx0" brushRef="#br0" timeOffset="-175779.81">14896 7263 0,'40'-13'16,"-14"-1"0,1 14-16,12-13 0,1 0 0,13 13 15,-13-13-15,-1 13 0,1-14 0,0 14 16,-1-13-16,-12 13 0,-1 0 15,14-13-15,-14 13 0,1 0 0,-14 0 16,14-13-16,-1 13 0,-13 0 0,14 0 16,-14-13-16,0 13 0,0 0 0,-13-14 15</inkml:trace>
  <inkml:trace contextRef="#ctx0" brushRef="#br0" timeOffset="-175521.74">15412 6972 0,'66'0'15,"-39"13"1,-14-13-16,13 13 0,-12 0 0,12 1 16,-13-1-16,0 0 0,14 0 0,-14 1 15,0 12-15,1-13 0,-14 1 16,0-1-16,13 0 0,-13 0 0,0 0 15,0 1-15,-13-1 0,13 0 16,-14 14-16,14-14 0,-13-13 0,0 13 16,13 0-16,-13 0 0,-1 1 0,1-1 15,0-13 1</inkml:trace>
  <inkml:trace contextRef="#ctx0" brushRef="#br0" timeOffset="-172579.99">18150 6839 0,'0'-13'16,"-13"40"0,0-14-1,13 0-15,-13 14 0,0-14 16,-1 0-16,1 14 0,13-1 0,-13-13 16,0 14-16,-1-14 0,1 0 0,0 14 15,13-14-15,-13 0 0,13 0 16,-14 1-16,14-1 0,-13-13 15,13 13-15</inkml:trace>
  <inkml:trace contextRef="#ctx0" brushRef="#br0" timeOffset="-172364.89">17926 6919 0,'0'0'0,"13"-13"0,0 26 31,0-13-31,-13 13 16,13-13-16,1 13 0,-14 1 0,13-14 15,-13 13-15,13 0 0,0 0 16,-13 0-16,14 1 16,-1-14-16,0 13 0</inkml:trace>
  <inkml:trace contextRef="#ctx0" brushRef="#br0" timeOffset="-172111.66">18296 6615 0,'0'0'16,"0"26"0,0-13-16,0 1 15,0 12-15,0-13 0,0 0 0,-13 14 16,13-14-16,0 0 0,0 14 0,-14-14 16,14 0-16,0 0 15,0 1-15</inkml:trace>
  <inkml:trace contextRef="#ctx0" brushRef="#br0" timeOffset="-171828.78">18521 6562 0,'0'-14'0,"-13"41"31,13-14-15,0 0-16,0 1 0,0-1 15,0 0-15,0 0 0,0 1 0,0-1 16,0 0-16,0 0 0,0 0 16,0 1-16,0-1 0,0 0 15,13-13-15,-13 13 16,13-13-1</inkml:trace>
  <inkml:trace contextRef="#ctx0" brushRef="#br0" timeOffset="-171628.73">18217 6694 0,'13'-13'15,"79"-27"1,-65 27 0,-1 13-16,-12 0 0,12-13 15,-13 13-15,0 0 0,1 0 0,12 0 16,-13 0-16,1 0 16</inkml:trace>
  <inkml:trace contextRef="#ctx0" brushRef="#br0" timeOffset="-171293.88">18508 6773 0,'0'-26'31,"53"-53"48,-27 79-33,119 92-14</inkml:trace>
  <inkml:trace contextRef="#ctx0" brushRef="#br0" timeOffset="-150827.7">23191 6628 0,'0'26'62,"0"-12"-62,-13-1 16,13 13-16,0 14 0,-14 0 15,14-1-15,-13 1 0,13 0 0,0-1 0,-13 1 16,13 0-16,-13-14 16,13 1-16,0-1 0,0 1 0,0-1 15,-14 0-15,28-12 0,-28 12 0,14-13 16,0 1-16,0 12 0,0-13 16,0 0-16,0 1 0,0-1 15</inkml:trace>
  <inkml:trace contextRef="#ctx0" brushRef="#br0" timeOffset="-150540.95">23230 6707 0,'-13'0'0,"26"0"0,-52 13 16,26-13-16,-1 14 0,1-1 16,-13-13-16,-1 26 0,1 1 0,-1-1 15,14 1-15,-13-1 0,-1-13 16,14 14-16,-14-1 0,14 1 15,0-14-15,0 13 0,13-12 0,-14-1 16,1 0-16,13 0 0,0 1 16,-13-14-16</inkml:trace>
  <inkml:trace contextRef="#ctx0" brushRef="#br0" timeOffset="-150295.8">23032 6694 0,'0'0'0,"26"0"0,-12 0 15,-1 0-15,0 13 0,14-13 0,-14 13 16,13-13-16,1 14 0,-14-1 16,13 0-16,1 0 0,-14 1 0,14-1 15,-14 0-15,13 0 0,-13 0 0,1 1 16,-1-14-16,0 13 0,0 0 15,1 0-15,-1-13 0,0 14 0,0-1 16,1-13-16,-1 0 16</inkml:trace>
  <inkml:trace contextRef="#ctx0" brushRef="#br0" timeOffset="-148512.7">17542 7686 0,'0'-13'0,"0"0"31,0 52-15,0-25-16,-13 12 15,13 1-15,0-1 0,0 14 16,-14-14-16,14 14 0,0-14 0,0 1 15,-13-1-15,13 1 0,0-1 16,0 1-16,0-14 0,0 13 0,0-13 16,0 14-16,0-14 0,0 0 0,0 1 15</inkml:trace>
  <inkml:trace contextRef="#ctx0" brushRef="#br0" timeOffset="-148257.46">17648 7646 0,'-119'80'15,"92"-54"-15,1 1 16,-1-14-16,-12 13 0,12 1 0,1-1 16,12-12-16,-12 12 0,13-13 15,0 1-15,-1-1 0,1-13 16,13 13-16</inkml:trace>
  <inkml:trace contextRef="#ctx0" brushRef="#br0" timeOffset="-148065.18">17648 7739 0,'0'0'0,"66"13"0,-40 1 0,-12-1 15,12-13-15,0 26 0,1-13 0,13 1 16,-14-1-16,1 0 0,-14 0 15,13 1-15,-13-1 0,14 0 0,-14 0 16,0-13-16</inkml:trace>
  <inkml:trace contextRef="#ctx0" brushRef="#br0" timeOffset="-89211.86">15663 4630 0,'53'0'78,"80"0"-62,39 0-16,-1 0 16,107-13-16,-13-13 15,-93 26-15,92-14 16,-12 14-16,12 0 15,-105 0 1,-93 0-16,-26 0 0</inkml:trace>
  <inkml:trace contextRef="#ctx0" brushRef="#br0" timeOffset="-88351.63">21749 4114 0,'66'0'109,"66"0"-109,27 0 16,26 0-16,27 0 16,39 0-16,40 0 15,0 0-15,-66 0 16,-40 0-16,-79 0 16,-40 0-16</inkml:trace>
  <inkml:trace contextRef="#ctx0" brushRef="#br0" timeOffset="-85069.15">8731 6244 0,'0'-26'0,"0"52"31,0-13-15,0 14-16,0-1 0,0 1 0,0-1 16,0 14-16,0-14 0,0 14 0,13-13 15,-13 12-15,0-12 16,0-1-16,0-13 0,0 14 0,14-14 0,-14 14 16,0-14-16,0 0 0,0 0 0,0 0 15,0 1-15,13-1 0</inkml:trace>
  <inkml:trace contextRef="#ctx0" brushRef="#br0" timeOffset="-84689.69">8546 6284 0,'13'-66'15,"0"52"1,1-12-16,-1 13 0,27 0 0,-14-1 16,14 14-16,-14 0 0,14 0 0,-14 0 15,14 14-15,0-14 0,-1 26 16,1-13-16,-13 14 0,-1-1 0,1 1 15,-14-1-15,0 1 0,0-1 0,0 0 16,-13-12-16,-13 12 0,13 1 0,-13 12 16,0-12-16,0-1 0,-1 14 15,-12-14-15,-1 1 0,14-1 0,-13 1 16,-1-1-16,1-13 0,-1 1 16,1-1-16,13 0 0,-14-13 15,14 13-15,0-13 0,-1 0 0,1 0 16,0 0-16,0 0 15,13-13-15</inkml:trace>
  <inkml:trace contextRef="#ctx0" brushRef="#br0" timeOffset="-83663.58">9247 6628 0,'0'0'0,"13"-13"0,-13-1 15,14 1-15,-14 0 16,0 0-16,0-1 16,0 1-16,-14 13 0,14-13 0,-13 0 15,0 0 1,0 13-16,0 0 15,-1 0-15,1 13 0,13 0 16,-13-13-16,13 13 0,-13 0 16,13 14-16,0-14 0,-14 0 15,14 1-15,0-1 0,14 0 0,-14 0 16,0 1-16,13-1 0,0 0 16,0-13-16,1 13 0,-1-13 15,0 0-15,0 13 0,0-13 0,1-13 16,12 13-16,-13 0 0,1 0 15,-1-13-15,13 13 0,-13-13 0,1 0 16,-1-1-16,0 14 0,0-13 0,1 0 16,-1 0-16,0-1 0,0 1 0,-13 0 15,14 13-15,-1-13 0,-13-1 0,13 14 16,-13-13-16,13 0 16,0 0-1,1 0 1,-41 39 15,27-13-15,0 0-16,-13-13 0,13 14 15,0-1-15,0 0 16,0 0-16,0 1 16,0-1-16,0 0 0,13-13 15,0 13 1,1-13-1,-1-13-15,0 13 16,0 0-16,1 0 0,-14-13 16,13 13-16,0 0 15,-13-13-15,13 13 16,1-14-16,-1 14 16,-13-13-16,13 0 31,0 13 0,-13-13 0,13 13 1,-13-14-17,0 1 16,0 0-31,0 0 32,0 52 15,0-25-47,14-14 15,-14 13-15,0 0 0,0 0 16,0 1-16,13-1 31</inkml:trace>
  <inkml:trace contextRef="#ctx0" brushRef="#br0" timeOffset="-83492.52">9723 6257 0,'-13'-13'32,"0"26"-32</inkml:trace>
  <inkml:trace contextRef="#ctx0" brushRef="#br0" timeOffset="-83049.4">9842 6165 0,'0'0'0,"14"26"16,-14-13-16,13 1 15,-13-1-15,0 13 0,0 1 16,13-1-16,-13 1 0,13-1 0,-13-13 16,14 14-16,-1-1 0,0-12 0,-13-1 15,13 13-15,1-26 0,-1 14 0,0-1 16,0-13 0,0 13-16,1-13 0,-1 0 0,0 0 0,0 0 15,1 0-15,-1-13 0,0 13 0,0-13 16,1-1-16,-14 1 0,13 0 15,-13 0-15,13-1 0,-13 1 16,-26 26 15,26 1-31,-14-1 16,14 0-16,14 0 16,-14 1-16,0-1 15,13-13-15,0 13 16,0-13-1,-13 13-15,13-13 0</inkml:trace>
  <inkml:trace contextRef="#ctx0" brushRef="#br0" timeOffset="-82723.98">8784 7038 0,'0'0'16,"27"-13"-16,-14 13 0,13-14 16,14 1-16,0 0 0,13-13 15,13 12-15,0-12 0,0 13 0,0-1 16,0-12-16,0 13 0,1-14 0,-1 14 15,-13 0-15,13-14 0,40 1 16,-67 26-16,1-13 16,-14-1-16,1 14 0,-1-13 0,-12 13 0,-1 0 15,0-13-15,0 13 0,1 0 0,-41 13 47,14 0-47,-14-13 0,-12 14 0</inkml:trace>
  <inkml:trace contextRef="#ctx0" brushRef="#br0" timeOffset="-82474.4">8956 7104 0,'53'-13'31,"-40"0"-31,27-1 0,0 1 0,13 0 15,0 0-15,-1-14 0,1 14 0,0 0 16,-13 0-16,0-1 0,-1 1 16,1 0-16,-14 0 0,1-1 0,-1 1 15,-12 13-15,-1-13 0,0 13 0,0 0 16,1-13-16,-28-1 31,1 14-31,0-13 0</inkml:trace>
  <inkml:trace contextRef="#ctx0" brushRef="#br0" timeOffset="-81193.44">8453 4577 0,'-13'40'31,"13"-27"-31,0 0 16,0 14-16,0-14 0,0 14 0,0-1 15,13 0-15,-13 14 0,14-13 16,-14-1-16,13 1 0,-13-14 0,13 13 16,0-13-16,1 1 0,-1-1 0,0 0 15,0 0-15,14-13 0,-14 14 16,0-14-16,0 0 0,14 0 0,-14-14 16,14 14-16,-14-13 0,13 0 0,-13 0 15,14-14-15,-14 1 0,14-1 0,-14 1 16,-13 13-16,13-14 0,-13 1 15,0-14-15,-13 0 0,13 1 16,-13-1-16,-1 0 0,1 1 0,-13 12 0,-1-13 16,1 14-16,-1 0 15,1-1-15,-1 1 0,14 12 0,-13 1 16,-1 0-16,14 0 0,0 13 0,0 0 16,-1 0-16,1 0 0,13 13 0,-13-13 15,0 13-15,13 14 0,0-14 16,-14 0-16,28 14 0,-14 12 0,0-12 15,13 12-15,0 1 0,0 0 0,1-1 16,12-12-16,-13 13 16,0-1-16,14-12 0,-14-1 0,0 1 15,1-1-15,-1 1 0,0-14 0,0 13 16,-13-13-16,14 1 0,-14-1 16,13 0-16,-13 0 0,13-13 15,-13 14-15,13-14 0,0 0 16,1 0-1,-1 0-15</inkml:trace>
  <inkml:trace contextRef="#ctx0" brushRef="#br0" timeOffset="-80721.28">9075 4630 0,'-13'13'32,"0"1"-32,13-1 15,0 0-15,0 0 0,0 1 16,0-1-16,0 0 0,13 0 15,-13 0-15,0 1 0,13-14 16,-13 13-16,13-13 0,1 13 16,-1-26-16,0 13 15,0-13-15,1-1 16,-1 1-16,-13 0 0,13 0 0,-13 0 16,13-1-16,-13 1 0,14-13 15,-1 12-15,-13 1 16,13 26-1,0 1 1,-13-1-16,13 0 16,-13 0-16,0 1 0,14-1 15,-14 0-15,13 0 0,0 0 16,0 1-16,-13-1 0,14-13 0,-1 0 16,0 13-16,0-13 0,0 0 15,14 0-15,-14 0 0,0-13 16</inkml:trace>
  <inkml:trace contextRef="#ctx0" brushRef="#br0" timeOffset="-80241.24">9618 4657 0,'-14'-40'32,"1"40"-32,0 13 15,0-13 1,-1 13-16,1-13 0,13 14 15,-13-14-15,13 13 0,0 0 0,-13-13 16,13 13-16,0 1 16,-13-1-16,26-13 15,0-13 17,0 13-32,-13-14 0,13 14 15,1-13-15,-1 13 16,0-13-16,0 13 15,1 13-15,-1-13 16,-13 13-16,13-13 0,-13 14 16,13-14-16,-13 13 0,0 0 15,14-13-15,-14 13 0,0 0 16,0 1 0,13-14-1,-13-14 1,0 1-16,0 0 15,13 13-15,-13-13 0,13 0 0,-13-1 16,13 1-16,-13 0 0,14 13 0,-14-13 16,13-1-16,0 1 15,0 13-15,-13-13 16,14 13-16,-14-13 0,13 13 16,0-13-16</inkml:trace>
  <inkml:trace contextRef="#ctx0" brushRef="#br0" timeOffset="-80033.64">9975 4339 0,'0'-13'31,"13"39"-31,-13-12 16,13-1-16,0 0 0,-13 14 0,14-14 15,-1 13-15,-13-13 0,13 14 0,0-14 16,1 14-16,-1-1 15,-13-13-15,13 1 0,0 12 0,-13-13 16,0 0-16,14 1 0,-14-1 0,0 0 16,0 0-16,0 1 15</inkml:trace>
  <inkml:trace contextRef="#ctx0" brushRef="#br0" timeOffset="-79753.3">9922 4683 0,'40'-40'16,"-27"40"-1,0-13-15,0 0 0,0 13 0,1-13 16,12 13-16,-13-13 0,1 13 16,-1 0-16,0-14 0,0 14 0,1 0 15,-1 0-15,0 0 0,0 0 16,-13 14-16,13-14 0,1 13 15,-1 0-15,0 0 16,0 0-16,-13 1 16,0-1-16,14-13 0,-14 13 15,0 0-15,13-13 16,-13 14-16</inkml:trace>
  <inkml:trace contextRef="#ctx0" brushRef="#br0" timeOffset="-79617.73">10306 4419 0,'-14'0'16</inkml:trace>
  <inkml:trace contextRef="#ctx0" brushRef="#br0" timeOffset="-79088.75">10583 4207 0,'0'0'0,"0"-13"15,-13 39 1,13-13-16,0 14 16,0-1-16,0 1 0,0-1 15,0 1-15,0-1 0,0 1 0,0-1 16,0 0-16,13 1 0,-13-14 0,14 14 15,-14-14-15,13 0 0,0 0 16,0-13-16,0 14 0,1-14 0,-1 0 16,0 0-16,0 0 0,1-14 15,-1 14-15,0-13 0,0 0 0,1 0 16,-14-1-16,13 1 0,-13 0 16,0 0-16,13-1 0,-13 1 0,0 0 15,-26 39 1,12-12-1,14-1-15,0 0 16,0 0-16,0 1 0,0-1 16,0 0-16,14 0 0,-1-13 0,-13 14 15,13-14-15,0 13 0,0-13 16,1 0-16,-1 0 0,0 0 0,0 0 16,1 13-16,-1-13 0,0 0 0,0-13 15,1 26-15</inkml:trace>
  <inkml:trace contextRef="#ctx0" brushRef="#br0" timeOffset="-78778.63">9221 4987 0,'39'0'15,"-12"0"-15,13-13 16,-1 13-16,27-13 0,1-14 0,12 14 16,0 0-16,1 0 0,-1 0 15,14-1-15,-14-12 0,0 13 0,-12-1 16,12 1-16,-13 0 0,-13 13 0,0-13 15,-13-1-15,-1 14 0,1-13 0,-27 13 16,14 0-16,-14-13 0,0 13 16</inkml:trace>
  <inkml:trace contextRef="#ctx0" brushRef="#br0" timeOffset="-78553.58">9432 5133 0,'0'0'16,"14"13"-16,-1-13 15,0 0-15,0 0 0,14 0 0,-1-13 16,14 13-16,13-13 0,13-1 0,0 1 16,0 0-16,0 0 0,1 0 15,-1-1-15,0-12 0,0 13 0,0-1 16,-13 1-16,13-13 0,-13 12 0,0 1 15,0-13-15,-13 13 0,-1-1 16,1-12-16,0 13 0,-14-14 16</inkml:trace>
  <inkml:trace contextRef="#ctx0" brushRef="#br0" timeOffset="-78228.68">10967 4207 0,'0'-13'16,"13"13"-16,0 0 0,1 13 15,-1-13-15,0 13 0,0 0 0,1 1 16,-1-1-16,0 0 0,0 0 16,0 14-16,-13-14 0,14 13 0,-1-12 15,-13 12-15,13-13 0,-13 14 0,13-14 16,-13 0-16,0 14 0,0-14 0,14 0 16,-14 0-16,0 1 15,0-1-15,0 0 0,0 0 0</inkml:trace>
  <inkml:trace contextRef="#ctx0" brushRef="#br0" timeOffset="-78056.72">11179 4815 0,'-14'0'15,"14"-13"16,14 0-15,-1 0-16,0-1 0</inkml:trace>
  <inkml:trace contextRef="#ctx0" brushRef="#br0" timeOffset="-77778.56">11642 4419 0,'13'-14'15,"0"14"1,-13-13-16,13 13 0,14 0 0,-14 0 15,0-13-15,1 13 0,-1 0 0,0 0 16,0 0-16,0 0 16,1 0-16,-1-13 0,0 13 0,0 0 15</inkml:trace>
  <inkml:trace contextRef="#ctx0" brushRef="#br0" timeOffset="-77536.66">11734 4313 0,'-13'0'0,"40"13"31,-14-13-31,0 0 16,13 13-16,-12-13 0,-1 13 0,0-13 15,14 14-15,-14-14 0,0 13 16,0-13-16,0 0 0,-13 13 15,14-13-15,-14 13 0,0 1 0,0 12 16,-14-26 0,14 13-16,0 0 0,-13-13 0,13 14 15</inkml:trace>
  <inkml:trace contextRef="#ctx0" brushRef="#br0" timeOffset="-77041.04">12951 4128 0,'-39'26'31,"25"-13"-31,1 0 0,0-13 15,0 14-15,-14-1 0,14 0 16,0 0-16,0 1 0,-1-1 16,1 0-16,13 0 15,0 0-15,13 1 16,1-14-16,-1 13 16,0-13-16,0 0 0,14 0 0,-14 0 15,0 0-15,0 0 0,14 0 16,-14 0-16,0 0 0,1 0 15,-1 0-15,0 0 0,0 0 16,1-13-16,-14-1 0,13 14 16</inkml:trace>
  <inkml:trace contextRef="#ctx0" brushRef="#br0" timeOffset="-76827.76">12951 4128 0,'0'0'0,"-13"0"15,0 13-15,13 0 16,0 0-16,-13 0 16,13 14-16,0-14 0,0 14 0,0-14 15,0 13-15,-14 1 0,14-1 0,0-13 16,0 14-16,0-1 0,0-12 16,0-1-16,0 13 0,0-13 0,0 1 15,0-1-15,0 0 0,0 0 16,14-13-16</inkml:trace>
  <inkml:trace contextRef="#ctx0" brushRef="#br0" timeOffset="-76313.53">12660 3625 0,'-185'119'31,"159"-79"-31,12-1 0,-12 14 0,13 53 16,-1-40-16,14-26 0,0 13 16,0 13-16,14 0 0,-1-13 15,0 0-15,14 0 0,12 0 0,1-14 16,0 1-16,13 0 0,-14-1 15,14-12-15,0-14 0,-13 14 0,0-14 16,12-13-16,-12 13 0,0-13 16,0 0-16,-1 0 0,14-13 0,-13 0 15,-1-1-15,1 1 0,0 0 0,-14 0 16,14-14-16,-14 1 0,-12 13 16,12-14-16,-13-13 0,14 14 15,-14-1-15,-13-12 0,13-1 0,-13 0 0,0 1 16,0-1-16,-13-13 0,0 0 15,0 0-15,-14 0 0,-26-39 16,27 52-16,-1 0 0,-12 1 16,12 12-16,1 1 0,-1 13 0,1-14 15,-14 1-15,14 12 0,12 1 0,-12 0 16,13 13-16,-14-13 0,1 13 16,13-14-16,-14 14 0,14 14 0,-14-14 15,-12 13-15,-1 0 0,0 14 0,1-1 16,-1 14-16,0-14 0,1 27 15,-1-13-15,13 0 0,-12 12 0,-1-12 16</inkml:trace>
  <inkml:trace contextRef="#ctx0" brushRef="#br0" timeOffset="-75808.57">10967 5913 0,'26'0'16,"-12"0"-16,-1 0 15,13 0-15,1-13 0,-1 13 0,14-13 16,0 0-16,-1 13 0,1-13 16,-14 13-16,1 0 0,-1-14 0,1 14 15,-1-13-15,-12 13 0,12 0 0,-13-13 16,0 13-16,1 0 0,-1-13 15,0 13-15,-13-14 0,13 14 0,-13-13 16,14 13-16</inkml:trace>
  <inkml:trace contextRef="#ctx0" brushRef="#br0" timeOffset="-75511.5">11218 5596 0,'0'-13'16,"27"13"0,-14 13-16,0-13 0,0 0 0,14 13 15,-14-13-15,14 13 0,-1 1 0,1-1 16,-1 0-16,0 0 0,1 1 16,-1 12-16,1-13 0,-14 0 0,0 14 15,1-14-15,-1 0 0,0 1 0,-13 12 16,0-13-16,0 1 15,0 12-15,0-13 0,-13 14 0,0-14 16,-1 13-16,1-12 0,0 12 0,0 0 16,-1-12-16,1-1 0,0 0 0,0 0 15,13 1-15,-14-14 16</inkml:trace>
  <inkml:trace contextRef="#ctx0" brushRef="#br0" timeOffset="-64154.98">12475 5636 0,'-13'-14'32,"26"41"-17,-13-1 1,0-12-16,13 12 0,-13-13 16,14 14-16,-14-1 0,0 1 0,13-1 15,-13-13-15,0 14 0,0-14 0,13 13 16,-13-12-16,0-1 0,0 0 15,0 0-15,0 1 0,13-1 16,-13 0 0</inkml:trace>
  <inkml:trace contextRef="#ctx0" brushRef="#br0" timeOffset="-63816.7">12726 5781 0,'0'0'0,"0"-13"16,-13 13 0,13 26-1,0-12-15,0-1 16,13 0-16,-13 0 0,14 1 16,-14-1-16,13 0 0,0 0 0,0 0 15,1-13-15,-1 14 0,0-14 16,0 0-16,1 0 0,-1 0 15,0-14-15,0 1 0,0 0 16,-13 0-16,14 0 0,-14-1 16,0 1-16,0 0 0,-14 0 15,14-1-15,0 1 0,0 0 16,-13 0-16,13-1 0,-13 1 0,0 0 16,0 0-16,-1 13 0,1-13 15,0 13-15,0 0 16,-1 0-16,1 0 0,0-14 15,0 1-15,13 0 16</inkml:trace>
  <inkml:trace contextRef="#ctx0" brushRef="#br0" timeOffset="-63367.58">12475 5265 0,'-66'0'0,"39"13"16,1-13-16,0 0 0,-14 27 0,13-14 15,-12 0-15,-1 14 0,14 13 16,-27 26-16,39-27 0,1 1 16,0 13-16,13-13 0,0 13 0,13 13 15,0-13-15,14 13 0,-1-13 16,1 0-16,13-1 0,-1 1 0,14-13 16,-13 0-16,79 39 0,-66-52 15,13-14-15,-13 13 0,0-12 16,-14-1-16,1-13 0,0 0 15,0 0-15,-14 0 0,67-27 16,-54 14-16,1-13 0,13-1 0,-13-13 16,-1 14-16,-12-14 0,12 1 15,-12-1-15,-1 0 0,-12 1 0,-1-1 16,0-13-16,-13 13 0,0 1 0,0-1 16,-13-13-16,0 13 0,-14 1 15,14-1-15,-14 0 0,1 14 0,-1-1 16,1 1-16,0-1 0,-14 14 15,0-13-15,14 13 0,-14 13 0,-13-14 16,13 1-16,-12 13 0,12 0 16,0 0-16,-13 0 0,14 0 0,-14 13 15,13-13-15,0 14 0,1-1 0,12 0 16,1 0-16,-1 0 0,1-13 16,12 14-16,-12-1 0,13 0 15</inkml:trace>
  <inkml:trace contextRef="#ctx0" brushRef="#br0" timeOffset="-60981.58">9022 10438 0,'80'13'16,"-27"0"-16,-14-13 15,14 0-15,0 0 0,0 14 16,0-14-16,0 0 0,0 0 0,0 13 15,13-13-15,-13 0 0,0 0 16,0 13-16,-14-13 0,1 0 0,-14 0 16,1 0-16,-1 0 0,1 0 0,-14 0 15,13 13-15,-12-13 0,-1 0 0,0 0 16,0 0 0,-26 13-1,0 1-15,0-14 0</inkml:trace>
  <inkml:trace contextRef="#ctx0" brushRef="#br0" timeOffset="-60617.48">9141 11060 0,'146'0'32,"-120"0"-32,27 0 15,0 0-15,-13 0 0,13 0 16,0 0-16,-14 0 0,14 0 0,0 0 15,-13 0-15,13 0 0,-14 0 0,-12 0 16,-1 0-16,1 0 0,-1 0 0,1 0 16,-14 0-16,0 0 0,0 0 15,1 0-15,-1 0 16,-40 13-16,14 0 16,-13 0-16,-14 0 0</inkml:trace>
  <inkml:trace contextRef="#ctx0" brushRef="#br0" timeOffset="-60309.09">9128 11734 0,'40'0'0,"-80"0"0,106 0 0,-39 0 16,-14 0-16,13-13 0,14 13 16,-13 0-16,-1 0 0,14 0 0,-1-13 15,14 13-15,0 0 0,0 0 16,0 0-16,0 0 0,0 0 0,0-13 16,-14 13-16,1 0 0,0 13 0,0-13 15,-14 0-15,0 0 0,-12 0 16,12 0-16,-13 0 0,-13 13 0,14-13 15,-1 0-15,-13 13 0,0 1 16</inkml:trace>
  <inkml:trace contextRef="#ctx0" brushRef="#br0" timeOffset="-59972.52">8890 12422 0,'26'0'0,"-52"0"0,79 0 0,-40 13 15,0-13-15,1 0 0,12 0 16,1 0-16,12 0 0,1 14 0,13-14 15,0 0-15,0 0 0,0 0 0,-1 13 16,1-13-16,0 0 0,13 0 16,-13 0-16,14 0 0,-15 0 0,15 0 15,-15 0-15,1-13 0,-13 13 0,0 0 16,-1 0-16,-12 13 0,-1-13 0,-12 0 16,12 0-16,-13 0 0,1 0 15,-14 13-15,13-13 0</inkml:trace>
  <inkml:trace contextRef="#ctx0" brushRef="#br0" timeOffset="-59655.49">8639 13097 0,'0'0'0,"39"13"0,-25-13 15,-1 0-15,13 0 0,-13 13 16,14-13-16,-14 0 0,14 0 0,-1 14 16,14-14-16,-1 0 0,1 0 0,0 13 15,13-13-15,-14 0 0,14 0 16,-13 0-16,0 0 0,-1 0 0,-12 0 15,13 0-15,-14-13 0,0 13 0,1 0 16,-1 0-16,-12 0 0,-1 0 0,0 0 16,0 0-16,1 13 0</inkml:trace>
  <inkml:trace contextRef="#ctx0" brushRef="#br0" timeOffset="-59384.66">8202 13666 0,'0'0'0,"40"0"0,-27 0 16,13 0-16,1 13 0,-14-13 0,27 0 15,-14 0-15,27 0 0,0 0 0,0 0 16,0 0-16,0 0 0,0 0 0,0 0 16,13 0-16,-13 0 15,-14 0-15,14 0 0,0 0 0,-13 0 16,-14 0-16,1 0 0,-1 0 0</inkml:trace>
  <inkml:trace contextRef="#ctx0" brushRef="#br0" timeOffset="-54507.63">8136 10266 0,'-13'26'31,"13"-12"-31,0-1 15,0 0-15,-14 0 0,14 0 16,0 1-16,0-1 0,0 13 0,0-12 16,-13-1-16,13 0 0,0 0 15,0 1-15,0-1 0,0 0 16,0 0-16</inkml:trace>
  <inkml:trace contextRef="#ctx0" brushRef="#br0" timeOffset="-54124.1">8308 10292 0,'0'0'16,"-27"0"-16,27 14 0,-13-1 16,0 0-1,26-13-15,-13 13 16,13 0-16,1 1 16,-1-14-1,-13 13-15,13-13 16,-13 13-16,0 0 15,0 1 1,0-1-16,-13-13 0,13 13 16,-13-13-16,-1 13 0,1 1 15,0-14 1</inkml:trace>
  <inkml:trace contextRef="#ctx0" brushRef="#br0" timeOffset="-53920.08">8401 10213 0,'0'-13'0,"13"13"32,-13 13-17,0 0-15,0 0 0,0 1 16,0-1-16,0 13 0,0-12 0,0-1 15,0 13-15,0-13 0,0 14 0,0-14 16,0 0-16,0 1 0,0-1 16,0 0-16</inkml:trace>
  <inkml:trace contextRef="#ctx0" brushRef="#br0" timeOffset="-53708.15">8334 10425 0,'0'-14'15,"14"14"-15,-14-13 0,13 13 16,0 0-16,0-13 16,1 13-16,-1 0 0,0 0 15,0-13-15,0 13 0,1 0 0,-1 0 16,0 0-16,0 0 0</inkml:trace>
  <inkml:trace contextRef="#ctx0" brushRef="#br0" timeOffset="-51682.51">8771 10173 0,'0'0'0,"0"-13"0,0 39 47,13-12-47,-13-1 0,0 0 0,-13 0 15,13 1-15,0-1 0,0 13 16,0-12-16,0-1 0,13 0 0,-13 0 15,0 0-15,0 1 0,0-1 16,0 0 0,-26-39 15,12 26-31,1 0 0,0-14 16,0 14-16,0 0 15,-1 0-15,1 0 0,0 0 0,0 0 16,-1 14-16,1-1 0,0-13 15,0 13-15,13 0 16,-14-13-16,28 14 0,-14-1 16,13-13-16,0 13 15,0-13-15,1 0 0,-1-13 16,13 13-16,-12 0 0,12-13 0,-13 13 16,14-14-16,-14 14 0,13-13 0,-12 0 15,-1 13-15,0-13 0,0-1 16,1 14-16,-14-13 0,13 13 15,-13-13-15,13 0 16,-26 39 31,13-13-31,13 1-16,0-14 15,0 0 1,1 0-16,-1-14 15,0 14-15,0-13 0,1 13 16,-14-13-16,13 13 16,0-13-16,0 0 15,-13 26 17,0 0-17,14 0-15,-1 0 31,13-26-15,-26 0-16,13 13 0,-13-13 16,14 0-16,-1 13 0,-13-14 15,13 1-15,-13 0 16,13 13-16,-13 13 31,0 0-15,0 1-16,0-1 0,-13 0 15,13 0-15,0 0 16</inkml:trace>
  <inkml:trace contextRef="#ctx0" brushRef="#br0" timeOffset="-51546.65">9102 10014 0</inkml:trace>
  <inkml:trace contextRef="#ctx0" brushRef="#br0" timeOffset="-51036.41">10821 10253 0,'0'-14'0,"0"41"31,-13-14-15,13 0-16,0 1 0,0-1 0,0 13 15,0-13-15,-13 1 0,13 12 16,0 1-16,-13-14 0,13 0 16,0 0-16,0 1 0,0-1 0</inkml:trace>
  <inkml:trace contextRef="#ctx0" brushRef="#br0" timeOffset="-50691.67">10927 10332 0,'-13'13'15,"0"0"1,13 1-16,0-1 16,-13-13-16,13 13 0,0 0 0,13 14 15,-13-14-15,13 0 16,0 1-16,1-14 15,-1 0-15,0 0 0,0 0 16,0 0-16,1-14 0,-1 14 16,-13-13-16,0 0 15,13 0-15,-26-1 16,13 1-16,-13 13 16,13-13-16,-14 0 0,1 13 15,0 0-15,0-14 16,0 14-16,-1 14 15</inkml:trace>
  <inkml:trace contextRef="#ctx0" brushRef="#br0" timeOffset="-50468.44">11126 10160 0,'0'0'16,"13"13"15,-13 0-15,0 1-16,0-1 0,-13 0 15,13 14 1,0-14-16,0 0 0,0 0 16,0 1-16,-14-1 0,14 0 15,0 0-15,0 0 16</inkml:trace>
  <inkml:trace contextRef="#ctx0" brushRef="#br0" timeOffset="-50284.2">11271 10186 0,'0'-13'0,"0"40"47,-13-14-47,13 0 0,0 0 15,-13 1-15,13-1 0,0 0 16,0 0-16,-13 1 0,13-1 16,0 0-16</inkml:trace>
  <inkml:trace contextRef="#ctx0" brushRef="#br0" timeOffset="-50131.47">11126 10319 0,'-14'-13'0,"1"13"31,40-14-15,-14 14-1,0 0-15,14 0 16,-14 0-16</inkml:trace>
  <inkml:trace contextRef="#ctx0" brushRef="#br0" timeOffset="-49464.55">11827 10253 0,'-13'-14'15,"-1"94"1,14-67 0,0 13-16,0-12 0,0 12 15,0-13-15,0 14 0,0-1 0,14 1 16,-14-1-16,0-13 15,0 1-15,0-1 0,0 0 16,0 0-16,0-52 31,0 25-15,0-12-16,0 0 0,0-1 16,13-13-16,0 14 0,0-14 0,1 14 0,-1 13 15,0-14-15,0 14 0,0 13 16,1-13-16,-1-1 0,0 14 15,0 0-15,1 0 0,-1 14 16,-13 12 0,-13-26-16,13 13 15,-14 1-15,14-1 0,-13 0 0,0-13 16,13 13-16,-13 0 0,-1 1 0,14-1 16,-13-13-16,13 13 15,13 0 1,1-13-16</inkml:trace>
  <inkml:trace contextRef="#ctx0" brushRef="#br0" timeOffset="-49111.33">12144 10411 0,'14'-13'0,"-1"13"0,-13-13 0,13 0 15,-13-14 1,13 14-1,-39 26 17,13 27-17,13-27 1,0 0-16,0 1 0,13-14 16,-13 13-16,13 0 15,0-13-15,-13 13 16,14-13-16,-14 14 0,13-14 15,0 0-15,0 13 16,0-13 0,1 0-16,-1 0 15,0 0 1</inkml:trace>
  <inkml:trace contextRef="#ctx0" brushRef="#br0" timeOffset="-48427.47">8057 11073 0,'0'-13'0,"13"13"0,13 0 31,-13 0-31,-13 13 16,0 0-16,0 13 15,-13-12 1,13-1-16,0 0 16,-13-13-16,13 13 0,-13 1 15,13-1 1,13-13 0,0 13-1,0-13-15,1 0 16,-1 0-16,13 0 15,-12 0-15,-1 0 16,-13-13-16,13 13 0,0 0 0,1 0 16</inkml:trace>
  <inkml:trace contextRef="#ctx0" brushRef="#br0" timeOffset="-48108.64">8308 10980 0,'0'-13'0,"0"39"16,0-12-1,0-1-15,0 0 16,0 0 0,0 1-1,13-14 63,0-14-62,14 14 0,-14-13-16,0 13 0,1-13 15,-1 13-15</inkml:trace>
  <inkml:trace contextRef="#ctx0" brushRef="#br0" timeOffset="-47784.36">8599 10861 0,'-13'-13'0,"-1"13"15,-12 13 1,13-13-16,13 13 16,-13 1-16,13-1 15,-14-13-15,14 13 16,14-13-1,-1 0-15,0-13 16,0 13-16,0-13 0,1-1 0,-14 1 16,13-13-1,0 26-15,-13-14 0,13-12 16,-13 13-16,0 39 31,0-13-15,0 1-16,0-1 0,0 0 0,0 0 15,0 1-15,0-1 0,0 13 16,14-12-16,-14-1 0,13 0 0,0 0 16,-13 0-16,13 1 0,1-14 0,-1 13 15</inkml:trace>
  <inkml:trace contextRef="#ctx0" brushRef="#br0" timeOffset="-46519.34">10861 10993 0,'27'-13'31,"-14"13"-31,0 0 16,-13 13-1,13 1-15,-13-1 16,0 0-16,0 0 16,0 1-16,-13-1 15,13 0 1,-13-13 0,13 13-16,0 0 46,26-13-30,-12-13-16,-1 13 0,0 0 16,13 0-16,-12-13 0,-1 13 0,0-13 15,14 13-15,-14-13 0,0 13 16,0-14-16,0 14 16,1 0-16,-41 14 46,27-1-30,0 0 0,13-13-16,1 0 15,-1 13-15,-13-26 0,13 13 16,0 0-16,1 0 0,-1 0 0,0 0 16,0-13-16,1 0 0,-14-1 15,13 14-15,-26-13 16,13 0-16,0 0 15,-14 13-15,1-14 16,-13 14-16,12 0 16,1-13-1</inkml:trace>
  <inkml:trace contextRef="#ctx0" brushRef="#br0" timeOffset="-46337.41">11364 10808 0,'0'0'0,"0"13"31,0 14-15,0-14-16,-13-13 0,13 13 16,0 1-16,-14 12 0,14-13 15,0 1-15,0-1 0,0 0 16,0 0-16</inkml:trace>
  <inkml:trace contextRef="#ctx0" brushRef="#br0" timeOffset="-45999.98">11496 10821 0,'0'0'16,"0"-13"-16,-13 40 31,13-14-16,-13 0-15,13 0 0,0 1 16,-14-1-16,14 0 0,0 0 16,0 1-16,-13-14 0,13 13 0,0 0 15,-13-13-15,13 13 0,-13-13 16,0 13 0,-1-13-16,1 0 0,0-13 15,0 13-15,-1 0 16,1 0-16,0-13 15,26 0 17,0 13-32,1 0 0,-1-13 15,13 13-15,-12 0 0,-1-14 0,13 14 16,1 0-16,-1-13 0,1 13 0,-1 0 16,1 0-16</inkml:trace>
  <inkml:trace contextRef="#ctx0" brushRef="#br0" timeOffset="-45394.42">11827 10888 0,'0'0'16,"0"13"-16,0 13 15,0-12 1,-13-1-16,13 0 0,0 0 16,0 0-1,0 1-15,0-1 16,0 0-16,0 0 0,-14-13 15,28-26 17,-14 13-32,0-1 15,13 1-15,-13 0 0,13-13 16,-13 12-16,13 1 16,1 0-16,-14 0 0,13 13 15,0 0-15,-13 13 31,0 13-15,-13-12 0,13-1-1,0 0 1,-13-13-16,13 13 16,13-13-1,0 13 1,0 1-1,-13-1 1,0 0 0,0 0-1</inkml:trace>
  <inkml:trace contextRef="#ctx0" brushRef="#br0" timeOffset="-44659.63">8202 11787 0,'0'0'15,"0"27"16,0-14-31,0 0 16,0 0-16,13 1 16,-13-1-16,14-13 15,-14 13-15,0 0 16,13-13-16,-13 13 16,0 1-16,0-1 15,-13 0 1,-1 0-16,1 1 15,0-14 32</inkml:trace>
  <inkml:trace contextRef="#ctx0" brushRef="#br0" timeOffset="-44441.63">8361 11787 0,'13'0'0,"-13"13"15,13-26 32,1 0-31,-1 13-16,0 0 15,13-13-15,14 0 0</inkml:trace>
  <inkml:trace contextRef="#ctx0" brushRef="#br0" timeOffset="-43855.63">10901 11417 0,'-13'0'16,"39"0"15,-13 0-31,14 0 16,-14 0-1,0 0-15,0 0 0,14 0 0,-14 0 0,0 0 16,1 0-16,-1 0 15,0 0-15,0 0 0,0 0 16,1 0-16,-1 0 16,0 0 15</inkml:trace>
  <inkml:trace contextRef="#ctx0" brushRef="#br0" timeOffset="-43070.21">7554 13666 0,'-13'26'32,"13"-13"-17,0 1-15,0-1 0,0 0 16,0 0-16,0 1 0,0-1 15,0 0-15,0 0 0</inkml:trace>
  <inkml:trace contextRef="#ctx0" brushRef="#br0" timeOffset="-42798.11">7646 13732 0,'0'13'15,"0"0"-15,14 1 16,-1-14 0,0 0-16,0-14 15,1 14-15,-1-13 16,-13 0 0,0 0-16,0-1 15,-13 1-15,13 0 16,-14 0-16,1 13 15,0 0-15,0 0 16</inkml:trace>
  <inkml:trace contextRef="#ctx0" brushRef="#br0" timeOffset="-42343">7739 13441 0,'13'13'47,"-13"0"-47,0 1 0,0-1 16,0 0-16,14 0 16,-1-13-1,0 0-15,0-13 16,-13 0-16,13 13 0,1-66 31,-1 52-15,13 14 31,-12 14-47,-14-1 31,0 0-31,0 14 31,-14-27-31,1 13 16,0-13 46,53 0-62,13-13 16</inkml:trace>
  <inkml:trace contextRef="#ctx0" brushRef="#br0" timeOffset="-41588.55">10306 13481 0,'0'0'0,"-14"26"31,14-13-31,0 0 16,0 1-16,0-1 0,0 13 16,14 1-16,-14-14 0,0 0 0,-14 0 15,28 1-15,-14-1 0,0 0 16,13 0-16</inkml:trace>
  <inkml:trace contextRef="#ctx0" brushRef="#br0" timeOffset="-41162.91">10438 13573 0,'0'27'16,"13"-14"-16,-13 0 15,13 0-15,1 0 16,-1 1-16,0-14 15,0 0 1,14 0-16,-14 0 16,-13-14-16,13 1 15,-13 0 1,-13 0-16,13 0 16,-13-1-16,-1 1 0,1 13 15,13-13-15,-13 13 16,0 0-1,-14 13 17</inkml:trace>
  <inkml:trace contextRef="#ctx0" brushRef="#br0" timeOffset="-40860.25">10636 13666 0,'40'39'31,"-27"-25"-31,14-14 16,-107-53-16,173 106 16,-67-53-16,-12-14 15,-14 1-15,0 0 16,0 0-1,-14-14 1,1 27-16,0-13 0,0 0 16,-1 13-16,-12 0 15,13 0 1,-1 13-16,14 0 0,-13-13 16,13 13-16</inkml:trace>
  <inkml:trace contextRef="#ctx0" brushRef="#br0" timeOffset="-40531.44">10980 13467 0,'13'27'31,"-13"-14"-31,0 0 15,0 0 1,0 1-16,14-1 0,-14 0 0,0 0 16,13 1-16,-13-1 0</inkml:trace>
  <inkml:trace contextRef="#ctx0" brushRef="#br0" timeOffset="-40330.43">11046 13494 0,'14'13'62,"-14"0"-62,0 0 0,0 1 16</inkml:trace>
  <inkml:trace contextRef="#ctx0" brushRef="#br0" timeOffset="-40172.18">11020 13586 0,'-27'-26'94,"41"26"-94,78-27 31,-52 27-15,-14 0-16</inkml:trace>
  <inkml:trace contextRef="#ctx0" brushRef="#br0" timeOffset="-39596.12">11298 13613 0,'0'26'32,"0"-13"-17,0 1-15,0-1 0,0 13 16,0 1-16,0-1 0,0 1 15,13 65 1,-13-78 0,0-1-16,0 0 15,0-53 17,0 27-32,0 0 15,0 0-15,0-1 16,13-12-16,-13 13 15,0 0-15,13-1 16,-13 41 15,0-1-15,-13-13-16,13 1 16,0-1-16,0 0 15,0 0 1</inkml:trace>
  <inkml:trace contextRef="#ctx0" brushRef="#br0" timeOffset="-39222.52">11390 13838 0,'0'-40'31,"0"80"-31,14-67 47,-1 40-31,0-13-1,-13 14-15,13-14 16,0 0 15,1 0-15,-1 0-1,0 0 1,14 26 15,-14-26-15,13 0 31</inkml:trace>
  <inkml:trace contextRef="#ctx0" brushRef="#br0" timeOffset="-36519.47">12674 10160 0,'13'-26'16,"0"12"-16,13 1 16,-12 13-16,25-13 15,1 0-15,0-1 16,-1 1-16,-25 13 15,12 0-15,1 0 16,-14 0-16,13 0 16,-12 27-16,-1-1 15,-13 27-15,0-13 16,0 66-16,0 13 16,-13 92-16,13-131 15,13-14-15,-13 13 0,0 1 16,13-1-16,0 93 0,14 13 15,-14-26 1,13 0-16,-12-80 16,12 66-16,133 676 62,-146-729-46,-13-78-16,13 38 0,-13 120 47,0-158-32,0-1-15,0 0 0,0 0 16,-159 120 31,120-120-32,-54 27-15,-26-1 16,-26 1-16,-14 0 16,40-27-16,-119 13 15,105-12-15,1-14 16</inkml:trace>
  <inkml:trace contextRef="#ctx0" brushRef="#br0" timeOffset="-35578.13">7660 10200 0,'13'-14'16,"-13"1"0,-13 0-1,-14 13 1,14 0-16,-13 0 0,-41 13 15,28 0-15,-41 14 16,27-14-16,-26 14 16,0-1-16,-1 14 15,27-1-15,0 1 16,14 13 0,12 40-16,14-14 15,0 67 1,13-80-16,26 622 47,-12-437-32,-28-172-15,1 133 0,-172 820 63,172-926-63,-1-67 0,14 1 15,0 53 1,0-67-16,80 120 16,-54-120-1,40 14-15,14-14 16,12-13 0,41 14-16,-1-1 15,-79-12 1,26-1-1</inkml:trace>
  <inkml:trace contextRef="#ctx0" brushRef="#br0" timeOffset="-17220.11">14909 11033 0,'66'27'32,"-52"-27"-32,-1 0 0,13 13 15,-12-13-15,-1 0 0,0 0 16,0 0-16,0 0 0,1 0 16,-1 0-16,-13-13 0,13 13 15,0 0-15,1-14 0,-1 14 16,0-13-16</inkml:trace>
  <inkml:trace contextRef="#ctx0" brushRef="#br0" timeOffset="-16944.3">15134 10901 0,'0'0'16,"27"13"15,-14-13-31,0 13 0,0-13 16,14 14-16,-14-1 0,13-13 15,-12 13-15,-1 0 0,0 0 0,14 14 16,-14-14-16,-13 0 0,0 1 0,13-1 16,-13 0-16,-13 13 15,13-12-15,0-1 0,-13 0 0,-1 14 16,14-14-16,-13-13 0,13 13 0</inkml:trace>
  <inkml:trace contextRef="#ctx0" brushRef="#br0" timeOffset="-16371.3">16589 10716 0,'0'13'32,"0"0"-32,0 0 0,0 1 0,0-1 15,0 13-15,0-13 0,0 14 16,14-14-16,-14 0 0,0 1 0,0-1 15,0 0-15,0 0 0,0 1 16,0-1-16,13 0 16,0-26-1,0 0 1,1-1-16,-1 1 0,0-13 16,0 26-16,-13-14 0,13 14 0,-13-13 15,14 13-15,-1 0 0,0 0 16,-13 13-16,13-13 0,1 14 15,-1-14-15,-13 13 0,0 0 16,13-13-16,-13 13 0,13 1 16,1-1-16,-14 0 15,13-13-15,0 13 16,0-13-16,0 0 16</inkml:trace>
  <inkml:trace contextRef="#ctx0" brushRef="#br0" timeOffset="-15678.33">17185 10610 0,'-14'-13'31,"14"39"-31,0 0 16,0-12-16,0-1 0,0 13 15,0 1-15,0-1 0,0 1 0,14-14 16,-14 13-16,0 1 0,13-14 0,-13 14 15,0-14-15,13 13 0,-13-12 16,13-1-16,-13 0 0</inkml:trace>
  <inkml:trace contextRef="#ctx0" brushRef="#br0" timeOffset="-15347.52">16999 10927 0,'-13'0'0,"13"-13"32,13 13-32,1-13 15,12 13-15,1-13 16,-1 13-16,1-14 0,-1 1 0,0 13 16,1-13-16,-1 13 0,1-13 15,-1-1-15,-12 14 0,-1 0 16,0 0-16,0 0 0,0 0 15,1 0-15,-14 14 16,13-14-16,-13 13 0,0 0 16,13 0-16,-13 1 0,0-1 15,0 0-15,0 0 16,13 1-16,-13-1 16,0 0-16,14 0 15</inkml:trace>
  <inkml:trace contextRef="#ctx0" brushRef="#br0" timeOffset="-15207.33">17410 10623 0,'-27'0'16,"54"0"-16,-67 0 0,27 0 15</inkml:trace>
  <inkml:trace contextRef="#ctx0" brushRef="#br0" timeOffset="-14827.47">17542 10398 0,'-13'40'31,"13"-27"-31,0 0 16,0 1-16,0 12 0,0 0 0,0 1 16,13-1-16,-13 1 0,13-1 0,0 1 15,1-1-15,-1-13 0,0 14 16,0-14-16,14 0 0,-14 1 0,0-14 16,0 0-16,14 13 0,-14-13 15,0-13-15,14 13 0,-14-14 0,13 1 16,-12 0-16,-1 0 0,0-1 15,-13 1-15,13 0 0,-13 0 0,14-1 16,-14 28 15,0-1-31,0 0 16,13 0-16,-13 1 0,13-1 16,0 0-16,-13 0 0,14-13 15,-1 0-15,-13 14 0,13-14 16,0 0-16</inkml:trace>
  <inkml:trace contextRef="#ctx0" brushRef="#br0" timeOffset="-13372.43">16603 11311 0,'13'-13'0,"13"-1"31,-12 14-15,-1 0 0,0 14-1,0-1 17,0-13 30,1 0 188,-14-13-219,0-1 1,-14 14-1,1 14-16,0-1-15,0-13 16,0 13-16,-1 0 0,1 1 16,0-1-16,-14 0 0,14 0 15,0 1-15,0-1 0,-1-13 0,14 13 16,-13 0-16,0 0 16,13 1-16,13-1 15,0-13-15,1 0 16,-1 0-16,0 0 0,0 0 0,14 0 15,-1 0-15,-12 0 0,12 0 16,-13-13-16,0 13 0,14 0 0,-14 0 16,0-14-16,1 14 0,-1 0 15,0-13-15,0 13 16,-13-13-16,0 0 16</inkml:trace>
  <inkml:trace contextRef="#ctx0" brushRef="#br0" timeOffset="-13191.62">16775 11245 0,'0'13'16,"0"-26"-16,-14 0 0,1 39 16,13-13-1,0 0-15,-13 14 16,13-14-16,0 14 0,0-1 16,-13-13-16,13 14 0,0 26 15,0-27-15,0-13 0,-14 27 16,14-13-16,0-1 0,0-13 15,0 0-15,0 1 0,-13 25 16</inkml:trace>
  <inkml:trace contextRef="#ctx0" brushRef="#br0" timeOffset="-12676.19">16497 11972 0,'0'0'0,"0"27"15,0-14 1,0 14-16,0-14 16,0 0-16,0 0 0,0 40 15,0-40-15,0 14 0,0-14 16,0 14-16,0-14 0,0 13 0,0-13 15,0 1-15,13-1 0,0 0 16,0-13-16,1 0 0</inkml:trace>
  <inkml:trace contextRef="#ctx0" brushRef="#br0" timeOffset="-12397.47">16695 12144 0,'13'53'62,"1"-39"-46,12-1-1,-79-93-15,119 147 0,-52-67 16,-14-14-16,13 1 0,0-13 16,-26-1-1,13 14-15,-27-14 16,14 14-16,0 0 0,-14 13 15,14 0-15,0 0 0,0 0 16,0 0-16,-1 0 0,1 13 0,0 0 16,26 1-1</inkml:trace>
  <inkml:trace contextRef="#ctx0" brushRef="#br0" timeOffset="-10492.3">18230 11562 0,'92'-39'31,"-65"39"-31,13 0 16,-27-14-16,13 14 15,-13 0-15,1 0 0,-1 0 0,0 14 16,0-14-16,-13 13 0,14 0 0,-1 0 15,-13 1-15,13 12 0,-13-13 16,0 27-16,0-14 0,0 1 16,0-1-16,-13 1 0,13-14 0,0 13 15,0-12-15,0 12 0,-13-13 0,13 1 16,0-1-16,0 0 0,0 0 16,0 0-16</inkml:trace>
  <inkml:trace contextRef="#ctx0" brushRef="#br0" timeOffset="-10260.21">18283 11800 0,'-14'0'16,"41"0"-1,-1 0-15,-12-13 16,12 13-16,-13 0 0,14 0 0,12 0 15,-12-13-15,-14 13 0,27 0 16,-27 0-16,14-13 0,-1 13 0,-13 0 16,14 0-16,-1-13 0,-13 13 15,1 0-15,12 0 0,0-14 16,-12 14-16</inkml:trace>
  <inkml:trace contextRef="#ctx0" brushRef="#br0" timeOffset="-9058.29">18759 12449 0,'53'39'15,"-40"-25"-15,0-1 0,1 0 16,-1 13-16,0-12 16,-13-1-16,0 0 0,0 0 15,0 1-15,0 12 0,-13-13 16,13 1-16,-13-1 0,13 0 16,-14-13-16,14-13 31,0 0-31,0-1 0,14 1 0,-14-13 15,13 12-15,0-12 0,13-27 16,-26 40-16,14-40 16,-1 40-16,-13-27 15,-53-39 17,40 79-32,0 0 0,-1 0 15,-12 13-15,13-13 0,13 13 16,-14 27 15</inkml:trace>
  <inkml:trace contextRef="#ctx0" brushRef="#br0" timeOffset="-8500.32">20174 11999 0,'14'-13'0,"-14"39"47,13-13-47,-13 1 0,0-1 15,13 0-15,-13 0 0,0 0 16,0 1-16,13-1 0,-13 0 16,0 0-16,0 1 0,0-1 15,0 0-15,14 0 16</inkml:trace>
  <inkml:trace contextRef="#ctx0" brushRef="#br0" timeOffset="-7514.76">20148 12025 0,'26'-26'16,"-12"26"-16,-1 13 16,0-13-16,-13 13 15,13-13-15,-13 14 0,14-14 0,-14 13 16,0 0-16,0 0 0,-14 14 16,14-14-16,-13 13 0,13-12 15,-13-1-15,0 13 16,-1-12-16,14-1 0,-13 0 15,13 0-15,-13 0 16,39-13 0,133-92 31,-132 79-47,12-27 15,-12 27-15,-14 26 63,0 0-63,-13 0 15,14-13-15,-1 14 16,0-14-16,53-14 31,-66 1-31,13 13 16,-13-13-16,-13-14 15,0 14-15,0 0 16,-14 13-16,27-13 16,-13 13-16,0 0 15,-14 13-15,14-13 16</inkml:trace>
  <inkml:trace contextRef="#ctx0" brushRef="#br0" timeOffset="-7290.32">20809 11695 0,'0'0'16,"0"26"-1,0 1 1,0-14-16,0 13 15,0-13-15,0 14 0,0-14 16,0 14-16,0-14 16</inkml:trace>
  <inkml:trace contextRef="#ctx0" brushRef="#br0" timeOffset="-6991.32">20836 11708 0,'0'-13'16,"-13"26"0,13 0-1,-14-13-15,14 13 16,-13 14-16,0-14 16,13 0-16,-13 0 0,0 1 0,13-1 15,-14-13-15,14 13 0,-13-13 16,13 13-16,-13-13 15,13 14-15,13-28 32,0 1-32,14 0 15,-14 13-15,0-13 0,0 13 16,14-14-16,-1 14 16,-12-13-16,-1 0 0</inkml:trace>
  <inkml:trace contextRef="#ctx0" brushRef="#br0" timeOffset="-6248.06">19672 11417 0,'13'13'32,"-13"0"-17,0 14 1,0-14-16,0 13 16,0-12-16,0 52 31,13-53-16,-26 27 1,13-27 0,-13 0-16,0 0 47,39-26-47,0-13 15,14-1 1,0-12-1,-27 39-15,-13-14 0,13 14 0,-13-13 16,14 26 0,-1-13-16,-13 14 15,13-14-15,-13 13 0,13-13 16,0 13-16,1-13 0,-1 0 16,0 0-1,0 0-15,-13-13 16,0 0-1,0-1-15,0 1 16,-13 0-16,13 0 0,-13-1 0,13 1 16,-13-13-1,13 12-15,0 1 16,0 0-16,13-13 0,-13 12 16</inkml:trace>
  <inkml:trace contextRef="#ctx0" brushRef="#br0" timeOffset="-5927.43">19804 11139 0,'-423'119'47,"277"66"-31,133-145-16,13 0 16,582-424-16,-1164 807 0,608-357 15,-12-26-15,25 0 0,1-14 0,39 40 16,40-26-16,-66-27 15,0-13-15,13 14 0,-13-28 16,66 1-16,-52 0 0,38-27 16,-12-26-16,-53 40 15,13-54-15,-40 41 16,0-1-16,-13-53 0,-26 14 16,12 39-16,1 0 15,-13 14-15,-1 0 0,1-1 0,-1 1 16,1 12-16,-14 1 0,0 0 0,-39 0 15,-27 13 1,0 0-16,54 13 16</inkml:trace>
  <inkml:trace contextRef="#ctx0" brushRef="#br0" timeOffset="-4863.63">16722 11112 0,'13'0'15,"0"0"1,0 0-16,14 0 15,-27-13-15,13 13 16,0-13-16,1 0 16,12 0-16,0-14 15,-12 14-15,-1-14 16,40-105 31,-53 79-32,-66-106 17,39 133-17,-26-14 1,-172-26 31,199 66-47,13 0 15,-1 0-15,1 13 0,-26 1 16,25-14 0,1 13-16,-13 13 0,26-12 15,-27 12-15,14-13 16,-14 53-16,14-52 16,13-1-16,-13 27 0,13-14 15,0 0 1,0-12-16,0-1 0,13 13 15,-13-12-15,13-14 0,1 26 16,-1-13-16,13-13 16,1 14-16,-14-1 15,14 0-15,-1-13 16,-13 13-16,0-13 16</inkml:trace>
  <inkml:trace contextRef="#ctx0" brushRef="#br0" timeOffset="-4128.25">16642 10517 0,'0'-26'16,"0"13"-16,14-1 15,-14 1-15,13-13 0,-13 12 16,13-12-16,27-40 0,26 0 16,-26 26-16,52-39 15,-39 39-15,0 13 0,79-39 16,1 13-1,12 14-15,14 12 16,-80 14-16,1 0 0,-1 13 0,14-14 16,65 14-16,1 27 15,-80-14-15,-12 0 0,-1 14 16,119 65-16,-132-52 16,-14 0-16,41 39 15,105 318 32,-185-384-47,13 14 16,1-1-1,12-26 1</inkml:trace>
  <inkml:trace contextRef="#ctx0" brushRef="#br0" timeOffset="-3800.77">19063 10147 0,'40'26'15,"-27"14"-15,14-14 16,12 54-16,-25-67 16,12 53-1,-13-13-15,-26-26 16,0 12-16,-40 14 16,13-26-1,0-1-15,1 0 0,-14 1 0,-66 26 16,0 0-16,-93 39 15,67-39-15,78-26 16,1-1 0</inkml:trace>
  <inkml:trace contextRef="#ctx0" brushRef="#br0" timeOffset="7421.11">14896 3691 0,'172'582'31,"-26"-66"-15,-67-265 0,-39-79-16,-14-26 15,1 65 1,-27-171-16,0-27 16</inkml:trace>
  <inkml:trace contextRef="#ctx0" brushRef="#br0" timeOffset="8740.63">14658 3810 0,'0'0'32,"40"-26"-32,13 26 15,52-40-15,41 27 16,26-1-16,212-25 15,-173 39 1,80 0 0,-119 0-16,-40 0 0,1 0 15,-27 0-15,-14 0 16,-12 0-16,-1 0 16,0 0-16,-13 0 15,40 0-15,-13 0 16,-27 0-16,27 0 15,26 0-15,-27 0 16,54 0-16,-93-14 16,-40 14-1,13-13-15,-12 13 16,-1 0-16,13-26 0,-12 26 16,-1-13-1,0 13 1,40 0-16,66-14 15,53 14-15,-53 0 16,0 0-16,-13 0 16,-13 0-16,-1 0 15,-52 0-15,-27 0 16,-13 40 31,0 0-47,0 13 15,0 0 1,0-1-16,0 94 16,13-27-16,14 27 15,-27-27 1,26 26-16,-13 1 0,-13-41 16,14-38-16,-1-1 15,-13-40-15,0-13 16,0 1-16,-93-14 156,-79 0-156,-105 0 16,-226-40-16,172 40 15,-105-13-15,-107 13 16,1-27-16,-106 1 16,65-27-16,213 53 15,92 0-15,119 0 16,-26 0-16,119 0 15,0 0 1,39 0-16,14 0 16,0 0-16,0 13 15,-14-13 1,-12 0-16,12 0 16,-12 0-1,12 0-15,1 0 16,12 0-1</inkml:trace>
  <inkml:trace contextRef="#ctx0" brushRef="#br0" timeOffset="13398.6">8546 5715 0,'53'0'94,"-13"0"-94,26 0 16,40 0-1,39 0-15,14-40 16,66 1-16,225-28 0,-186 54 16,40-13-16,-198 26 15,0 0-15,-66 0 16,-27 0-1,0 0 32,-13 13-47,27 13 16,-14 1-16,-13 13 16,0-1-16,0 14 15,0-13-15,0 0 16,0 26-16,0-40 15,0 27-15,0 106 16,0 26-16,13-13 16,27-53-1,-14 27-15,-26-107 0,14 1 16,-14-27-16</inkml:trace>
  <inkml:trace contextRef="#ctx0" brushRef="#br0" timeOffset="14382.51">7938 3942 0,'26'66'15,"0"80"1,-12 13-16,-14-14 0,39 67 15,-39-53 1,27-1-16,-27 1 0,13 0 16,-13 13-1,13-66-15,0 0 16,-13-14-16,0-39 16,0 0-16,0-27 15,0-12-15,0-1 16</inkml:trace>
  <inkml:trace contextRef="#ctx0" brushRef="#br0" timeOffset="15458.53">15637 11324 0,'26'-40'94,"27"-12"-79,13-1-15,1-27 16,-1 27-16,-27 14 15,-12 12-15,-1 1 16,1-1-16,-27 14 16,13 0-16</inkml:trace>
  <inkml:trace contextRef="#ctx0" brushRef="#br0" timeOffset="16250.66">15928 10769 0,'13'0'125,"14"0"-125,-1 0 0,-13 13 16,14-13-16,-14 0 15,0 0-15,0 0 16,1 0 78,-1 13-79,0 13-15,27 27 0,-27 0 16,13-13 0,-26 0-16,14-14 15,-14 1-15,0-1 16,0-13-16,0 0 16</inkml:trace>
</inkml:ink>
</file>

<file path=ppt/ink/ink15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51:16.95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92D050"/>
    </inkml:brush>
  </inkml:definitions>
  <inkml:trace contextRef="#ctx0" brushRef="#br0">2222 1349 0,'67'14'109,"25"-1"-93,41 13-1,25-12-15,-25 12 16,52-13-16,13 0 0,120-13 16,-14 14-16,-53-14 15,40 0 1,-39 0-16,78 0 15,-184 0-15,13 0 16,-53 0-16,-40 0 16,-40 0-16</inkml:trace>
  <inkml:trace contextRef="#ctx0" brushRef="#br1" timeOffset="-127657.5">794 2937 0,'106'13'31,"-67"-13"-31,1 0 0,13 0 0,0 0 16,0-13-16,13 13 0,-13 0 0,0 0 16,13 0-16,-13 0 0,-14 0 0,14 0 15,-13 0-15,0 0 0,-14 0 16,1 0-16,-1 0 0,-13 0 0,1 0 16,12 0-16,-13-13 0,0 13 15</inkml:trace>
  <inkml:trace contextRef="#ctx0" brushRef="#br1" timeOffset="-127369.3">754 3109 0,'0'13'0,"79"-26"31,-39 13-31,0 0 0,-1-13 0,14 13 16,0-14-16,0 14 0,0-13 16,0 13-16,0-13 0,0 13 0,0 0 0,-13-13 15,-1 13-15,-12 0 16,-1 0-16,1 0 0,-1 0 0,-13-14 16,1 14-16,-1 0 0,0 0 0,0 0 15,14 14 1,-14-14-16,0 0 15</inkml:trace>
  <inkml:trace contextRef="#ctx0" brushRef="#br1" timeOffset="-126615.83">2646 2196 0,'0'0'0,"-13"0"16,13 13-1,0 0-15,13 14 0,-13-1 16,0 14-16,0 0 0,0-1 16,13 1-16,-13 13 0,0-13 0,13-1 15,-13 1-15,14-13 0,-14 12 0,0-25 16,13 12-16,-13 0 0,0 1 0,0-14 16,13 0-16,-13 14 15,0-14-15,13 0 0,-13 1 16,0-41-1</inkml:trace>
  <inkml:trace contextRef="#ctx0" brushRef="#br1" timeOffset="-125967.41">2593 1998 0,'40'-40'0,"-80"80"0,106-80 16,-53 27-16,27-1 0,0 1 16,13 0-16,0 13 0,13-13 0,13 0 15,0-1-15,1 14 0,12-13 16,-12 13-16,12-13 0,14 0 0,13-1 16,-26 1-16,-1 13 0,14-13 0,-13 0 15,0-1-15,-14 1 0,13 0 16,-12 13-16,-1-13 0,-13 0 15,1-1-15,-15 14 0,1-13 0,-13 13 16,0-13-16,-1 13 0,-12-13 0,-14 13 16,14 0-16,-14 0 0,0 0 0,0-14 15,0 14-15,1 0 0,-1 0 16,0 0-16,0 0 16,1 14-16,-1-1 15,0-13-15,-13 13 0,13 14 16,1-14-16,-14 13 0,13 1 0,0 12 15,0-12-15,0 13 0,1-14 16,-1 14-16,0-14 0,0 14 0,-13-14 16,14 14-16,-14-14 0,13 1 0,-13 13 15,13-1-15,-13 1 16,13-14-16,-13 14 0,14 0 0,-1-1 0,-13 1 16,13-13-16,0 12 0,0 1 0,-13-14 15,14 1-15,-1 13 16,0-14-16,0-13 0,1 14 0,-14-14 15,13 0-15,0 14 0,-13-14 0,13 0 16,-13 0-16,14 1 0,-14-1 16,13 0-16,-26 0 15,13 1-15,-14-1 0,-12 0 16,13-13-16,-14 0 16,-26 13-16,14 0 0,-1-13 0,-13 14 15,-26-1-15,12-13 0,-12 13 0,0 0 16,-1 1-16,1-1 0,0 0 15,-1 0-15,1-13 0,13 13 0,-1 1 16,15-14-16,12 13 0,13-13 16,1 0-16</inkml:trace>
  <inkml:trace contextRef="#ctx0" brushRef="#br1" timeOffset="-124947.67">6337 1984 0,'26'106'16,"-26"251"15,0-290-31,0-1 0,0 0 0,0-13 16,0 0-16,0-14 0,0 14 15,0-13-15,0 0 0,0-14 0,-13 1 16,26-1-16,-13-13 0,-13 0 0,13 1 16,0-1-16</inkml:trace>
  <inkml:trace contextRef="#ctx0" brushRef="#br1" timeOffset="-123964.77">6257 1958 0,'27'-13'0,"-54"26"0,80-26 0,-39-1 16,12 14-16,14 0 0,-1 0 15,14-13-15,27 13 0,-14-13 0,13 0 16,14 13-16,-1-13 0,27-1 0,1 1 16,-1 0-16,0 0 0,13-14 15,0 14-15,14-14 0,-1 14 0,14 0 16,0-13-16,13 12 0,0-12 0,13 13 16,0-1-16,-13 1 0,13 0 15,1 0-15,-14 0 0,-1-1 16,1 14-16,0-13 0,-13 13 0,0-13 15,-27 13-15,14 0 0,-14-13 0,-39 13 16,12 0-16,-12 0 0,-14 0 16,14-14-16,-14 14 0,80 0 15,-93 0-15,1-13 0,-1 13 0,0-13 16,-13 13-16,0 0 0,0-13 16,-1-1-16,-12 14 0,13-13 0,-13 13 15,13-13-15,0 13 0,-1 0 0,1-13 16,0 13-16,0 0 0,0 0 0,0-13 15,0 13-15,0 0 0,13 0 16,-13 0-16,0 0 0,0 0 0,0 0 16,13 0-16,-13 0 0,0 0 15,0 13-15,0-13 0,-1 0 16,1 0-16,0 0 0,0 13 0,-13-13 16,0 0-16,12 0 0,-12 13 0,0-13 15,-14 0-15,14 13 0,-14-13 0,1 0 16,-1 14-16,1-14 0,-1 13 15,1-13-15,-14 0 0,0 13 0,14-13 16,-14 13-16,0-13 0,14 14 0,-14-14 16,0 13-16,0-13 0,1 13 15,-1 0-15,0 1 0,0-1 0,0 13 16,-13-13-16,14 14 0,-1 13 0,0-14 16,0 14-16,1-1 15,-14-12-15,13 13 0,-13-1 0,0-12 16,13 12-16,-13 1 0,13-13 0,-13 12 15,14 1-15,-14 0 0,0-1 0,13 1 16,-13 0-16,0-1 0,0-12 16,0 12-16,0-12 0,0-1 0,0 1 15,0 26-15,0-14 0,0-12 0,-13-1 16,13 1-16,0-1 0,-14 1 16,14-1-16,0 1 0,-13-1 0,13-13 15,-13 14-15,0-14 0,-1 14 16,14-14-16,-26 0 0,13 13 15,-1-12-15,-12-1 0,-14 0 0,14 0 16,-14 1-16,-13-1 0,14-13 0,-14 13 16,-14-13-16,1 0 0,-26 0 15,12 0-15,-12 0 0,-1 0 0,-13-13 16,0 13-16,1 0 0,-1 0 16,0 0-16,-13 0 0,-13 0 0,-1 0 0,1 13 15,26-13-15,-13 13 0,27-13 16,-14 13-16,13-13 0,1 0 15,-1 0-15,0 0 0,14 0 0,-14 0 0,14 0 16,13 0-16,13 0 16,0 0-16,0-13 0</inkml:trace>
  <inkml:trace contextRef="#ctx0" brushRef="#br1" timeOffset="-123067.89">14208 2633 0,'-13'0'32,"13"13"-17,26 0-15,-12 0 0,12 1 16,1-1-16,12 0 0,14 13 0,0 1 15,0-1-15,13-12 0,-13 12 16,13 1-16,0-1 0,0-13 0,1 0 16,12 14-16,-13-14 0,13 0 0,1-13 15,-14 14-15,13-1 0,-12-13 0,-1 0 16,13 13-16,-26-13 0,13 0 16,-13 0-16,13 0 0,-13-13 0,0 13 15,-13 0-15,13 0 0,-14-13 16,-12 13-16,-1 0 0,1 0 15,-14-14-15,13 14 0,-12 0 0,-1-13 16,0 13-16,0 0 0,-13-13 0,13 13 16,1-13-16</inkml:trace>
  <inkml:trace contextRef="#ctx0" brushRef="#br1" timeOffset="-122699.54">15915 2699 0,'13'13'31,"0"-13"-31,14 13 0,-14 0 16,13 1-16,14-1 0,-14 0 15,1 14-15,13-14 0,-14 0 0,0 0 16,14 14-16,-13-14 0,-1 13 0,1-12 16,-14 12-16,0-13 0,0 1 0,-13-1 15,0 0-15,0 13 0,0-12 16,-13 12-16,0 1 0,-14-14 15,1 13-15,-14 1 0,0-1 0,-12-13 16,12 14-16,0-14 0,1 0 0,-1 1 16,0-1-16,14 0 0,-1-13 15,14 0-15</inkml:trace>
  <inkml:trace contextRef="#ctx0" brushRef="#br1" timeOffset="-121686.71">17370 2871 0,'0'-13'0,"-13"26"32,13 0-32,0 0 15,-14 0-15,14 1 0,0-1 0,0 0 16,0 0-16,0 1 0,0-1 16,0 0-16,0 0 0,0 0 0,0 1 15,14-14-15,-14 13 0,0 0 16,-14-39 15,14-1-15,0 14-16,0 0 0,0 0 15,14-14-15,-14 14 0,0 0 16,0-14-16,0 14 0,13 0 0,-13 0 0,0-1 16,13 1-16,-13 0 15,13 13-15,1 0 16,-1 0-16,0 13 0,0 0 15,0 1 1,-13-1-16,14 0 16,-14 0-16,13 0 0,-13 1 15,13-1 1,0-26 15,14-1-15,-14 1-16,0 13 15,-13-13-15,14 13 0,-1-13 16,0 13-16,0 0 0,0 0 16,1 0-16,-14 13 0,13-13 15,0 13-15,0 0 16,1 1-16,-1-1 0,-13 0 16,13-13-16,-13 13 0,13 1 0,-13-1 15,14 0-15,-14 0 16,13 0-16,-13 1 15,13-14 1,0 0 0,0 0-1,1-14-15,-1 28 32,0-14-17,-13 13-15,13-13 16,-13 13-16,0 0 15,14 1 1,-14-1-16,0 0 16,0 0-1</inkml:trace>
  <inkml:trace contextRef="#ctx0" brushRef="#br1" timeOffset="-121520.58">17912 2897 0,'0'-13'32</inkml:trace>
  <inkml:trace contextRef="#ctx0" brushRef="#br1" timeOffset="-121050.96">18256 2672 0,'13'14'15,"-26"-1"-15,13 0 0,0 0 16,0 14-16,0-1 0,0 1 16,-13-1-16,13 1 0,0-1 15,0 0-15,0 1 0,0-14 0,13 14 16,-13-1-16,13-13 0,-13 0 0,0 14 16,14-14-16,-14 0 15,0 1-15,13-1 16,-53-26 15,40-1-31,-13 14 0,0-13 0,0 0 16,-1 13-16,-12-13 0,13 13 0,-1 0 15,1 0-15,-13 0 0,13 0 0,-14 0 16,14 0-16,-14 0 0,14 13 16,0-13-16,-14 13 0,14 0 0,0 1 15,0-14-15,13 13 16,0 0-16,0 0 15,13 1-15,0-1 16,0-13-16,14 0 0,-14 0 0,27 0 16,-14 0-16,1 0 0,-1 0 15,-13-13-15,14 13 0,-1-14 16,1 1-16,-1 13 0,1-26 16</inkml:trace>
  <inkml:trace contextRef="#ctx0" brushRef="#br1" timeOffset="-120232.92">18653 2646 0,'13'0'0,"-26"0"0,26-13 0,-13 39 31,0-13-31,0 14 16,0-1-16,-13 1 0,13 12 0,0 1 15,-13 0-15,13-14 0,0 1 0,0-1 16,0 1-16,0-1 0,0 0 15,0-12-15,0-1 0,0 13 0,13-26 16,-13 14-16,0-1 0,0 0 0,13 0 16,-26-39 15,0 13-31,0 13 0,13-14 16,-14 1-16,1 0 0,-13 13 15,13 0-15,-1-13 0,1 13 16,0 0-16,-14 0 0,14 13 0,0-13 15,-14 13-15,14-13 0,0 13 0,0 1 16,0-14-16,-1 13 0,14 0 16,0 0-16,-13 1 0,26-1 15,-13 0-15,14-13 0,-1 0 0,0 13 16,27-13-16,-27 13 0,0-13 16,14-13-16,-1 13 15,-13 0-15,14-13 0,-1 13 0,1-13 16,-14 0-16,40-27 0,-27 27 15,1-27-15,-1 13 16,-13 1-16,1 0 0,12-27 16,-13 26-16,1-39 0,-1 53 15,0-27-15,-13 14 16,13 12-16,-13 1 0,0 0 16,13 0-16,-13 0 15,0 39 1,0-13-1,-13 14-15,13-14 0,0 13 16,-13 27-16,13-13 0,-13-14 16,13 1-16,0-1 0,0 1 0,0-14 15,0 13-15,0-12 0,0-1 16,13 13-16,-13-12 0,13-1 16,14-13-1,-14-13-15,0-1 0,0 1 16,1 13-16,-1-13 15,0 0-15,0 13 16,1 13 0,-14 0-1,0 0-15,13 1 16,-13-1-16,13 0 0,0-13 16,-13 13-16,13-13 0,14 14 15,13-28 1,-14 14-1,-13-13-15,14 0 0,-14 13 0</inkml:trace>
  <inkml:trace contextRef="#ctx0" brushRef="#br1" timeOffset="-119944.95">19725 2858 0,'53'-40'16,"-40"27"-16,40-1 0,0 1 16,-27 13-1,1-13-15,-1 13 0,0 0 0,14-13 16,-13 13-16,-14 0 0,13 0 15,1 0-15,-27-14 0,13 14 16,0 0-16,0 0 16</inkml:trace>
  <inkml:trace contextRef="#ctx0" brushRef="#br1" timeOffset="-119655.85">19804 2844 0,'27'14'16,"-27"-1"-1,26 0-15,0 0 0,-12 0 0,12 27 16,1-27-16,12 27 15,-12-14-15,-14 1 0,13-1 16,14 1-16,-27-14 16,-13 0-16,27 14 15,-14-27-15,-13 13 0,13-13 0,-13 13 16,13-13-16,1 13 16</inkml:trace>
  <inkml:trace contextRef="#ctx0" brushRef="#br1" timeOffset="-119309.42">19857 2831 0,'13'13'0,"-13"1"0,13 12 16,-13 0-16,0-12 0,14 25 0,-1 1 16,-13 0-16,13-1 0,0 1 15,1 53-15,-1-40 16,0 26-16,0 0 0,0-52 15,1 26-15,-14-27 16,0-13-16,0 14 0,13-14 16,-13 0-16,0 1 0,0-1 0,0 0 15,13-13-15</inkml:trace>
  <inkml:trace contextRef="#ctx0" brushRef="#br1" timeOffset="-117984.75">20479 2593 0,'0'13'47,"0"0"-47,0 1 0,13-14 16,-13 13-16,0 0 15,13-13-15,-13 13 16,13 1 0,1-41-1,-14 14 1,0 0-16,0-1 0,13 1 16,-13 0-16,0 0 0,0-1 15,0 1-15,0 0 0,13 0 16,-13 0-16,0-1 15,13 28 17,-13-1-32,14-13 15,-14 13 1,13-13-16,0 0 16,-13-13-1,13 0-15,1-1 0,-1 1 16,-13 0-1,13 13-15,-13-13 16,13 13-16,-13 13 16,13 0-16,-13 0 15,0 1-15,14-1 0,-14 0 16,0 0-16,0 0 0,13 1 0,-13-1 16,0 0-16,13 0 15,-13 1-15,0-1 0,13 0 16,1 0-16,-1-13 15,0-13 1</inkml:trace>
  <inkml:trace contextRef="#ctx0" brushRef="#br1" timeOffset="-117185.58">20942 2606 0,'0'-13'16,"-13"0"0,13-1-16,-14 14 15,1 0 1,0 14-16,13-1 16,0 0-1,0 0-15,0 1 16,0-1-16,0 0 0,13 0 15,0 1 1,1-14-16,-1 0 0,13 0 16,-13 0-16,1 0 0,12 0 15,-13 0-15,1-14 0,-1 14 16,0 0-16,0-13 0,1 13 0,-1-13 16,0 0-16,0 13 15,-13-14-15,27-12 31,-27 13-15,-14 13 15,1 13-31,0 0 16,13 0-16,0 1 16,0-1-1,0 0 1,13-13-16,-13 13 15,13-13-15,1-13 16,-1 13 0,0-13-16,0 13 15,-13-13-15,14 13 0,-14-14 16,13 14-16,0-13 16,0 13 15,0 13-16,-13 1 1,14-14-16,-1 13 31,0-13 1,0 0-17,1 0-15,-1 0 16,0 0-1,0 0-15,1 0 16,-14-13 0,13 13-16</inkml:trace>
  <inkml:trace contextRef="#ctx0" brushRef="#br1" timeOffset="-116341.55">20664 3215 0,'-13'26'62,"13"-13"-46,0 1-1,13-41 32,-13 14-31,0 0-16,0-1 0,13 1 0,-13 0 15,0 0-15,13 0 16,-13-1-16,0 1 16,14 26 15,-14 1-31,13-1 16,0 0-1,-13 0-15,13-13 16,1 0-1,-1 0 1,0-13-16,0 13 0,0-13 16,1 13-16,-14-13 0,13 13 15,0 0 1,0 0-16,-13 13 16,14-13-16,-14 13 0,13-13 15,-13 13-15,0 0 16,13-13-16,-13 14 15,13-1-15,1-13 16</inkml:trace>
  <inkml:trace contextRef="#ctx0" brushRef="#br1" timeOffset="-116040.39">21087 3215 0,'14'-14'0,"-14"1"47,-14 0-47,1 26 31,13 0-31,-13-13 16,13 14-16,-13-1 15,13 0-15,13 0 16,0-13 0,-13 14-16,13-14 15,1 0-15,-1 0 0,0 0 16,0 0-16,14-14 0,-14 14 16,0 0-16</inkml:trace>
  <inkml:trace contextRef="#ctx0" brushRef="#br1" timeOffset="-115647.87">21339 3201 0,'-14'-13'47,"1"26"-31,0-13-16,0 14 0,-1-1 16,1 0-1,13 0 1,13-13-16,-13 14 15,14-14-15,-1 0 16,0-14-16,0 1 16,1 13-16,-14-13 15,13 0-15,0-1 0,-13 1 0,13-13 16,1 13-16,-14-14 0,0 14 0,13-14 16,-13 14-16,0 0 0,0 0 15,0-1-15,0 1 0,-13 26 31,13 14-15,-14-14-16,14 0 16,0 1-16,0-1 0,0 0 0,14 0 15,-14 1-15,0-1 0,13 13 16,0-13-16,0 1 16,0-1-16,1 0 0,-1 0 15,-13 1-15,13-14 0</inkml:trace>
  <inkml:trace contextRef="#ctx0" brushRef="#br1" timeOffset="-114676.21">20611 3770 0,'0'27'31,"0"-14"-31,0 0 16,0 0-16,0 1 0,0-1 15,0 0-15,13 0 16,-13 1-1,14-28 1,-14 1 0,13 13-16,-13-13 0,0 0 0,0-1 15,0 1-15,13 13 0,-13-13 0,0 0 16,0 0-16,0-1 16,13 14-1,-13 27 1,13-14-1,-13 0 1,14-13-16,-14 13 16,13-13-1,0 0 1,0-13 0,1 26 15,-1-13-16,-13 14-15,13-14 16,0 0 0,0 0-16,1 0 0,-1 0 15,0 0-15,0 0 0,1-14 16,-1 14-16,0 0 0,0-13 0,1 0 16,-1 13-16,0-13 15,-13 26 16,0 0-15,0 0-16,13 1 16,0-14-1,-13 13-15,14-13 16,-1 0-16,13-13 0,-12 13 16,-1-14-16,0 1 15,0 0 1,-13 0-16,0 0 15,0-1-15,0 1 16,-13 13-16,0-13 16,0 13-1,-1 0-15</inkml:trace>
  <inkml:trace contextRef="#ctx0" brushRef="#br1" timeOffset="-114099.74">21418 3545 0,'13'14'15,"-26"-1"1,13 0-16,0 0 0,0 1 0,0-1 16,-13 0-16,13 0 0,0 0 0,0 14 15,0-14-15,13 0 0,-13 1 16,0-1-16,13 0 0,-13 0 15,13 1-15,-26-41 47,0 27-47,0-13 16,0 13-16,-1 0 16,1 0-16,0 13 0,0-13 15,-14 13-15,14-13 0,0 14 0,-1-14 16,1 13-16,0 0 0,13 0 0,-13-13 15,13 13-15,-13 1 0,26-1 16,0-13-16,0 0 16,0 13-16,1-13 0,12-13 15,1 13-15,26 0 0,-27-13 0,0-1 16,14 1-16,-27 0 16,14 0-16,-14 13 0,0-13 0,14-1 15,-27 1-15,13 13 0,0-13 0,0 13 16,-13-13-1,-13 39 1,13-13 0,-13 1-16,13-1 15,0 0-15,13-13 16,-13 13-16,0 0 0,13-13 16,1 14-16,-1-14 15,13-14 1,-12 14-1,-1-13-15,0 13 16,-13-26-16</inkml:trace>
  <inkml:trace contextRef="#ctx0" brushRef="#br1" timeOffset="-112959.67">15677 4696 0,'0'14'16,"0"-1"-16,0 0 16,0 0-16,0 0 0,0 1 0,0-1 15,0 0-15,-14 0 0,14 1 0,0-1 16,0 0-16,0 0 0,0 1 15,0-1-15,0 0 16,14 0-16</inkml:trace>
  <inkml:trace contextRef="#ctx0" brushRef="#br1" timeOffset="-112483.72">15796 4762 0,'0'40'31,"0"-27"-31,13 1 0,-13-1 16,0 0-16,13 0 0,-13 1 0,13-14 15,-13 13-15,14 0 0,-1-13 16,0 13-16,0-13 15,0 0-15,1 0 0,-1 0 0,0 0 16,0-13-16,1 0 16,-14 0-16,13 13 15,-13-14-15,0 1 0,0 0 0,-13 13 16,13-13-16,0-1 0,-14 1 16,14 0-16,-13 13 0,13-13 15,-13 13-15,0-14 0,-1 14 0,1-13 16,0 13-16,0 0 15,0 0-15,-1-13 0</inkml:trace>
  <inkml:trace contextRef="#ctx0" brushRef="#br1" timeOffset="-111829.64">15584 4511 0,'-40'13'0,"80"-26"0,-106 40 0,53-14 16,-1 0-16,-12 14 0,13-1 0,-1 0 15,-12 14-15,13 0 0,13-14 16,-13 14-16,13 0 0,-14-1 0,28 1 16,-14 0-16,13-1 0,-13 1 15,13 0-15,13-1 0,-12-12 0,12-1 16,-13 1-16,14-1 0,-1 1 15,1-14-15,12 13 0,-12-12 0,13-1 16,-1-13-16,-12 13 0,12-13 0,-12 0 16,13 0-16,-14 0 15,0 0-15,14 0 0,106-40 16,-120 27-16,1 0 0,-1 0 16,0 0-16,-12 13 0,12-14 15,-13 1-15,1 0 0,12 0 0,-13-1 16,1 1-16,-14-13 0,13 12 0,0 1 15,0 0-15,-13-13 0,0 12 16,13-12-16,-13 13 0,0-14 16,0 14-16,0-14 0,0 14 0,0-13 15,0-1-15,0 14 0,0-13 0,-13 12 16,13-12-16,0-1 0,0 14 16,-13 0-16,13-13 0,-13 12 0,13 1 15,0 0-15,-13 0 0,13-1 0,-14 1 16,1 0-16,13 0 0,-13 0 15,13-1-15,-13 1 0,-1 13 0,1-13 16,0 0-16,0-1 0,-1 14 0,1-13 16,0 0-16,0 13 0,-14 0 15,14-13-15,-13 13 0,-1 0 16,1-14-16,-1 14 0,-12 0 0,12 0 16,-13 0-16,14 0 0,-14 0 0,-26 14 15,40-14-15,-1 0 16,1 13-16,-1-13 0,14 13 0,0 0 15,-14 1-15,14-14 0,13 13 0,-13 13 16,13-12-16,-13-1 0,13 0 16,13 0-16,-13 14 0,0-14 0</inkml:trace>
  <inkml:trace contextRef="#ctx0" brushRef="#br1" timeOffset="-111124.85">15214 4194 0,'-14'13'0,"1"-13"15,13 13-15,-13-13 0,0 13 0,13 14 16,-14-14-16,1 0 0,0 14 0,0-14 16,-1 13-16,14-12 0,-13-1 15,0 13-15,13-12 0,-13-1 0,13 0 16,-13 0-16,13 0 0,-14 1 0</inkml:trace>
  <inkml:trace contextRef="#ctx0" brushRef="#br1" timeOffset="-110868.68">15002 4260 0,'13'13'32,"-13"0"-32,13 0 0,1 1 0,-1-1 0,0-13 15,0 13-15,-13 0 0,13 1 16,1-1-16,-1 0 0,0-13 16,0 13-16,1 1 0,-1-1 15,0-13-15,-13 13 0,13-13 0,1 0 16,-14 13-16,13-13 0,0 0 15</inkml:trace>
  <inkml:trace contextRef="#ctx0" brushRef="#br1" timeOffset="-110319.89">14962 4564 0,'40'0'31,"-27"0"-31,0 0 0,1 0 16,-1-13-16,0 13 0,13 0 0,-12 0 15,12-13-15,-13 13 0,1 0 0,12 0 16,-13 0-16,1 0 0,-1 0 16,0 0-16,0 0 0,0 0 15</inkml:trace>
  <inkml:trace contextRef="#ctx0" brushRef="#br1" timeOffset="-110068.7">14896 4670 0,'-13'13'0,"26"-26"0,-39 26 16,52-13 15,-13 0-31,0 0 16,1 0-16,-1 0 0,13 0 16,-12 0-16,12 0 0,1 0 0,-1-13 0,0 13 15,1 0-15,13 0 0,-27 0 16,13-13-16,1 13 0,-14 0 0,13 0 15,-12-14-15,-1 14 0,0 0 16,0 0-16,1 0 16,-1-13-16,0 13 15,-13-13-15</inkml:trace>
  <inkml:trace contextRef="#ctx0" brushRef="#br1" timeOffset="-108803.83">18746 4591 0,'-27'13'31,"27"0"-31,0 0 16,-13-13-1,13 13 1,0-39 15,13 13-31,-13 0 16,0-1-16,0 1 0,0 0 15,13 0-15,-13-1 0,0 1 16,14 13 0,-1 13-1,0 1 1,-13-1-16,13-13 15,-13 13-15,14-13 0,-1 13 16,0-26 15,0 13-31,-13-13 16,14 13-16,-1 0 47,-13 13-47,13-13 0,-13 13 15,13 1-15,-13-1 0,13-13 16,-13 13-16,14-13 16,-1 0-16,0 0 15,0 13-15,1-13 0,-1 0 16</inkml:trace>
  <inkml:trace contextRef="#ctx0" brushRef="#br1" timeOffset="-108531.91">19116 4591 0,'-13'-27'31,"0"40"-15,-1 1-1,14-1-15,-13 0 16,13 0-16,0 0 15,0 1-15,13-14 16,-13 13-16,14 0 16,-1-13-16,0 0 15,0 0-15,1 0 0,-1 0 16,0 0-16,0 0 0,1-13 16,-1 13-16,0 0 0,0 0 15</inkml:trace>
  <inkml:trace contextRef="#ctx0" brushRef="#br1" timeOffset="-107947.7">19632 4551 0,'13'0'15,"1"-13"1,-41 26 15,14 0-15,0-13-16,13 13 15,-14-13-15,1 14 16,13-1-16,13 0 16,1-13-1,-14 13-15,13 0 16,0 1-16,-13-1 16,0 0-1,-13-13-15,13 13 0,-13-13 16,13 14-16,-14-14 0,1 0 15,0 13-15,0-13 16,-1 0-16,1 0 0,0 0 16,0 0-1</inkml:trace>
  <inkml:trace contextRef="#ctx0" brushRef="#br1" timeOffset="-107492.74">19526 4366 0,'-26'13'0,"52"-26"0,-65 26 0,25 0 16,14 0-16,-13 1 0,0-1 15,0 26-15,-1-12 0,14-14 16,-13 14-16,13-1 0,0 1 0,-13-1 15,26 0-15,-13 1 0,0-1 16,13 14-16,1-14 0,12 1 0,1-1 16,-1 1-16,14-14 0,-14 0 0,14 1 15,-14-1-15,14-13 0,-14 0 16,1 0-16,13 0 0,-14 0 0,1 0 16,12-13-16,1-1 0,39-25 15,-39 12-15,-27 1 16,0-1-16,1 1 15,-1 13-15,-13-14 0,0 1 0,0-14 16,0 14-16,-13-1 0,-1-13 16,1 14-16,0-1 0,-14 1 15,1 13-15,0-14 0,-1 14 0,1 0 16,-1 0-16,1-1 0,-1 14 0,1-13 16,-1 13-16,1-13 0,-1 13 15,1 0-15,0 0 0,12 13 16,-25-13-16,25 13 0,-12 1 0,13-1 0,-14-13 15,14 13-15,0 0 0</inkml:trace>
  <inkml:trace contextRef="#ctx0" brushRef="#br1" timeOffset="-105768.89">19711 4934 0,'-39'-13'32,"-1"26"-17,27-13 1,-14 14-16,14-14 0,0 0 0,-14 0 16,14 0-16,-13 13 0,13-13 0,-14 0 15,14 13-15,-14-13 0,1 0 16,13 13-16,-14-13 0,14 0 0,0 0 15,-14 14-15,14-14 0,0 0 0,0 0 16,-1 13-16,-12-13 0,13 0 16,0 0-16,-1 0 0,1 0 0,0 13 15,-14-13-15,14 0 0,-13 0 16,12 0-16,1 0 0,-13 13 16,13-13-16,-14 0 0,14 0 0,0 0 15,-14 0-15,14 0 0,0 0 0,-1 0 16,-12 0-16,13 14 0,-14-14 0,14 0 15,0 0-15,-14 0 0,1 0 16,13 0-16,-14 0 0,-12 0 0,12 0 16,1 13-16,-14-13 0,0 0 0,1 0 15,-1 0-15,0 0 0,1 0 16,12 0-16,-13 0 0,1 0 0,12-13 16,-12 13-16,-1 0 0,13 0 15,-12 0-15,12 0 0,-12 0 16,12 0-16,1 0 0,-14 0 0,14-14 15,-1 14-15,1 0 0,-1 0 0,1 0 16,-1 0-16,1 0 0,13 0 0,-14 0 16,1 0-16,12 0 0,-12 0 15,13 0-15,-1 0 0,-12 0 16,13 0-16,0 0 0,-1 0 0,-12 0 0,13 0 16,-1 0-16,1 0 0,0 0 15,-14 0-15,14 0 0,0 0 16,0 0-16,0 0 0,-14 0 0,14 0 15,0 0-15,-1 0 0,-12 0 16,13 0-16,0 0 0,-1 0 0,-12 0 16,13 0-16,-1 0 0,1 0 0,-13 0 15,12 0-15,1 0 0,-13 0 16,13 0-16,-1 0 16,1 0-16,0 0 0,0 0 0,-1 0 15,1 0-15,0 0 0,0 0 0,-1 14 16,1-14-16,0 0 0,0 0 15,0 0-15,-1 0 0,1 0 16,0 0-16,0 0 0,-1 0 16,1 0-16,0 0 15,0 13-15,0-13 16,-1 0-16,1 0 16,0 0-16,0 0 0,-1 0 15,1 0 1,0 0-16,0 0 0,-1 0 15,1 0 1,0 0-16,0 0 16,0 13-1,-1-26 1,14 0 15</inkml:trace>
  <inkml:trace contextRef="#ctx0" brushRef="#br1" timeOffset="-105067.84">16933 4895 0,'-26'0'32,"13"13"-32,-1-13 15,1 13-15,0-13 0,0 13 16,0 1-16,-1-14 15,1 13-15,0-13 0,0 13 0,-1 0 16,1-13-16,0 14 0,0-14 16,13 13-16,-14-13 0,1 13 0,0-13 15,13 13-15,-13-13 0,13 14 16,-13-14-16,13 13 16,-14 0-1,28 13 1,-14-12-16,13-1 15,0 0-15,-13 0 0,13 1 16,0-14-16,1 13 0,-1 0 0,0-13 16,0 13-16,1-13 0,-1 14 0,0-14 15,-13 13-15,13-13 0,1 0 16,-14 13-16,13-13 0,0 0 0,0 13 16,0-13-1,1 13 1,-1-13 15,0 14-31,0-14 16,1 13-16,-1-13 0,0 0 0,0 0 15,0 13-15,14-13 0</inkml:trace>
  <inkml:trace contextRef="#ctx0" brushRef="#br1" timeOffset="-104792.53">17661 5226 0,'0'13'15,"0"13"-15,0-13 16,0 1-16,0 12 15,0-13-15,0 1 0,0-1 0,0 0 16,0 14-16,13-14 0,-13 0 0,0 0 16,0 0-16,0 1 0,0-1 0,13 0 15,-13 0-15,14 1 16,-1-1 0</inkml:trace>
  <inkml:trace contextRef="#ctx0" brushRef="#br1" timeOffset="-104479.83">17595 5411 0,'0'0'0,"-13"0"0,13-13 15,13 13 1,-13-14-16,13 14 0,0 0 0,0 0 16,1-13-16,-1 13 15,0 0-15,0 0 0,1-13 16,-1 13-16,0 0 0,0 0 15,1 0-15,-1 0 16</inkml:trace>
  <inkml:trace contextRef="#ctx0" brushRef="#br1" timeOffset="-104089.23">18045 5265 0,'-14'0'15,"1"0"1,0 0-16,0 13 16,-1-13-16,1 0 0,0 14 15,0-14 1,13 13-16,13 0 15,-13 0-15,13-13 0,-13 14 16,13-14-16,1 13 0,-1-13 16,-13 13-16,13-13 0,0 13 0,1-13 15,-14 14-15,13-14 0,-13 13 0,13 0 16,-26 0-16,13 0 16,-13-13-16,13 14 15,-14-14-15,1 13 0,0-13 16,0 0-16,-1 13 0,-12-13 0,13 13 15,0-13-15,-1 14 0,-12-14 16,13 13-16,-14-13 0,14 13 0,0-13 16,-14 0-16,14 13 0</inkml:trace>
  <inkml:trace contextRef="#ctx0" brushRef="#br1" timeOffset="-103436.92">17674 5675 0,'93'27'32,"-80"-27"-32,13 0 0,-12 0 0,12 0 15,1 0-15,-1 0 0,1-13 16,12 13-16,1 0 0,0-14 0,-1 1 16,-12 13-16,12-13 0,-12 0 15,-1 13-15,-12-14 0,12 1 0,0 0 16,-12 0-16,-1-1 0,13 1 0,-12-13 15,-1 13-15,0-1 0,0-12 16,-13 13-16,14-1 0,-1-12 16,-13 13-16,0-14 0,13 14 0,-13-13 0,0 12 15,0-12-15,-13-1 0,13 1 16,-13 13-16,-1-27 0,1 14 16,0-1-16,-14 14 0,1-14 0,-1 1 15,1 13-15,0 0 0,-14-14 0,13 14 16,-12 0-16,-1 13 0,0-14 15,1 14-15,12 0 0,-12 0 0,-1 0 16,0 0-16,-13 0 0,14 0 0,-14 14 16,13-1-16,0 0 0,1 0 15,-1 1-15,-13 12 0,13-13 0,1 14 16,-14 12-16,13-12 0,0 13 0,14-1 16,-1-12-16,-12 12 15,25 1-15,-12 0 0,13-14 0,0 14 0,-1 0 16,14-14-16,0 14 0,0-14 15,0 1-15,14-1 0,-1 1 0,0-1 16,13 0-16,1 1 0,13-1 16,-14-12-16,14 12 0,-1-13 0,1 1 15,0-1-15,-1 0 0,14 0 0,-13-13 16,-13 13-16,12-13 0,-12 0 16,-1 14-16,1-14 0,-14 0 0,13 0 15,-12 0-15,12 0 0,-13 0 0,0 0 16,1-14-16,-1 14 0,0 0 0,0 0 15,1-13-15,-1 0 16,0 13-16,0-13 0,-13 0 16,14 13-16,-14-14 15,0 1-15,0 0 16,13 0-16</inkml:trace>
  <inkml:trace contextRef="#ctx0" brushRef="#br1" timeOffset="-102409.64">7951 595 0,'-27'14'31,"14"-14"-31,0 0 0,0 0 0,-14 13 16,14-13-16,-14 0 0,14 13 0,-13-13 15,-1 0-15,1 13 0,-1-13 0,1 0 16,-1 13-16,1-13 16,13 0-16,-14 14 0,14-14 0,-13 0 0,12 0 15,1 0-15,0 13 0,0-13 16,-1 0-16,-12 0 16,26-13-1</inkml:trace>
  <inkml:trace contextRef="#ctx0" brushRef="#br1" timeOffset="-102136.48">7395 503 0,'-79'92'31,"79"-78"-31,-14 12 0,14-13 0,0 0 16,0 1-16,14-1 0,-14 0 16,0 0-16,13 1 0,0-1 0,0 0 15,1 0-15,-1 1 0,13-1 0,-12 13 16,12-13-16,-13 1 0,14-1 0,-14-13 16,13 13-16,1 14 0,-14-27 15,14 13-15,-14 0 0,0 0 16</inkml:trace>
  <inkml:trace contextRef="#ctx0" brushRef="#br1" timeOffset="-96472.81">1905 4392 0,'-13'0'0,"26"0"0,-39 0 16,12 0-16,67 0 31,-13-13-31,0 13 16,26-13-16,0-1 0,13 1 0,14 0 15,-14 0-15,14-1 0,-1 1 0,1 0 16,0 0-16,-1 0 0,1-1 16,-1 1-16,1 13 0,-14-13 15,1 0-15,-14-1 0,0 14 0,-13 0 16,0-13-16,-13 13 0,26 0 15,-53 0-15,0 0 0,0 0 0,1 0 16</inkml:trace>
  <inkml:trace contextRef="#ctx0" brushRef="#br1" timeOffset="-96174.68">2183 4551 0,'0'0'16,"39"0"-16,-25-13 15,25 13-15,14-14 0,0 1 16,27 13-16,-14-13 0,13 0 16,1-1-16,-1 1 0,14 0 0,-14 0 15,0 0-15,14-1 0,-14 1 0,1 0 16,-1 13-16,-13-13 0,0-1 15,-13 14-15,-13-13 0,0 13 0,-14 0 16,0 0-16,1-13 0,-14 13 0,0 0 16,1 0-16,-1 0 0,0-13 15</inkml:trace>
  <inkml:trace contextRef="#ctx0" brushRef="#br1" timeOffset="-82012.81">1601 5993 0,'-13'13'0,"26"0"31,0-13-15,13 0-16,-12 13 15,12-13-15,14 0 0,-1 0 0,14 0 16,14 0-16,-15 0 0,28 0 0,-1 0 16,1 0-16,-1-13 0,14 13 15,-14 0-15,14-13 0,-1 13 0,1 0 16,-14-13-16,14 13 0,-1 0 15,1 0-15,0-13 0,12 13 16,-12 0-16,13 0 0,-14 0 0,14 0 16,0 13-16,0-13 0,26 0 0,-26 13 15,13-13-15,-13 13 0,-13 0 0,-1-13 16,14 14-16,-13-1 0,26 0 16,-27 0-16,1 1 0,-1-14 0,1 13 15,-14 0-15,14-13 0,-14 13 0,14-13 16,-14 14-16,14-14 0,-14 13 15,1-13-15,12 0 0,-12 13 0,12-13 16,-12 0-16,-1 13 0,-13-13 0,14 0 16,-1 0-16,-13 13 15,0-13-15,-13 0 0,13 0 0,-13 0 16,13 0-16,-13 0 0,13 14 0,-13-14 16,0 0-16,0 0 0,0 0 0,0 0 15,-13 0-15,13 0 0,-14 0 16,14 0-16,-13 0 0,-14 0 0,27 0 15,-13-14-15,0 14 0,13 0 16,-14 0-16,14 0 0,-13 0 0,-14-13 16,14 13-16,-13 0 0,-1 0 15,14-13-15,-14 13 0,14 0 0,-14-13 16,1 13-16,12-13 0,-12 13 0,-1-14 16,1 14-16,12 0 0,-12-13 0,-1 13 15,14-13-15,-13 0 0,12 13 16,-12-14-16,12 1 0,1 13 0,-14-13 15,14 13-15,-13-13 0,12-1 16,-12 14-16,-1-13 0,1 13 0,-1-13 16,1 13-16,-1-13 0,1 0 0,-1 13 15,-13-14-15,14 14 0,-1-13 16,14 0-16,-14 0 0,-12-1 0,25 1 16,-12 0-16,-1 0 0,1-14 0,-1 14 15,1 0-15,-1 0 0,-13-1 16,14-12-16,-14 13 0,0-1 15,0 1-15,1-13 0,-1 13 0,0-1 16,-13-12-16,13 13 0,-13-1 0,0-12 16,13 13-16,-13-1 0,0-12 15,0 13-15,0-14 0,0 1 0,-13 13 16,13-14-16,0 1 0,-13-1 0,13 1 16,-13-1-16,13 14 0,-13-27 0,-1 14 15,1 0-15,0-1 0,0 1 16,-14-41-16,1 41 0,13 13 15,-14-14-15,1 1 0,12-1 0,-12 1 16,-1 13-16,1-14 0,0 14 16,-1-13-16,-13 12 0,14 1 15,-1-13-15,-12 12 0,-1 1 0,0 0 16,1 0-16,-1-1 0,-13 14 0,0-13 16,0 0-16,0 13 0,-13-13 15,0 13-15,-13-13 0,-1 13 0,1 0 16,13-14-16,-14 14 0,1 0 0,26-13 15,-26 13-15,26 0 0,-13 0 16,-14 0-16,14 0 0,0-13 16,0 13-16,-14 0 0,28 0 0,-15 0 15,1-13-15,0 13 0,-13 0 0,13-14 16,13 14-16,-27 0 0,14-13 16,-13 13-16,-1 0 0,14-13 0,-13 13 0,13-13 15,-14 13-15,14 0 0,-13-13 16,26 13-16,0 0 0,0-14 15,0 14-15,0 0 0,0 0 0,0-13 16,1 13-16,-1 0 0,-14 0 0,15 0 16,-1-13-16,-13 13 0,13 0 15,-14 0-15,15 0 0,-15 0 0,14 0 16,1 0-16,-1 0 0,-14 0 0,15 0 16,-1 0-16,0 0 0,0 0 15,0 0-15,13 0 0,-13 0 0,0 0 16,14 0-16,-14 0 0,0 0 0,0 0 15,-13 13-15,13-13 0,-26 0 16,26 0-16,0 0 0,-27 13 16,27-13-16,-13 0 0,0 0 0,13 14 15,-13-14-15,13 0 0,0 13 0,0-13 16,0 0-16,0 0 0,14 0 0,-14 0 16,0 13-16,13-13 0,-13 0 15,0 0-15,14 13 0,-14-13 16,13 0-16,-13 13 0,0-13 0,14 14 0,-14-14 15,13 13-15,-13-13 16,13 13-16,14-13 0,-14 13 0,14-13 16,-14 14-16,14-14 0,-14 13 0,13 0 15,-12-13-15,12 13 0,-12 0 0,12-13 16,-13 14-16,14-1 0,0-13 16,-1 13-16,1-13 0,-1 13 0,1-13 15,-1 14-15,1-1 0,-1-13 0,14 13 16,-13-13-16,12 13 15,-12-13-15,13 0 0,-14 14 0,14-1 0,-13-13 16,-1 13-16,14-13 0,-14 13 16,14-13-16,-13 13 0,13-13 0,-14 14 15,1-1-15,-1-13 0,1 13 16,-1 0-16,14-13 0,-13 14 0,-27-1 16,39 0-16,-12-13 0,13 13 15,-14 1-15,1-14 0,13 13 16,-14 0-16,1-13 0,12 13 0,-12 0 15,13-13-15,-14 14 0,14-1 0,0 0 16,-14 0-16,14 1 0,-13-1 0,-1 13 16,14-12-16,-13 12 0,12-13 15,-12 14-15,-1-14 0,14 13 0,-13 1 16,12-1-16,1-12 0,-13 12 0,13 0 16,-14 27-16,14-13 15,0-14-15,-1 14 0,1-13 16,13-1-16,-13 1 0,13-1 0,0 0 0,0 1 15,13-1-15,0 14 0,1-13 16,-1-1-16,13 0 0,1 1 16,-1-1-16,14-12 0,0-1 0,-1 13 15,14-13-15,13 1 0,67-1 16,-80-13-16,13 13 0,0-13 0,0 0 16,13 0-16,1 0 0,-1-13 15,1 13-15,12 0 0,-12-13 0,12 13 16,1-14-16</inkml:trace>
  <inkml:trace contextRef="#ctx0" brushRef="#br1" timeOffset="-81297.6">9366 5411 0,'13'-13'0,"120"-14"31,-80 27-31,-14-13 0,1 13 0,0 0 15,13-13-15,-14 13 0,1 0 16,0-14-16,-14 14 0,1 0 0,-1 0 16,1-13-16,-1 13 0,-13 0 15,0 0-15,1 0 0,-1 0 16,0-13-16,0 13 0,1-13 16</inkml:trace>
  <inkml:trace contextRef="#ctx0" brushRef="#br1" timeOffset="-81007.99">9763 5093 0,'0'0'0,"13"0"0,1-13 16,-1 13-16,13 0 0,-13 0 15,14 0-15,13 13 0,-14-13 0,1 0 16,12 13-16,-12 1 15,-1-14-15,1 13 0,-1 0 0,1 0 16,-1 1-16,-13-14 0,0 13 0,14 0 16,-14 0-16,0 1 0,-13-1 0,14 0 15,-14 0-15,0 0 0,0 1 16,0-1-16,-14 0 0,14 0 0,-26 1 16,-1 12-16,1 1 0,0-14 0,-14 13 15,13-13-15,-12 1 0,12-1 16,-12 0-16,12 0 0</inkml:trace>
  <inkml:trace contextRef="#ctx0" brushRef="#br1" timeOffset="-73524.79">10478 7355 0,'0'14'0,"0"-28"0,13 28 16,13-14-16,-13 0 16,27 0-16,13 0 0,0 0 0,0 0 15,26 0-15,1 0 0,12 0 16,-12 0-16,12 0 0,1 0 0,-1 0 0,1 0 15,0 0-15,-1-14 16,-12 14-16,12 0 0,-12 0 0,-14 0 16,0 0-16,-13 0 0,0 0 0,0 0 15,-14-13-15,-12 13 0,-1 0 0,-13 0 16,1 0-16,-1 0 0,0 0 16,0 0-16,-39 13 15</inkml:trace>
  <inkml:trace contextRef="#ctx0" brushRef="#br1" timeOffset="-73225.58">10795 7646 0,'-13'14'0,"26"-28"0,0 28 15,14-14 1,-1 0-16,1 0 0,26 0 0,13 0 15,13 0-15,0 0 0,1 0 0,-1-14 16,1 14-16,-1 0 0,0 0 16,14 0-16,-27 0 0,13 0 15,-12 0-15,-15 0 0,15 0 0,-28 0 0,14 0 16,-13 0-16,0 0 0,-14 0 16,1 0-16,-14 0 0,13 0 0,-13 0 15,1 0-15,-1 0 0,0 0 16,0 14-16,1-14 0,-1 0 0,0 0 15,0 0-15,0 13 16</inkml:trace>
  <inkml:trace contextRef="#ctx0" brushRef="#br1" timeOffset="-72123.4">14049 6628 0,'0'-13'0,"-13"13"31,0-14-31,26 1 16,0 0-16,1 0 16,12-1-16,1 1 15,-14 0-15,13 0 0,1 0 0,12-1 16,1 1-16,39-27 15,-39 27-15,0 0 0,13 0 16,39-14-16,-52 14 0,13 0 16,0 0-16,0-14 0,0 14 0,52-14 15,-52 1-15,0 13 16,0-1-16,27-12 0,25-14 16,-65 27-16,0 0 0,13 0 15,-14-1-15,1 1 0,0-13 16,0 12-16,-1 1 0,1 0 15,0 0-15,12 0 0,28-14 0,-40 14 16,-1 0-16,-12-1 0,12 1 16,28 0-16,-41 0 15,0 13-15,27-27 0,-39 27 16,12-13-16,0 13 0,14-13 16,-27 0-16,1 13 15,12 0-15,-26-14 16,13 14-16,1 0 0,-1 0 15,0-13 1,0 13 93</inkml:trace>
  <inkml:trace contextRef="#ctx0" brushRef="#br1" timeOffset="-71365.15">16153 5636 0,'26'0'31,"-13"0"-16,1 0 1,-1 0-16,13 0 0,-12 0 16,-1 0-16,0 0 0,0 0 15,1 0-15,-1 0 0,13 0 16,-13 13-16,1-13 16,-1 0-16,0 0 15,0 0-15,1 0 16,-1 0-1,0 0 17,-13 13 15,-13 0-47,0 1 15,13-1-15,-14 0 16,14 0-16,-13 0 0,0 1 0,0 12 15,13-13-15,-14 1 16,14-1-16,-13 0 0,13 14 16,-13-1-16,13-13 15,-13 14-15,13-14 16,-13 0-16,13 14 0,-14-14 16,14 0-16,-13 0 0,13 0 15,0 1-15,-13-14 16,13 13-16,0 0 15,0 0 1,-13-13 15,13 14-15,13-41 46</inkml:trace>
  <inkml:trace contextRef="#ctx0" brushRef="#br1" timeOffset="-69729.17">20002 5014 0,'14'26'15,"-1"-12"-15,-13-1 16,13-13-16,-13 13 0,13-13 0,-13 13 16,14 0-16,-14 1 15,0-1-15,13-13 16,-13 13 15</inkml:trace>
  <inkml:trace contextRef="#ctx0" brushRef="#br1" timeOffset="-69368.44">19936 5001 0,'0'0'16,"-13"26"-1,0-13 1,13 1-16,-13-1 16,13 0-16,0 0 0,-14 0 15,14 1-15,0-1 0,-13 0 16,13 0-16,0 1 15</inkml:trace>
  <inkml:trace contextRef="#ctx0" brushRef="#br1" timeOffset="-69178.61">19976 4987 0,'13'0'32,"0"0"-32,1 14 15,-1-14-15,0 13 16</inkml:trace>
  <inkml:trace contextRef="#ctx0" brushRef="#br1" timeOffset="-68294.57">15597 5212 0,'0'14'16</inkml:trace>
  <inkml:trace contextRef="#ctx0" brushRef="#br1" timeOffset="-64948.91">15425 7594 0,'66'0'0,"-26"-14"0,13 14 15,26-13-15,-13 13 0,27-13 0,-14 13 16,14 0-16,13-13 0,529-14 31,-503 27-31,0 0 0,-26 0 0,159-13 16,-159 13-16,0 0 0,-1 0 16,-12 0-16,13 0 0,0 0 0,-14 0 15,1 0-15,-14 0 0,1 0 16,-1 0-16,-26 0 0,0 0 0,0 0 15,-14 0-15,-12 0 0,13 0 0,-14 0 16,0 0-16,-12 0 0,-1-13 0,0 13 16,0 0-16,1 0 0,-1 0 15</inkml:trace>
  <inkml:trace contextRef="#ctx0" brushRef="#br1" timeOffset="-63598.44">1124 8361 0,'0'0'0,"40"-13"32,-27 13-32,14 0 15,-14 0-15,14 0 0,-1 0 0,0 0 16,14-14-16,-13 14 0,-1 0 0,1 0 16,-1 0-16,-13 0 0,14 0 15,-1-13-15,1 13 0,-14 0 0,0 0 16,14 0-16,-14-13 0,0 13 0,0 0 15,0 0-15,14 0 16,-14 0-16,-13-13 0,13 13 0</inkml:trace>
  <inkml:trace contextRef="#ctx0" brushRef="#br1" timeOffset="-62944.91">1945 7461 0,'0'0'0,"0"27"16,13-1 0,-13-13-16,0 27 0,0 0 0,0-1 15,0 14-15,-13 0 0,13-13 0,0 13 16,0-13-16,0-1 0,0 1 15,0-14-15,-14 1 0,14-1 16,14 14-16,-14-14 0,0-12 0,0-1 16,0 0-16,0 0 15,13 1-15</inkml:trace>
  <inkml:trace contextRef="#ctx0" brushRef="#br1" timeOffset="-60168.66">1852 7369 0,'0'-14'31,"27"28"0,-14-14-31,0 13 0,0-13 16,0 0-16,14 0 0,-1 0 0,1 0 15,26-13-15,-14 13 0,1-14 16,13 14-16,-13 0 0,13-13 0,0 0 16,-14 0-16,14 13 0,53-27 15,-66 27-15,13-13 0,-14 13 16,14-13-16,0 13 0,-13-13 0,13 13 16,0-14-16,-14 14 0,14 0 0,-13-13 15,13 13-15,-13 0 0,12-13 16,1 13-16,-13 0 0,13-13 0,-13 13 15,13 0-15,-27-14 0,27 14 16,-27 0-16,27 0 0,-26-13 0,12 13 16,-12 0-16,-1-13 0,14 13 15,-13 0-15,12 0 0,1-13 0,0 13 16,-1-13-16,1 13 0,0-14 0,-1 14 16,1 0-16,-13-13 0,12 13 15,-12 0-15,12-13 0,1 13 0,0 0 16,-1-13-16,-12 13 0,13 0 0,-14 0 15,14 0-15,-1 0 16,1-14-16,0 14 0,-14 0 0,14 0 0,-14 0 16,27 0-16,-13 0 0,0-13 0,13 13 15,-14 0-15,14 0 0,-13 0 16,0 0-16,-1 0 0,-12 0 16,12 0-16,1 0 0,-13 0 0,12 0 15,-12 0-15,12 0 0,-12 0 0,13 0 16,-14 13-16,0-13 0,14 0 15,-13 0-15,12 0 0,-12 0 0,12 0 16,-12 0-16,13 0 0,-14 0 0,27 0 16,-13 0-16,-14 0 0,14 14 15,-1-14-15,-12 0 0,13 0 0,-14 0 16,14 0-16,-1 0 0,1 0 0,-13 13 16,12-13-16,1 0 0,0 0 15,-14 0-15,14 0 0,-14 13 16,1-13-16,12 0 0,-12 0 0,-1 0 0,14 0 15,-14 0-15,14 0 16,-13 0-16,-1 0 0,14 13 0,-14-13 16,1 0-16,-1 0 0,14 0 0,-14 0 15,-13 0-15,14 0 0,-1 0 0,1 0 16,-1 0-16,1 0 0,-1 14 16,1-14-16,-1 0 0,1 0 0,-1 0 15,1 0-15,-14 0 0,13 0 0,1 13 16,-1-13-16,-13 0 0,14 0 15,-1 0-15,-13 0 0,14 0 0,-14 0 16,0 0-16,14 13 0,-14-13 0,0 0 16,1 0-16,-1 0 15,0 0-15,0 0 0,0 0 0,1 0 16,-1 0-16,0 0 16,0 13-16,1-13 15,-1 0 1,0 0-1,0 0-15,1 13 32,-1-13-32,-13 14 15,13-14-15,-13 13 16,13-13-16,-13 13 16,0 0-16,13-13 0,-13 14 15,14-1-15,-14 0 0,0 0 16,0 0-16,13 1 15,-13-1-15,0 0 0,0 0 16,13 1-16,-13-1 0,0 0 0,0 0 16,0 1-16,0-1 0,0 0 0,0 0 15,0 0-15,0 1 0,0 12 16,0-13-16,0 14 0,0-14 0,0 0 16,0 14-16,0-14 0,0 13 15,0 1-15,-13-14 0,13 14 0,0-14 16,0 13-16,0 1 0,0-14 15,0 13-15,0 1 0,-13-14 0,13 14 16,0-14-16,0 13 0,0-12 16,0 12-16,0-13 0,0 0 0,0 1 15,0-1-15,0 0 0,0 14 16,0-14-16,0 0 0,0 0 0,0 0 16,0 1-16,0-1 15,0 0-15,0 0 0,0 1 16,0-1-1,0 0 1,-14 0 0,14 1-1,-13-1 1,0-13 0,0 13-1,0-13-15,-1 0 16,1 0-16,0 0 0,0 0 15,-1 0-15,-25 13 0,25-13 16,-12 0-16,13 0 0,-14 0 16,1 0-16,-1 0 0,-39 0 15,40 0-15,-14 0 0,14 13 16,-14-13-16,14 0 0,-27 0 0,13 0 16,-13 0-16,13 0 0,-13 14 0,14-14 15,-14 0-15,13 0 0,0 0 16,-12 13-16,12-13 0,0 0 0,-13 0 15,14 0-15,12 0 0,-26 0 0,0 13 16,14-13-16,-14 0 0,13 0 0,-13 0 16,0 13-16,13-13 0,-13 0 15,14 0-15,-14 0 0,13 0 0,-13 0 16,14 14-16,-14-14 0,0 0 16,13 0-16,-13 0 0,13 0 15,-52 0-15,65 0 0,-25 0 16,12 0-16,13 0 0,-52 0 0,53 0 15,-27-14-15,13 14 0,13 0 16,-12 0-16,-1 0 0,0 0 16,1 0-16,-14 0 0,0 0 0,13 0 15,-13 0-15,14 0 0,-28 0 16,41 0-16,0 0 0,-1 0 16,1 0-16,-1 0 0,-26 0 15,27-13-15,-1 13 0,1 0 16,-1 0-16,1 0 0,-1 0 0,1 0 15,0 0-15,-14 0 0,13-13 0,-39 13 16,27 0-16,12 0 0,-13 0 16,1 0-16,12 0 0,-12 0 15,-1 0-15,13 0 0,-12 0 16,-27 0-16,26-13 0,0 13 16,1 0-16,-1 0 0,13 13 15,-12-13-15,-1 0 0,14 0 0,-27 0 16,13 0-16,14 0 0,-14 0 0,13 0 15,1 0-15,-27 0 16,27 0-16,-1 0 0,1 0 0,-1 0 16,-13 0-16,-52 0 31,52 0-31,27 0 16,0 0-16,0 0 0,-14 0 15,14 0-15,0 0 16,-1 0-16,1-13 15,0 13-15,0 0 16,-1 0 0,1 0-16,0 0 15,0 0-15,0 0 16,-1 0-16,-12 0 16,13 0-16,-1 0 0,1 0 15,0 0-15,0 0 0,-27 0 16,27 13-16,0-13 15,-1 0-15,1 0 0,0 0 0,-27 0 16,27 0-16,-14 13 16,14-13-16,-13 0 0,13 0 15,-1 0-15,-12 0 16,13 0-16,-1 0 16,14-13-16,-13 13 0,0 0 15,0 0 1,-1 0-16,1 0 15,0 0 17,0 0 15,-14 0 46,27-13-93,-13 13 32,0 0-32,0 0 0,-1-14 15,1 14 1,0-13-16,0 13 0,0 0 15,13-13-15,-14 13 0,1-13 16,0 13-16,13-13 0,-13 13 0,-1-14 16,1 1-16,13 0 15,0 0-15,13-14 16,14 14-16,13-14 0,-14 1 0,27 0 16</inkml:trace>
  <inkml:trace contextRef="#ctx0" brushRef="#br1" timeOffset="-59202.93">7554 8083 0,'26'0'15,"-12"0"1,12 0-16,0 13 0,1-13 16,-1 0-16,41 0 15,-28 13-15,1-13 0,39 0 0,-52 0 16,12 0-16,-12 14 0,-1-14 16,-12 0-16,12 0 0,14 0 15,-27 0-15,0 0 0,14 0 16,-14 0-1,0 0-15,0 0 16,-13-14 0</inkml:trace>
  <inkml:trace contextRef="#ctx0" brushRef="#br1" timeOffset="-58896.59">8096 7951 0,'0'0'0,"13"0"32,14 0-32,-14 13 0,0-13 15,1 13-15,12-13 0,14 27 16,-27-27-16,13 13 0,1 0 15,-14 0-15,0-13 0,14 14 16,-14-1-16,0 0 0,1 0 0,-1 0 16,-13 1-16,0-1 0,0 13 15,-13-12-15,-1 12 0,-12 1 16,-1-1-16,-26 27 0,14-27 16,-1 1-16,0-1 0,1 1 0,-1-14 15,0 0-15,1 0 0</inkml:trace>
  <inkml:trace contextRef="#ctx0" brushRef="#br1" timeOffset="-57688.68">9551 8109 0,'0'0'0,"-13"-13"0,0 26 15,0 1 1,13-1-16,-13-13 0,13 13 16,0 0-16,-14 1 0,14-1 15,0 0-15,0 0 0,0 1 16,0-1-16,0 0 15,14-26 32,-14 0-47,0-1 0,0 1 16,0 0-16,0 0 0,0-14 16,0 14-16,0 0 0,0-1 0,13 14 15,-13-13-15,0 0 0,0 0 0,0 0 16,13 13-1,-13-14-15,13 14 16,0 14-16,-13-1 16,14-13-16,-1 13 15,-13 0-15,13 0 16,0 1 0,1-14-1,-1 0 1,0 0-16,-13-14 0,0 1 15,13 13-15,-13-13 0,14 13 0,-14-13 16,13 13-16,-13-13 16,13-1-16,-13 1 15,13 26 1,0-13 0,-13 14-16,14-1 0,-14 0 15,13 0-15,-13 0 0,0 1 16,13-1-16,-13 0 15,0 0-15,13-13 0,-13 14 16,14-1-16,-1-13 16,0 0-16,0 0 15,0 0 1</inkml:trace>
  <inkml:trace contextRef="#ctx0" brushRef="#br1" timeOffset="-57385.81">9948 8070 0,'0'26'32,"14"-26"-32,-14 13 15,13 1-15,0-1 0,-13 0 16,13-13-16,0 13 16,1 1-16,-1-14 0,13 0 15,-12 0-15,-1 0 16,0 0-16,-13-14 15,13 14-15,-13-13 0,-13 0 16,13 0-16,-13-1 16,13 1-16,-13 13 0,13-13 15,-14 13-15,14-13 0,-13 13 16,-13-13-16,12 26 16,1-13-16,0 0 15,13 13-15,-13-13 0,13 13 16</inkml:trace>
  <inkml:trace contextRef="#ctx0" brushRef="#br1" timeOffset="-57163.71">10213 8004 0,'13'13'16,"-13"0"-1,0 0-15,0 1 16,13-1-16,-13 0 0,0 0 0,0 0 16,0 1-16,0-1 0,0 0 15,0 0-15,0 1 0,14-1 16,-14 0-16,0 0 16</inkml:trace>
  <inkml:trace contextRef="#ctx0" brushRef="#br1" timeOffset="-56822.76">10186 8030 0,'14'-26'16,"-28"52"-16,41-52 0,-14 26 0,0 0 16,1 0-1,-1 13-15,0-13 0,-13 13 16,13 0-16,1 1 0,-14-1 16,0 0-16,0 0 15,0 0-15,-14 1 0,14-1 0,0 0 16,-13 0-16,0 1 0,13-1 15,-13-13-15,-1 26 0,1-12 16,0-14-16,0 13 0,-1 0 16,1 0-16,0-13 0,0 13 15,0-13-15,-1 14 0</inkml:trace>
  <inkml:trace contextRef="#ctx0" brushRef="#br1" timeOffset="-56024.32">9485 8453 0,'40'0'31,"-27"0"-31,14 0 16,-1 0-16,1 0 0,12-13 0,14 13 15,0 0-15,-13-13 0,13 13 0,0-13 16,0 13-16,-1-13 0,-12 13 16,13-14-16,26 1 0,-26 0 15,-13 13-15,0-13 0,-1-1 0,1 1 16,-13 13-16,-1-13 0,1 13 16,-1-13-16,-13-1 0,14 14 15,-14-13-15,13 0 0,-12 0 0,25-14 16,-26 14-16,1 0 0,12-14 15,-26 14-15,13-13 16,1 12-16,-14 1 0,0 0 16,0 0-16,0 0 0,-14-1 0,14 1 15,-13 0-15,0 0 0,0-1 16,-1-12-16,1 13 0,-13 0 0,13-14 16,-14 14-16,1 0 0,-1-14 0,1 14 15,-1 0-15,1-1 0,-1 1 0,1 0 16,-1 0-16,1 0 0,-14 13 15,1-14-15,-1 1 0,0 13 0,1-13 16,-54 13-16,53-13 0,-13 13 16,27 0-16,-14 0 15,-13 0-15,14 13 0,-14-13 0,13 0 16,-13 13-16,0-13 0,13 13 0,-12 1 16,-1-14-16,13 13 0,-13 0 0,0 0 15,13 0-15,1 1 0,-14 12 16,13-13-16,0 1 0,1 12 0,12-13 15,-12 14-15,-14 12 0,26-25 16,1 12-16,-1 1 0,14-1 16,0-13-16,13 14 0,-13-14 0,-1 13 15,14 1-15,0-14 0,0 14 16,14 25-16,-14-38 0,13 25 0,0-12 16,14-1-16,-14 1 15,40 12-15,-27-25 0,1-1 16,12 0-16,-12 0 0,12 1 0,1-14 15,0 13-15,0-13 0,-14 0 16,14 0-16,-14 0 0,1 0 0,-1 0 16,14-13-16,-27 13 0,13 0 0,1-14 15,-14 14-15,14-13 0,-14 13 16,0 0-16,-13-13 16,13 13-16</inkml:trace>
  <inkml:trace contextRef="#ctx0" brushRef="#br1" timeOffset="-55546.72">8903 8453 0,'-13'0'16,"0"0"-16,0 0 16,-1 0-16,-12 0 0,13 0 15,-14 14-15,1-14 0,-1 0 0,-26 0 16,14 0-16,-14 13 0,-27-13 16,54 0-16,-1 13 15,-12-13-15,12 0 0,1 13 0,-1-13 16,1 0-16,-27 14 0,40-14 15,0 0-15,-1 0 0,1 13 16,0-13-16,0 0 0,-1 0 0,14 13 16,-13-13-16,0 0 0,13 13 15</inkml:trace>
  <inkml:trace contextRef="#ctx0" brushRef="#br1" timeOffset="-55235.95">8229 8401 0,'-53'13'31,"39"0"-31,14 0 0,-13-13 16,0 13-16,0 1 0,-1-1 16,14 0-16,-13 0 0,0 1 15,13-1-15,0 0 16,0 0-16,0 0 0,0 1 16,13-14-16,-13 13 0,13 0 15,1-13-15,-14 13 0,132 1 47</inkml:trace>
  <inkml:trace contextRef="#ctx0" brushRef="#br1" timeOffset="-46559.27">741 8916 0,'13'-13'31,"0"26"-15,-13 1-16,0-1 15,14 13-15,-1 14 0,0 0 0,-13-1 16,13 14-16,0 14 0,1-1 0,-1 0 16,-13 0-16,13-13 0,0 13 15,1-13-15,-14-13 0,13 13 16,-13-27-16,13 14 0,0-1 0,-13-12 15,13-1-15,-13-13 0,0 14 0,14-14 16,-14 0-16,0 1 0,0-1 16,13 0-16,-13 0 0,0 1 15</inkml:trace>
  <inkml:trace contextRef="#ctx0" brushRef="#br1" timeOffset="-43828.4">9274 9671 0,'-14'0'0,"28"0"0,12 0 31,-13 0-31,1 0 0,12 0 16,14-14-16,-1 14 0,1-13 16,13 13-16,13-13 0,0 0 0,14-1 15,-14 1-15,13 13 0,-13-13 0,0 0 16,14-1-16,-14 14 0,0-13 15,0 0-15,-13 13 0,0 0 16,0-13-16,-13 13 0,13-13 0,-27 13 0,1 0 16,-1 0-16,0 0 0,-12 0 15,12 0-15,-13 0 0,1 0 16,-14-14-16,13 14 0,0 0 16,-39 14 15,-1-14-31,14 13 0,-14-13 15,1 13-15,0-13 0,-14 13 0,-13-13 16,13 13-16,1 1 0,-14-1 16,13-13-16,-13 13 0,13 0 0,-13 1 0,-13-14 15,13 13-15,14 0 0,-14 0 0,0-13 16,13 14-16,-13-1 0,14-13 16,-1 13-16,0 0 0,14-13 15,-14 13-15,14-13 0,12 0 0,-12 0 16,13 14-16,-14-14 0,14 0 15,0 0-15,0 0 16,52-14 0,-26 14-1,14 0-15,-1 0 0,14-13 0,13 13 16,-13-13-16,13 13 0,-1-13 16,1 13-16,0 0 0,0 0 0,0-13 15,13 13-15,-13 0 0,0-14 16,0 14-16,-13 0 0,13 0 0,0 0 15,-27-13-15,14 13 0,-14 0 0,1 0 16,-1 0-16,1 0 0,-14 0 16,13-13-16,-13 13 0,1 0 0,-1 0 15,0 0-15,0 0 0,1 0 16,-1 0 0,0 0-16,0 0 15,1 0 1,-1 0 15,0 0 32,0-13-1,0 13-31</inkml:trace>
</inkml:ink>
</file>

<file path=ppt/ink/ink15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2:57:56.111"/>
    </inkml:context>
    <inkml:brush xml:id="br0">
      <inkml:brushProperty name="width" value="0.05292" units="cm"/>
      <inkml:brushProperty name="height" value="0.05292" units="cm"/>
      <inkml:brushProperty name="color" value="#92D050"/>
    </inkml:brush>
    <inkml:brush xml:id="br1">
      <inkml:brushProperty name="width" value="0.05292" units="cm"/>
      <inkml:brushProperty name="height" value="0.05292" units="cm"/>
      <inkml:brushProperty name="color" value="#0070C0"/>
    </inkml:brush>
  </inkml:definitions>
  <inkml:trace contextRef="#ctx0" brushRef="#br0">10014 2686 0,'0'-14'31</inkml:trace>
  <inkml:trace contextRef="#ctx0" brushRef="#br0" timeOffset="341.02">10636 2540 0</inkml:trace>
  <inkml:trace contextRef="#ctx0" brushRef="#br0" timeOffset="667.92">11192 2447 0</inkml:trace>
  <inkml:trace contextRef="#ctx0" brushRef="#br0" timeOffset="1235.99">13018 2342 0</inkml:trace>
  <inkml:trace contextRef="#ctx0" brushRef="#br0" timeOffset="1923.78">15094 2302 0</inkml:trace>
  <inkml:trace contextRef="#ctx0" brushRef="#br0" timeOffset="9491.4">9684 1879 0,'0'26'31,"0"14"-15,13-14-16,-13 14 0,0 0 15,13 12-15,-13-12 0,13 26 16,1-26-16,-14 13 0,13 0 0,-13-14 16,13 1-16,0 13 0,-13-13 0,14-1 15,-14-12-15,13-1 0,-13 1 16,13-1-16,-13-12 0,0 12 0,13-13 15,-13 0-15,0 1 0,0-1 16</inkml:trace>
  <inkml:trace contextRef="#ctx0" brushRef="#br0" timeOffset="11568.89">9657 1892 0,'40'-13'31,"-27"13"-31,14 0 0,-14-14 16,13 14-16,1 0 0,12-13 16,1 13-16,0-13 0,13 0 0,-14 13 15,14-14-15,14 1 0,-1 0 0,0 0 16,0-14-16,13 14 0,-12 0 16,12 0-16,0-14 0,1 14 0,-1 0 15,14-1-15,-1 1 0,-12-13 0,12 13 16,1-1-16,-1 1 0,1 13 15,0-13-15,-1 0 0,27-1 0,-26 1 16,-1 0-16,1 0 0,26-14 0,-26 27 16,26-26-16,-27 26 15,1-13-15,13-1 0,0 1 0,0 0 16,-1-14-16,-12 27 0,0-13 0,-1 0 16,1 0-16,-14-1 0,14 1 15,-1 13-15,1-13 0,-14 0 0,1 13 16,-1-13-16,0 13 0,1 0 0,-1-14 15,-13 14-15,14-13 0,-14 13 0,-13 0 16,13-13-16,-13 13 0,0 0 16,13 0-16,-13 0 0,0 0 0,0 0 15,0 0-15,13 0 0,-13 0 16,0 13-16,-1-13 0,1 0 0,-13 0 16,13 0-16,-13 0 0,-1 0 0,1 0 15,13 13-15,-13-13 0,-14 0 16,27 0-16,-13 0 0,13-13 15,-14 13-15,14 0 0,-13 0 0,-14 0 16,27 0-16,-13 0 0,-14 0 0,14 0 16,-13 0-16,12-13 0,-12 13 0,-1 0 15,14 0-15,-14 0 0,-12 0 16,12 0-16,0-13 0,1 13 0,-14 0 16,14 0-16,-1 0 0,-13-14 0,1 14 15,12 0-15,-13 0 0,14 0 16,-14 0-16,0 0 0,0 0 0,14 0 15,-14 0-15,0-13 0,-13 26 0,14-13 16,-1 0-16,0 0 16,0 0-16,0 14 0,1-14 15,-1 13-15,0 0 0,-13 0 16,13 1-16,-13-1 0,14 0 0,-14 13 16,13-12-16,-13 12 0,13 1 15,-13-1-15,0 14 0,0-1 0,13 1 16,-13 13-16,-13-13 0,13-1 0,0 14 15,0-13-15,0 0 0,13-1 16,-13 1-16,0 0 0,14-1 0,-14 1 16,13 0-16,-13-14 0,0 14 0,13-14 15,-13 1-15,13-1 16,-13 1-16,0-1 0,13 1 0,-13-1 16,0-13-16,14 14 0,-14-1 0,0 1 15,13-1-15,-13-13 0,0 14 16,0-14-16,0 14 0,13-14 0,-13 0 15,0 0-15,0 1 0,0-1 0,0 0 16,0 0-16,0 0 0,0 1 16,0-1-16,-13 0 0,13 0 15,-13 1-15,-1-1 16,1 0-16,0-13 16,13 13-16,-26-13 0,-1 14 15,14-1-15,-14-13 0,1 13 16,13 0-16,-14-13 0,1 13 0,-14-13 15,-13 14-15,13-14 0,-12 13 16,-1-13-16,0 0 0,0 13 0,13-13 16,-13 13-16,14-13 0,-14 0 0,13 14 15,0-14-15,1 0 0,-1 0 16,0 13-16,0-13 0,1 0 0,-14 0 16,0 0-16,-13 0 0,0 0 0,-14 0 15,14 0-15,-13 13 0,-14-13 0,14 0 16,-1 0-16,14 0 15,0 0-15,13 0 0,0 0 0,0 0 0,14 0 16,-1 0-16,0 0 0,1 0 16,12 0-16,-13 0 0,1 13 15,-1-13-15,0 0 0,-12 0 0,-1 0 16,0 0-16,0 0 0,0 14 0,0-14 16,0 0-16,0 0 0,0 13 15,27-13-15,-14 0 0,14 0 0,-1 0 16,-13 13-16,14-13 0,-1 0 0,1 0 15,0 0-15,-1 0 0,1 0 16,-14 0-16,14 0 0,-1 13 0,-13-13 16,14 0-16,-14 0 0,-13 0 15,14 0-15,-14 0 0,0 0 0,0 0 16,0 0-16,0 0 0,0 0 16,-13 13-16,13-13 0,0 0 0,0 0 15,0 0-15,14 0 0,-14 0 0,0 0 16,13 0-16,-13 0 0,0 0 15,0 0-15,0 0 0,14 14 0,-14-14 16,0 0-16,0 0 0,13 0 0,-13 0 16,0 0-16,1 13 0,12-13 15,0 0-15,1 0 0,-1 0 16,13 0-16,1 0 0,-1 0 0,1 0 16,0 0-16,-1 0 0,1 0 0,-1 0 15,1 0-15,12 0 0,-12 0 16,0 0-16,-1-13 0,1 13 0,-1 0 15,14 0-15,-14 0 0,1 0 0,0 0 16,-1 0-16,14-14 0,-14 14 16,1 0-16,13 0 0,-1 0 0,-12 0 15,13-13-15,0 13 0,-1 0 0,-12 0 16,13 0-16,-1 0 0,1 0 16,-13 0-16,13 0 0,-1 0 0,-12-13 15,13 13-15,-14 0 0,14 0 0,-14 0 16,14 0-16,-13 0 0,-1 0 15,-12 0-15,25 0 16,-12 0-16,13-13 0,-14 13 0,14 0 16,0 0-16,0 0 0,-14 0 0,14 0 15,-14 0-15,14 0 0,0 0 16,-13 0-16,12 0 0,1 0 0,0 0 16,0 0-16,-1 0 0,1 0 15,0 0-15,0 0 0,-1-13 0,1 13 16,0 0-16,0 0 0,0 0 15,-1 0-15,1 0 0,0 0 16,0 0 0,-1 0-16,1-14 15,0 14 1,0 0-16,-1 0 16,1-13-16,0 13 15,0 0 1,0 0-16,-1 0 0,1 0 15,0-13 1,0 13-16,-1 0 16,1 0-16,0 0 0,-14 0 15,1 0-15,13 0 0,0 0 0,-1 0 16,-12 0-16,13-13 0,-1 13 16,1 0-16,-13 0 0,12 0 0,1 0 15,0-14-15,-27 1 0,14-13 16</inkml:trace>
  <inkml:trace contextRef="#ctx0" brushRef="#br0" timeOffset="30549.22">7871 3598 0,'-13'0'16,"53"0"15,-27-13-31,0 13 15,14 0-15,-14 0 0,0 0 0,14 0 16,-14-13-16,0 13 0,14 0 0,-14 0 16,0 0-16,0 0 0,0 0 15,1 0 1,-14 13-16,13-13 0,-13 13 0,13 1 16,-13-1-16,0 0 0,0 0 15,0 0-15,0 1 0,0 12 16,-13 1-16,13-14 0,0 13 0,0-12 15,0 12-15,-13 0 0,13 1 0,0-14 16,-14 14-16,14-14 0,0 0 16,0 0-16,0 1 0,0-1 15,0 0-15,0 0 0,0 0 0</inkml:trace>
  <inkml:trace contextRef="#ctx0" brushRef="#br0" timeOffset="30755.96">7858 3956 0,'0'0'16,"13"-14"15,1 14-31,-1 0 0,0 0 16,0 0-16,14-13 0,-14 13 15,13 0-15,-12 0 0,12-13 0,-13 13 0,14 0 16,-14 0-16,13 0 16,-12-13-16,-1 13 0,0 0 0,14 0 15</inkml:trace>
  <inkml:trace contextRef="#ctx0" brushRef="#br0" timeOffset="30911.98">8387 3850 0,'0'-14'63,"14"14"-63,-1 0 16</inkml:trace>
  <inkml:trace contextRef="#ctx0" brushRef="#br0" timeOffset="31324.12">8493 3651 0,'-13'-13'0,"26"26"0,0-26 16,14 13-16,-14 0 15,0 0-15,14-13 0,-14 26 16,13-13-16,-12 0 0,12 0 0,-13 0 16,14 13-16,-14-13 0,0 0 0,0 13 15,1 1-15,-1-1 0,0 0 16,0 0-16,-13 1 0,14-1 0,-14 0 15,0 0-15,13 1 0,-13 12 16,0-13-16,0 0 0,0 14 0,0-14 16,0 0-16,0 1 0,0 12 15,0-13-15,0 1 0,0-1 0,0 0 16,0 0-16,0 0 0,13-13 0,-13 14 16,0-1-16,13-13 0</inkml:trace>
  <inkml:trace contextRef="#ctx0" brushRef="#br0" timeOffset="31540.66">8625 3916 0,'27'-27'31,"-14"27"-31,0 0 0,1 0 0,-1-13 16,0 13-16,13-13 0,-12 13 0,12 0 15,-13-13-15,1 13 16,12 0-16,-13-14 0,1 14 0,12-13 16,-13 13-16</inkml:trace>
  <inkml:trace contextRef="#ctx0" brushRef="#br0" timeOffset="31856.57">9247 3664 0,'0'0'16,"-26"0"-16,13 0 0,-14 0 16,14 0-1,13 14-15,-13-14 0,26 13 16,-13 0-16,0 0 15,13 1-15,0-1 0,1 0 16,-1 0-16,-13 1 0,13-1 16,0 0-16,0 0 0,-13 0 15,14 1-15,-14-1 0,0 0 0,0 0 16,-14 1-16,1-1 0,0 13 0,-13-12 16,-1 12-16,-13-13 0,14 14 0,-14-14 15,1 0-15,-1 0 0,-13 14 16,0-14-16,13 0 0,-13 1 0,0-14 15,1 13-15,-1-13 0,0 0 16,13-13-16</inkml:trace>
  <inkml:trace contextRef="#ctx0" brushRef="#br0" timeOffset="54345.89">8943 3387 0,'-40'13'16,"27"0"-16,-13 14 0,-14-1 0,0 14 15,0-1-15,-12 1 0,12 0 16,-13 13-16,13-14 0,-13 1 0,14 13 16,-1-13-16,0 13 0,-13-14 0,27 14 15,-14-13-15,1-14 0,-1 14 16,0-13-16,14-1 0,-1 0 0,1 1 16,-1-1-16,1-12 0,13-1 0,-1 0 15,-12 0-15,13-13 0,0 13 16,-1-13-16,1 14 0,0-28 15,0 14-15</inkml:trace>
  <inkml:trace contextRef="#ctx0" brushRef="#br0" timeOffset="54740.43">7673 3400 0,'13'0'0,"0"0"0,1 0 16,-1 0-16,304 159 16,-237-120-1,12 14-15,1 0 0,0 0 16,-1 0-16,1 0 0,-1-13 0,1 13 15,-14-14-15,1-12 0,-14-1 0,0 1 16,0-1-16,0 1 0,-13-1 0,-13-13 16,0 0-16,-1 1 0,-12-14 15,-1 13-15,-13 0 0,1-13 0,-1 0 16,0 13-16,0-13 0,1 0 0,-1 0 16,0 0-1,-13-13 1,13 13-16,-13-13 0,13 13 15,-13-13-15,14-1 0,-1 1 16,0 0 0</inkml:trace>
  <inkml:trace contextRef="#ctx0" brushRef="#br0" timeOffset="55485.33">11192 3612 0,'13'-14'0,"-13"1"15,0 0-15,0 0 16,-13 13-16,13-14 0,0 1 0,-13 13 16,-1-13-16,1 13 15,0-13-15,0 26 0,-1-13 0,-25 13 16,12 0-16,1 1 0,-1 12 16,1 1-16,13-14 0,-14 13 15,14-13-15,13 1 0,-13-1 0,0 13 16,13-12-16,0-1 0,0 0 15,0 0-15,13-13 16,0 0-16,0 0 0,1 0 16,12 0-16,0-13 0,-12 0 0,12 0 15,1-14-15,-1 14 0,0-14 16,-12 1-16,12 0 0,-13-1 0,1 1 16,-1 12-16,0 1 0,-13 0 0,13 0 15,-13-1-15,14 14 0,-14-13 16,13 26-1,-13 1-15,0 12 0,0-13 0,0 14 16,0-1-16,0 1 0,-13 12 0,13 1 16,0-13-16,-14 12 15,14-12-15,0-1 0,0 1 0,-13-1 16,13 1-16,0-14 0,-13 0 0,13 14 16,0-14-16,0 0 0,0 0 15,0 0-15,-13 1 0,13-1 16,13 0-1</inkml:trace>
  <inkml:trace contextRef="#ctx0" brushRef="#br0" timeOffset="55741.13">11628 3823 0,'-26'13'16,"13"1"0,-14 12-16,14 1 0,-13-14 0,-1 13 15,1 1-15,-1-1 0,1 1 16,-1-1-16,1-13 0,-1 1 15,14 12-15,0-26 0,13 13 0,-13 1 16</inkml:trace>
  <inkml:trace contextRef="#ctx0" brushRef="#br0" timeOffset="55920">11774 3797 0,'13'0'0,"-26"0"0,26 13 15,-26 13 1,0-12-16,-14 12 0,1 14 16,-14 0-16,0-1 0,-12 14 0,-1-13 15,-14 26-15,1-13 16,13-13-16,0 12 0,-26 1 0,26-13 16,0 0-16,-13-1 0</inkml:trace>
  <inkml:trace contextRef="#ctx0" brushRef="#br1" timeOffset="62692.57">11589 3334 0,'-27'-13'63,"14"13"-63,0 0 15,-14-14-15,14 14 0,-13 0 16,-14 0-16,14 0 0,-27-13 16,26 13-16,-13 0 0,-12 0 0,12 0 15,0-13-15,0 13 0,1 0 0,-1 0 16,14 0-16,-14 0 0,14 0 15,-14 0-15,13 0 0,14 0 0,-13 0 16,-1 0-16,1 0 0,13 13 0,-14-13 16,14 0-16,0 13 0,-1 1 0,-12-14 15,13 26-15,-1 0 0,1 1 16,0-1-16,0 14 0,0 0 0,13-1 16,-14 1-16,14 13 0,-13 13 15,13 0-15,0 0 0,0 1 0,0-1 16,0 0-16,0 13 0,0-13 15,-13 1-15,13-1 0,0-13 0,0 0 16,0-1-16,0-12 0,0 0 0,0 0 16,0-14-16,0 0 0,0-12 15,0 12-15,0-13 0,0 1 0,0-1 16,13-13-16,0-27 16,-13 1-1,0-14-15,14 1 0,-1-1 0</inkml:trace>
  <inkml:trace contextRef="#ctx0" brushRef="#br1" timeOffset="63696.97">11192 3334 0,'40'0'32,"-27"0"-32,13 0 0,-13 0 15,27 0-15,13 0 0,-13 0 0,13-13 16,0 13-16,0 0 0,13-14 16,-13 14-16,13-13 0,-13 13 15,0 0-15,-1-13 0,1 13 0,-13 0 16,-13 0-16,12 0 0,-12 0 0,-1 0 15,1 0-15,-14 0 0,0 0 0,14 0 16,-14 13-16,0-13 0,0 13 16,0-13-16,-13 14 0,14-1 0,-1 0 15,-13 0-15,13 14 0,-13-1 16,13 1-16,-13-1 0,14 0 0,-14 14 16,13 0-16,0 0 0,-13-1 0,13 1 15,-13 13-15,13-13 0,1 12 16,-1-12-16,-13 0 0,13 13 0,0-14 15,1 1-15,-1 0 0,-13 0 0,13-1 16,0 1-16,1-14 0,-14 1 16,13-1-16,-13 1 0,13-14 0,-13 13 15,0-12-15,0-1 0,0 0 0,13 0 16,-13 1-16,-13-1 16,13 0-16,-13 0 15,0-13-15,-1 0 16,-12 0-16,13 0 0,-14 0 15,1 0-15,-1 0 0,-26 0 16,0 0-16,1 0 0,-1 0 0,-14 0 16,1 0-16,-13 0 0,0 13 0,-1-13 15,1 14-15,-1-14 0,1 13 0,0 0 16,-1 0-16,-12 1 0,12-1 16,1 0-16,0 0 0,-1 1 0,14-1 15,-13 0-15,13 0 0,13 0 16,0 1-16,13-14 0,0 13 15,1-13-15,-1 13 0,14-13 16,12 13-16,1-13 0,0 0 0,0 0 16,-1 0-16,1 14 0,0-14 15,0 0 1</inkml:trace>
  <inkml:trace contextRef="#ctx0" brushRef="#br1" timeOffset="65410.29">21934 2011 0,'-13'0'0,"13"13"31,-13-13-15,13 13-16,13 14 0,-13-1 0,0 1 16,0 12-16,0 1 0,0 13 0,0 53 15,0-40-15,0 0 16,0 0-16,0-13 0,-13 13 0,13-13 16,0-13-16,0 13 0,-14-13 0,14-1 15,0 1-15,0-14 0,0 1 0,0-14 16,0 13-16,0-12 0,0-1 15,0 0-15,0 0 0,0 1 16,14-54 0,-1 13-1,-13 14-15,0-13 0,13-1 16,-13 1-16,0-1 0</inkml:trace>
  <inkml:trace contextRef="#ctx0" brushRef="#br1" timeOffset="66105.28">21908 1826 0,'13'0'0,"-26"0"0,39 0 0,0 0 0,1 0 16,-1 0-16,27 0 0,0-14 15,13 14-15,27 0 0,-14 0 0,1-13 16,12 13-16,1-13 0,-1 13 0,14 0 16,0-13-16,-13 13 0,13 0 15,-14 0-15,14 0 0,-13-14 16,-14 14-16,0 0 0,1 0 0,-14 0 15,-13 0-15,0 0 0,-14 0 0,1 0 16,0 0-16,-14 14 0,1-14 16,-14 0-16,13 0 0,-12 0 0,-1 0 15,0 0-15,0 0 0,1 0 0,-1 0 16,0 13-16,0 0 16,-13 0-16,13 1 0,-13-1 15,14 0-15,-14 0 0,13 14 0,-13-14 16,0 13-16,13-12 0,-13 12 15,0 1-15,13 12 0,-13 1 0,0-14 16,14 14-16,-14 0 0,0-1 0,13 14 16,0-13-16,0 0 15,1 13-15,-1 0 0,0-14 0,13 14 16,-12-13-16,-1-14 0,13 14 0,-12 0 16,12-14-16,-13 1 0,1-1 0,-1-13 15,0 14-15,-13-14 0,13 0 16,-13 1-16,0-1 0,13 0 0,-26 0 15,13 0-15,-13-13 0,-13 14 16,-14-1-16,-13-13 0,-13 13 16,-14 0-16,1-13 0,-27 14 0,-13-14 15,-13 13-15,0 0 0,-14-13 0,14 13 16,-1-13-16,-12 13 0,13 1 16,-1-14-16,41 0 0,-14 13 0,26-13 15,1 13-15,0-13 0,26 0 16,0 0-16,13 0 0,1 0 0,12 0 15,1 0-15,12 0 0,-12 0 16,13 0-16</inkml:trace>
  <inkml:trace contextRef="#ctx0" brushRef="#br1" timeOffset="67076.82">23336 2818 0,'-26'13'31,"26"0"-31,-13 1 0,-1-14 16,1 13-16,-13 0 0,12 0 16,-12 0-16,13 1 0,-14-1 0,14 0 15,0-13-15,0 13 0,-1 1 16</inkml:trace>
  <inkml:trace contextRef="#ctx0" brushRef="#br1" timeOffset="67231.94">23416 2805 0,'13'13'16,"-13"0"-16,-13 0 15,13 1-15,-14-1 0,-12 26 0,-1-12 0,1 13 16,-14-1-16,14 1 0,-14 0 15,1-1-15,-1-12 0,0 12 16,0 1-16,14-13 0</inkml:trace>
  <inkml:trace contextRef="#ctx0" brushRef="#br1" timeOffset="70876.03">20929 3532 0,'26'0'47,"0"0"-31,-12 0-16,-1-13 0,0 13 15,0 0-15,1 0 16,-1-13-16,0 13 0,0 0 15,1 0-15,-1-14 0,0 14 16,0 0-16,0-13 16</inkml:trace>
  <inkml:trace contextRef="#ctx0" brushRef="#br1" timeOffset="71302.3">21484 3360 0,'0'-26'31,"-13"13"-31,0 13 0,-14 0 16,14 13-1,0 0-15,0 0 16,-1 0-16,14 1 16,-13-14-16,13 13 0,0 0 15,0 0-15,13-13 16,1 0 0,-1-13-16,0 13 0,0 0 15,0 0-15,1-13 16,-1 26-1,0-13-15,-13 13 16,0 1-16,13-1 0,-13 0 16,14 0-16,-14 0 0,0 1 15,13-1-15,-13 0 16,0 0-16,0 1 0,0-1 16,0 0-16,0 0 0</inkml:trace>
  <inkml:trace contextRef="#ctx0" brushRef="#br1" timeOffset="71848.56">20929 4141 0,'0'-13'16,"13"13"15,0 0-31,0 0 0,-13-14 16,13 14-16,1 0 0,-1 0 15,13 0-15,-12 0 0,-1-13 0,0 13 16,0 0-16,14 0 0,-14 0 0,0 0 15,0 0-15,14-13 0</inkml:trace>
  <inkml:trace contextRef="#ctx0" brushRef="#br1" timeOffset="72223.13">21497 3969 0,'-13'-27'0,"-13"27"32,12 0-32,1 0 0,0 14 0,0-1 15,0-13-15,13 13 0,-14 0 16,14 0 0,0 1-1,27-14 1,-14-14-16,0 1 15,0 13-15,1-13 16,-1 26 0,-13 0-1,0 1-15,0-1 0,0 0 16,0 0-16,0 1 0,0-1 16,13 0-16,-13 0 0,0 1 0,0-1 15,0 0-15,0 0 16,13-13-16,-13 13 0,0 1 15,0-1-15,0 0 0</inkml:trace>
  <inkml:trace contextRef="#ctx0" brushRef="#br1" timeOffset="72818.8">21061 4749 0,'13'-13'16,"0"13"-16,1 0 0,-1 0 0,0 0 16,0 0-16,0 0 0,1-13 15,-1 13-15,0 0 16,0 0-16,1 0 16,-1 0-16,0 0 15,0-13-15</inkml:trace>
  <inkml:trace contextRef="#ctx0" brushRef="#br1" timeOffset="73213.08">21550 4617 0,'0'-26'31,"-13"26"-31,-13 0 16,12 13-16,1-13 15,0 13-15,0-13 0,-1 13 0,14 0 16,-13-13-16,13 14 0,-13-14 16,13 13-16,0 0 0,13-13 31,14 0-31,-14-13 15,0 13-15,-13-13 0,13 13 0,1 0 16,-14-14-16,13 14 0,0-13 16,0 26-1,-13 1-15,0-1 16,0 0-16,0 0 16,0 1-16,0-1 15,-13 13-15,13 1 0,0-14 16,0 0-16,0 0 0,0 1 0,0-1 15</inkml:trace>
  <inkml:trace contextRef="#ctx0" brushRef="#br1" timeOffset="73707.91">21034 5345 0,'40'0'63,"-27"0"-63,1 0 0,-1 0 15,0 0-15,0-14 0,0 14 0,14 0 16,-14 0-16,0 0 0</inkml:trace>
  <inkml:trace contextRef="#ctx0" brushRef="#br1" timeOffset="74100.37">21550 5239 0,'-13'-13'16,"0"13"0,0 0-16,-1 0 0,1 0 15,0 13-15,0-13 16,13 13-16,-14-13 0,1 13 16,13 0-16,-13-13 0,13 14 0,0-1 15,26-13 16,-12 0-31,-1-13 0,0 13 16,0 0-16,1-14 0,-1 14 0,0-13 16,0 13-1,1 0 1,-14 13-16,0 1 16,0-1-16,0 0 0,0 0 15,0 1-15,0-1 0,0 13 16,-14-12-16,28-1 0,-14 0 15,0 0-15,0 0 0,0 1 16</inkml:trace>
  <inkml:trace contextRef="#ctx0" brushRef="#br1" timeOffset="74712.56">21008 6072 0,'40'13'31,"-27"-26"-15,0 13-16,0 0 15,1 0-15,-1 0 0,0 0 16,0 0-16,0 0 0,1 0 15,-1-13-15</inkml:trace>
  <inkml:trace contextRef="#ctx0" brushRef="#br1" timeOffset="75079.17">21537 5927 0,'-53'0'31,"40"13"-15,0-13-16,13 13 0,-14-13 15,14 13-15,-13-13 0,13 14 0,-13-1 16,26-13 0,0 0-1,14 0-15,-14-13 16,0 13-16,1-14 0,-1 14 15,0-13-15,0 13 16,1-13-16,-1 26 16,-13 0-1,0 1-15,-13-14 0,13 13 0,0 0 16,0 0-16,0 0 0,0 1 16,0-1-16,0 0 15,0 14-15,0-14 0,0 0 0,0 0 16,0 1-16</inkml:trace>
  <inkml:trace contextRef="#ctx0" brushRef="#br1" timeOffset="75584.06">21114 6628 0,'39'0'47,"-25"-13"-47,-1 13 0,0 0 16,0 0-16,1 0 0,-1 0 15,0-14-15,13 14 0,-12 0 16,-1 0-16,0 0 0,14 0 0,-14-13 15</inkml:trace>
  <inkml:trace contextRef="#ctx0" brushRef="#br1" timeOffset="75940.09">21656 6469 0,'-13'0'0,"26"0"0,-39 0 0,-1 0 16,14 13-16,0-13 16,0 14-16,-1-14 15,14 13-15,-13-13 0,13 13 16,13 0 0,1-13-1,12-13-15,-13 13 16,0-13-16,1 13 0,-1-13 15,0 13-15,0 13 32,-13 0-32,0 0 15,0 0-15,0 1 0,0-1 16,-13 0-16,13 0 0,0 1 16,0-1-16,0 13 0,13-12 0,-13-1 15,0 0-15,0 0 0,0 0 0</inkml:trace>
  <inkml:trace contextRef="#ctx0" brushRef="#br1" timeOffset="76391.98">21127 7342 0,'13'-13'31,"14"13"-16,-14-13-15,0 13 16,0 0-16,14 0 0,-14-14 0,0 14 16,14 0-16,-14-13 0,13 13 0,-12 0 15,12-13-15</inkml:trace>
  <inkml:trace contextRef="#ctx0" brushRef="#br1" timeOffset="76716.19">21577 7170 0,'-66'13'31,"52"1"-31,1-14 0,13 13 0,-13 0 16,0-13-16,13 13 0,-14-13 16,14 14-16,0-1 15,14 0-15,-1-13 16,0-13-16,0 13 15,1-13-15,-1 13 0,-13-14 16,13 14-16,0 0 0,-13-13 0,14 13 16,-1 13-1,-26 1 1,13-1-16,0 0 16,0 0-16,-14 14 0,14-14 0,0 0 15,0 0-15,-13 14 0,13-14 0,0 0 16,0 1-16,0-1 0,0 13 15,0-13-15</inkml:trace>
  <inkml:trace contextRef="#ctx0" brushRef="#br1" timeOffset="77100.55">21048 7911 0,'26'-13'31,"-13"13"-15,-13-13-16,14 13 0,-1 0 0,0 0 15,0 0-15,0-14 0,1 14 16,-1 0-16,0 0 0,0-13 0,1 13 15,12 0-15,-13 0 0,0 0 0,1 0 16</inkml:trace>
  <inkml:trace contextRef="#ctx0" brushRef="#br1" timeOffset="77447.95">21511 7752 0,'-27'0'15,"1"0"1,26 14-16,-14-14 0,1 13 16,0-13-16,13 13 0,-13-13 15,13 13-15,-13 0 16,26 1 0,0-1-16,13-26 15,-12 13-15,-1 0 16,0-14-16,0 14 0,1 0 0,-1 0 15,-13-13-15,13 13 0,0 0 16,1 13-16,-1 1 16,-13-1-16,0 0 0,0 0 15,13 14-15,-13-1 0,0 1 0,0-1 16,13 1-16,-13-1 0,0 1 16,13-14-16,-13 13 0,14 1 15,-14-14-15,13 13 0,-13-12 0,13-1 16,-13 0-16</inkml:trace>
  <inkml:trace contextRef="#ctx0" brushRef="#br1" timeOffset="79228.46">20346 3347 0,'0'-13'0,"-13"26"63,13 0-63,-13 0 0,13 1 0,0-1 16,0 13-16,-13-12 0,13 12 0,0-13 15,0 0-15,0 14 0,0-14 16,0 14-16,0-14 0,13 0 0,-13 0 15,13 1-15,-13-1 0,13 0 16,1-13-16</inkml:trace>
  <inkml:trace contextRef="#ctx0" brushRef="#br1" timeOffset="79741.5">21603 3281 0,'-13'40'31,"13"-27"-31,0 0 0,13 27 15,-13-14-15,0-13 16,0 14-16,0-14 0,0 13 16</inkml:trace>
  <inkml:trace contextRef="#ctx0" brushRef="#br1" timeOffset="80349.05">20426 3929 0,'0'-13'15,"0"39"1,0-12-16,0-1 0,0 0 0,0 13 16,0-12-16,0 12 0,0 1 15,0-1-15,0 1 0,0-1 0,0 0 16,0 1-16,0-14 0,13 14 0,0-14 15,1 0-15,-1 0 0</inkml:trace>
  <inkml:trace contextRef="#ctx0" brushRef="#br1" timeOffset="80848.08">21696 3876 0,'-13'13'16,"13"1"-16,-14 12 16,14-13-16,0 14 0,0-1 15,0 1-15,0-1 0,0 1 0,0-1 16,0 14-16,0-1 0,0-12 0,0-1 15,14 1-15,-14-1 0</inkml:trace>
  <inkml:trace contextRef="#ctx0" brushRef="#br1" timeOffset="81364.14">20413 4591 0,'13'26'16,"-13"-13"-16,0 0 0,0 133 31,0-120-31,0 1 15,0-1-15,0 1 0,13-1 0,-13-13 16,13 1-16,-13-1 16</inkml:trace>
  <inkml:trace contextRef="#ctx0" brushRef="#br1" timeOffset="81832.13">21656 4604 0,'0'39'16,"0"-25"-16,-13 39 16,26-27-16,-13-13 0,0 14 15,0-1-15,0 1 0,0-1 0,13 1 16,-13-1-16,0 0 0</inkml:trace>
  <inkml:trace contextRef="#ctx0" brushRef="#br1" timeOffset="82448.03">20333 5159 0,'13'14'16,"-13"-1"-16,0 0 0,0 0 0,0 14 16,0-14-16,0 27 0,0-14 0,0 14 15,0-14-15,0 14 0,14 0 16,-14-1-16,0 1 0,0-14 16,13 1-16,0-1 0,0-12 0,1-1 15,-1 0-15,0 0 0,0-13 0,14 0 16</inkml:trace>
  <inkml:trace contextRef="#ctx0" brushRef="#br1" timeOffset="82908.03">21669 5120 0,'0'66'31,"0"-26"-31,0-14 0,14 0 16,-14 14-16,0-27 0,0 14 0,0-1 15,13 1-15,-13-1 0,0 1 16,0-1-16,0-13 0,0 14 0</inkml:trace>
  <inkml:trace contextRef="#ctx0" brushRef="#br1" timeOffset="83496.13">20439 5821 0,'0'26'16,"0"-12"0,-13-1-16,13 13 0,0-13 0,-13 14 15,13-1-15,0 1 0,-14-1 16,14 1-16,0-1 0,-13-13 0,13 14 15,13-14-15,-13 14 0,0-14 0,14 0 16,-1 0-16,0-13 0,0 13 16,1-13-16</inkml:trace>
  <inkml:trace contextRef="#ctx0" brushRef="#br1" timeOffset="83997.06">21722 5781 0,'0'66'31,"0"-52"-31,0-1 16,0 13-16,0-13 0,0 14 0,0-1 15,-13 1-15,13-1 0,0-13 0,-13 14 16,13-1-16,0 1 0,-13-1 16,-1-12-16</inkml:trace>
  <inkml:trace contextRef="#ctx0" brushRef="#br1" timeOffset="84496.03">20254 6469 0,'0'27'15,"0"-14"-15,0 0 0,0 0 16,0 0-16,0 14 0,0-14 0,0 14 15,0-1-15,0 1 0,0-1 0,13 0 16,-13 1-16,13-14 0,1 14 0,-1-14 16</inkml:trace>
  <inkml:trace contextRef="#ctx0" brushRef="#br1" timeOffset="84980.16">21802 6403 0,'0'13'0,"-14"53"31,14-39-31,0-1 0,0 1 16,-13 12-16,13 1 0,-13-13 0,13 12 15,0-12-15,-13-1 0,13 1 0,0-1 16</inkml:trace>
  <inkml:trace contextRef="#ctx0" brushRef="#br1" timeOffset="85540.08">20280 7117 0,'14'14'31,"-14"-1"-31,0 0 0,0 0 0,0 14 16,0-1-16,0 1 0,0-1 0,0 0 16,0 14-16,0-13 0,0 12 15,13-12-15,-13-1 0,13 1 0,0-1 16,0-13-16,14 1 0,-14-14 16,14 0-16</inkml:trace>
  <inkml:trace contextRef="#ctx0" brushRef="#br1" timeOffset="85981.04">21683 6985 0,'13'0'0,"-13"13"0,0 53 32,0-39-32,0-1 0,-13 14 0,13 0 15,0-1-15,0-12 0,-14-1 16,14 14-16,0-14 0,0 1 0,0-1 15,0-12-15,0 12 0,0-13 0,-13 14 16</inkml:trace>
  <inkml:trace contextRef="#ctx0" brushRef="#br1" timeOffset="86425.86">20267 7858 0,'0'40'0,"0"-80"0,0 93 16,0-40-16,0 14 0,0-14 15,13 13-15,-13 1 0,0-1 0,0 1 16,0-1-16,14 1 0,-14-14 0,13 13 16,-13-12-16,13-1 0</inkml:trace>
  <inkml:trace contextRef="#ctx0" brushRef="#br1" timeOffset="86876.16">21736 7726 0,'13'40'0,"-13"-27"0,0 13 15,0 1-15,0-1 0,0 133 31,0-119-31,-13 65 0,13-52 16,0-13-16,-14 13 0,14 0 0,-13-13 16,13 12-16,-13-12 0</inkml:trace>
  <inkml:trace contextRef="#ctx0" brushRef="#br1" timeOffset="91224.94">8625 5080 0,'14'40'16,"-14"-27"-16,13 106 16,-13-79-16,0-1 15,0 1-15,0 0 0,0-1 0,0 14 16,0-26-16,0-1 0,13 1 16,-13-1-16,0 1 0,0-1 15,0 1-15,0-14 0,0 0 0,0 0 0,0 0 16,0 1-16,13-1 15</inkml:trace>
  <inkml:trace contextRef="#ctx0" brushRef="#br1" timeOffset="92403.93">8586 4961 0,'26'0'47,"-13"0"-47,1 0 0,-1 0 15,13 13-15,-12-13 0,12 0 16,0 0-16,1 13 0,-1-13 16,1 0-16,-1 0 0,14 14 0,0-14 15,13 0-15,-14 0 0,14 13 0,53-13 16,-53 0-16,0 0 15,0 0-15,0 13 0,0-13 0,0 0 16,-1 0-16,1 0 0,0 0 0,13 0 16,-13 0-16,0 0 0,0 0 15,0 0-15,0 0 0,0-13 0,0 13 16,0 0-16,0 0 0,0 0 0,0 0 16,-14 0-16,14 0 0,0 0 15,-13 0-15,13-13 0,-14 13 0,-12 0 16,12 0-16,-12 0 0,13 0 15,-14 0-15,1 0 0,12 0 0,-26 0 16,14-14-16,-1 14 0,1 0 16,-1 0-16,1 0 0,-14 0 15,13-13-15,1 13 0,-14 0 0,14 0 16,-1 0-16,-13 0 0,0 0 0,14-13 16,-14 13-16,0 0 0,1 0 0,-1 0 15,0 0-15,0 0 0,1 0 0,-1 0 16,0 0-16,13 0 15,-12 0-15,12-13 16,-13 13 0,1 0-16,-1 0 15,0 0-15,14 0 16,-27-14-16,13 14 0,0 0 16,0 0-16,0 0 15,1 0-15,-1 0 16,0 0-1,0 0 1,1 0 0,-14 14 15,-14-1-15,14 0-16,0 0 15,0 1 1,0-1-16,0 0 0,0 0 0,0 14 15,0-14-15,0 13 0,0-12 0,0 12 16,0 1-16,14-1 0,-14 1 0,0-1 16,13 0-16,-13 1 0,13-1 15,-13 1-15,13-1 0,-13 1 0,14-1 16,-14 1-16,13 26 0,0-27 16,-13 0-16,13 1 0,-13-1 15,13 14-15,-13-13 0,0-1 16,0-13-16,0 0 0,0 14 15,14-14-15,-14 0 0,0 1 16,0-1-16,0 0 0,0 0 0,0 1 16,0-1-16,0 0 0,0 0 15,-14-13-15,14 13 0,-13 1 16,0-14 0,0 13-16,-14-13 0,14 0 15,-53 0-15,13 13 0,0-13 16,-13 0-16,0 13 0,-14-13 15,1 14-15,-93-1 0,79 0 16,1 0-16,-1 0 0,1 1 0,-1-1 16,14 0-16,13 0 0,13-13 15,13 14-15,13-1 0,1-13 16,13 0-16</inkml:trace>
  <inkml:trace contextRef="#ctx0" brushRef="#br1" timeOffset="93400.57">14023 5239 0,'-13'-27'46,"13"14"-30,-14 13-16,14-13 0,-13 0 16,0-1-16,0 1 0,-14 0 0,14-14 15,-13 14-15,-1-13 0,1-1 0,-1 1 16,1-1-16,-1 1 16,1-14-16,-14 1 0,14 12 0,-14-13 0,0 1 15,-26-27-15,40 39 0,-14 1 16,-13-14-16,27 14 15,-40-14-15,39 13 16,14 14-16,-14 0 0,14 0 0,-13 13 16,12-14-16,1 1 0,0 0 0,0 0 15,0 13-15,13-13 0,-14-1 16,1 14-16,13-13 0,-13 13 0,0-13 16,-1 13-16,14-13 15,-13 13-15,0-14 16,0 14-1,13 14 17,0-1-17,13 0 1</inkml:trace>
  <inkml:trace contextRef="#ctx0" brushRef="#br1" timeOffset="93905.21">13044 4604 0,'0'-27'31,"0"14"-15,-13 0-16,13 0 0,0-1 16,0 1-16,-13 0 0,-1 0 0,14-14 15,-13 14-15,0-13 0,0 12 16,-1-12-16,1 13 0,0-1 15,0-12-15,-1 13 0,1-1 0,0 1 16,0-13-16,0 13 16,13-1-16,-14 14 0,28-13 31,-1 13-31,0 0 16,13 0-16,-12 13 0,12-13 0,1 14 15,-1-14-15,1 13 0,-1-13 0,14 13 16,-14 0-16,1 0 0,12 1 15,-12-14-15,-14 13 0,0-13 16,0 13-16,1-13 0,-1 0 0,0 13 16,0-13-16,-13 14 0,14-14 15</inkml:trace>
  <inkml:trace contextRef="#ctx0" brushRef="#br1" timeOffset="108625.18">23006 8493 0,'13'40'0,"-13"39"31,13-52-31,-13-1 0,0 1 0,0 12 15,0 1-15,0 0 0,0-1 16,13 1-16,-13 0 0,0-14 0,0 14 16,13-14-16,-13 1 0,0-1 0,0 1 15,0-14-15,0 13 0,0-12 16,0-1-16,14 13 0,-14-12 0,0-1 16,0 0-16,0 0 0,0 0 15,0-39 32,0 13-31,0 0-16,0-1 0</inkml:trace>
  <inkml:trace contextRef="#ctx0" brushRef="#br1" timeOffset="109079.67">23085 8546 0,'-13'-13'0,"-1"13"31,1 13-31,0-13 15,13 13-15,-13-13 0,0 13 16,13 1-16,-14-14 0,1 13 0,0 0 16,0 0-16,13 1 0,-14-1 0,1 0 15,0 0-15,13 1 0,-13-1 16,-1-13-16,14 13 0,-13 0 0,13 0 16,-13 1-16,13-1 15,-13-13 1</inkml:trace>
  <inkml:trace contextRef="#ctx0" brushRef="#br1" timeOffset="109372.86">22966 8506 0,'26'14'16,"-12"-1"-1,-1 0-15,0 0 0,0 0 16,0 1-16,1-1 0,-1 0 0,13 0 16,-12 1-16,-1-14 0,0 13 15,0 0-15,1 0 0,-1-13 0,-13 14 16,13-1-16,0-13 0,0 13 15,1-13-15,-14 13 0,13-13 16,-13 13-16,13 1 16</inkml:trace>
  <inkml:trace contextRef="#ctx0" brushRef="#br1" timeOffset="110184.49">22767 9697 0,'0'26'47,"0"-12"-31,0-1-16,0 0 16,0 0-16,14-13 15,-14-13 16,0 0-15,13 13-16,-13-13 0,0-1 16,13 14-16,-13-13 15,13 13-15,-13-13 0,14 26 16,-1-13 0,0 13-16,0 1 15,-13-1 1,13-13-16,-13 13 0,14 0 15,-1-26 17,0 13-17,-13-13-15,13 0 0,1-1 0,-1 1 16,0 0-16,0 0 16,1 13-16,-1 0 15,0 0-15,0 0 0,0 0 16,1 13-16,-1-13 15,-13 13-15,13-13 16,-13 13-16,13 1 16,-13-1-1,14 0 1,-1 0 0</inkml:trace>
  <inkml:trace contextRef="#ctx0" brushRef="#br1" timeOffset="110485.47">23217 9750 0,'40'-53'32,"-40"40"-32,0 0 0,13 13 0,-13-14 15,0 1-15,0 0 16,-13 13-1,0 13 1,-1-13-16,14 13 0,-13 1 16,0-1-16,13 0 15,0 0-15,0 0 0,-13-13 0,13 14 16,0-1-16,0 0 0,13 0 16,-13 1-1,40-1 1,-27-13-16,0 0 0,0 0 0,1 0 15,-1 0-15,13-13 0,-13 13 16,1-14-16,12 14 0</inkml:trace>
  <inkml:trace contextRef="#ctx0" brushRef="#br1" timeOffset="111226.93">23548 9657 0,'0'-13'0,"-13"0"16,-1 13 0,1 0-1,0 0 1,0 13 0,0-13-16,13 13 15,-14 1-15,14-1 16,-13-13-16,13 13 0,0 0 15,0 0 1,0 1-16,0-1 16,13 0-1,1-13 1,-1-13 0,0 13-16,0-13 15,0 13 1,-13-14-16,14 14 0,-1-13 15,0 0 1,0 13 0,-13-13-1,14 13-15,-1 13 16,0-13 0,-13 13-16,13 0 15,1 1 1,-14-1-1,13-13-15,-13 13 16,13-26 0,0 13-1,0 0-15,-13-13 16,14 13 0,-14-14-16,13 14 15,0 0 1,0-13-1,1 13-15,-1 0 32,0-13-32,0 26 31,0-13-15,-13 13-1,-13-13 1,13 14-1,-13-1-15,0 0 0</inkml:trace>
  <inkml:trace contextRef="#ctx0" brushRef="#br1" timeOffset="111549.16">22781 10028 0,'0'0'0,"39"-14"31,-25 14-31,12 0 0,27-13 16,-13 0-16,13 13 0,-1-13 0,1 13 15,14-13-15,-1-1 0,-13 1 16,-1 13-16,1-13 0,0 0 0,-13 13 15,13-14-15,-13 14 0,-14-13 0,1 13 16,-1 0-16,-13 0 0,0-13 16,1 13-16,-1 0 0,0 0 0,0 0 15,-52 26 17,12-26-32,1 14 0</inkml:trace>
  <inkml:trace contextRef="#ctx0" brushRef="#br1" timeOffset="111816.98">22886 10081 0,'0'0'16,"-39"13"-16,26-13 0,13 13 15,13 0 1,0-13-16,0 0 0,14 0 16,-1 0-16,1 0 0,26 0 15,-14 0-15,14 0 0,0-13 0,0 13 16,-13 0-16,13-13 0,-1 13 15,-12 0-15,0-13 0,-14 13 0,1 0 0,-14 0 16,13 0-16,-12 0 16,-1-14-16,0 14 0,0 0 0,1 14 15,-41-1 17,14 0-32,0-13 0,-1 0 15,1 0-15,0 0 0</inkml:trace>
  <inkml:trace contextRef="#ctx0" brushRef="#br1" timeOffset="114798.1">23349 3413 0,'14'13'0,"-14"14"16,0-14-1,0 0-15,0 0 0,0 1 16,0-1-16,0 0 0,0 14 0,0-14 16,13 13-16,-13-12 0,0 12 0,0 0 15,13 1-15,-13-1 0,0-12 16,13 12-16,-13 1 0,0-1 16,0 0-16,0 1 0,14-1 0,-14 1 15,0-1-15,0 1 0,0-1 0,0-13 16,0 14-16,13-1 0,-13 1 15,0-14-15,0 14 0,0-14 0,13 13 16,-13-13-16,0 14 0,13-14 0,-13 14 16,0-14-16,0 0 0,14 13 15,-14-12-15,13-1 0,-13 13 0,0-12 16,13-1-16,-13 0 0,0 0 0,13 14 16,-13-14-16,0 0 0,0 0 15,13 14-15,-13-14 0,0 0 0,14 14 16,-14-14-16,0 0 0,13 14 0,-13-14 15,0 0-15,13 0 0,-13 14 16,0-14-16,13 0 0,-13 14 16,0-14-16,14 0 0,-14 0 0,13 14 15,-13-14-15,13 0 0,-13 1 0,0 12 16,13-13-16,-13 1 0,0-1 16,14 13-16,-14-13 0,0 14 0,0-14 15,13 0-15,-13 14 0,0-14 0,0 14 16,0-1-16,13-13 0,-13 14 31,0 12-31,0 1 0,0-13 0,0-14 0,0 13 0,13 1 16,-13-1-16,0-13 0,0 14 15,0-1-15,0 1 0,0-14 0,0 13 16,0 1-16,0-1 0,0 1 16,0-1-16,0-13 0,0 14 0,0-1 15,0 1-15,0-1 0,0 1 16,0-1-16,0-13 0,0 14 0,0-1 15,0 1-15,0-1 0,0 1 0,0-1 16,0 1-16,0-14 0,13 13 16,-13 1-16,0-1 0,0-13 0,0 14 15,0-14-15,0 14 0,0-1 0,14 1 16,-14-1-16,0 0 0,0-12 0,0 12 16,13 1-16,-13-1 15,0 1-15,0-1 0,0 0 0,13 1 16,-13-1-16,0 1 0,0-1 0,13 14 15,-13 0-15,14-14 0,-14 14 16,13-14-16,-13 1 0,13-1 0,-13 14 16,0-14-16,13 1 0,-13-1 0,13 14 15,-13 0-15,14-1 0,-14 1 16,13-14-16,-13 14 0,0 0 0,0 0 16,13-1-16,-13 1 0,0 0 0,0-1 15,13 1-15,-13 0 0,0 13 0,0-14 16,0 14-16,14 0 15,-14-13-15,0 13 0,0 0 0,13-14 16,-13 1-16,0 0 0,0-1 0,0-12 16,0-1-16,0-12 0,0-1 15,0 0-15,0 0 0,-13-52 16,13-1 0,-14-26-16,1 0 0</inkml:trace>
  <inkml:trace contextRef="#ctx0" brushRef="#br1" timeOffset="116149.11">22490 3559 0,'0'39'47,"0"-25"-32,0 12-15,-14 0 0,14 14 0,0 0 16,0 13-16,-13-14 0,13 14 15,0-13-15,0 13 0,-13 0 0,13-13 16,0 13-16,0-1 0,0-12 0,0 13 16,0 0-16,0-13 0,0 13 15,13-14-15,-13 14 0,0 0 0,0-13 16,13 13-16,-13-14 0,0 14 0,14-13 16,-14 13-16,0 0 0,0 0 15,0 0-15,0-14 0,0 14 16,13 0-16,-13-13 0,0 13 0,0-14 15,13 1-15,-13 0 0,0 0 0,0-1 16,13 1-16,-13 0 0,0-1 16,0 1-16,13 0 0,-13-14 0,0 1 15,0-1-15,14 0 0,-14 14 0,0-13 16,0-1-16,0 1 0,0-1 16,0 0-16,0 14 0,-14-13 0,14-1 15,0 14-15,0-14 0,-13 1 0,13-1 16,0 1-16,0-1 0,-13 0 15,13 1-15,0-1 0,0-12 0,0 12 16,0 1-16,0-14 0,0 13 16,-13 1-16,13-1 0,0 1 15,0-1-15,0 1 0,-13-14 0,13 13 16,0 1-16,0-1 0,0 1 0,-14-1 16,14 1-16,0-1 0,0 0 15,-13 1-15,13-1 0,0 1 0,-13-1 16,13 1-16,0-1 0,0 1 15,-13-1-15,13 1 0,0-1 0,0-13 16,0 0-16,0 14 0,-14-14 16,14 0-16,0 1 0,0 12 0,0-13 15,0 1-15,0-1 0,0 0 16,0 0-16,0 0 0,0 1 16,0-1-16,0 0 0,0 0 0,0 1 15,0-1-15,0 0 0,0 0 0,0 14 16,0-14-16,0 0 0,0 0 15,0 1-15,0-1 0,0 0 0,0 0 16,0 1-16,0-1 0,0 0 16,0 0-16,-13 0 15,13 1-15,0 12 0,0-13 16,0 1-16,0-1 0,0 0 0,0 0 0,0 1 16,0-1-16,0 0 0,0 0 15,0 0-15,0 1 0,0-1 16,0 0-16,0 0 0,0 1 15,0-1-15,0 0 16,0 0 0,13-39-1,-13 13-15</inkml:trace>
  <inkml:trace contextRef="#ctx0" brushRef="#br1" timeOffset="117449.07">19883 11060 0,'0'0'0,"0"-14"0,14 14 16,-28 27 15,14-14-31,-13 13 15,13-12-15,-13 25 0,13 1 16,-13-13-16,13 12 0,-13-12 16,13-1-16,0 1 0,0-1 0,0-13 15,13 14-15,-13-14 0,0 13 16,13-12-16,-13-1 0,13 0 0,0 0 16,1-13-16,-1 14 0,0-14 15,0 0-15,1 0 0,-1 0 16,0-14-16,0 1 15,-13 0-15,0 0 0,0-1 16,0 1-16,0 0 16,-13 13-16,13-13 0,-13 13 0,0-13 15,-1 13-15,1 0 0,13-14 16,-26 14-16,12 0 16,14 14-16,-26-14 15</inkml:trace>
  <inkml:trace contextRef="#ctx0" brushRef="#br1" timeOffset="117659.97">20148 11099 0,'0'-13'0,"13"0"31,-13 39-15,13-13-16,-13 1 15,0 12-15,0-13 0,0 1 16,0 12-16,0-13 0,0 14 0,0-14 16,0 0-16,0 0 0,0 14 15,0-14-15,0 0 0,0 1 0,14-1 16,-14 0-16</inkml:trace>
  <inkml:trace contextRef="#ctx0" brushRef="#br1" timeOffset="117847.97">20029 11271 0,'-13'0'0,"26"0"0,-13-13 32,13 13-32,0 0 0,1-13 15,12 13-15,-13 0 0,1 0 16,12-13-16,0 13 0,1 0 15,-1 0-15,-12-14 0,12 14 0,1 0 16</inkml:trace>
  <inkml:trace contextRef="#ctx0" brushRef="#br1" timeOffset="118276.6">20532 11139 0,'13'0'0,"0"0"15,-13 26 1,-13-12-1,13-1-15,0 0 16,0 0 0,13-13-16,0 0 0,1 14 15,-1-1-15,0-13 0,0 0 16,1 13-16,-1-13 16,0 13-16,0 0 0,-13 1 15,-13-1 1,13 0-16,-13 0 0,0-13 15,13 14-15,-14-14 0,1 13 16,0-13-16,0 13 0,-1-13 16,1 0-16,0 0 15</inkml:trace>
  <inkml:trace contextRef="#ctx0" brushRef="#br1" timeOffset="118527.71">20889 11086 0,'13'13'15,"-13"0"1,0 1-16,0-1 0,-13 0 15,26 0-15,-26 1 0,26 12 16,-13-13-16,-13 1 0,26-1 0,-13 0 16,0 0-16,0 0 0,0 1 0,0-1 15,0 0 1</inkml:trace>
  <inkml:trace contextRef="#ctx0" brushRef="#br1" timeOffset="118712.36">20757 11232 0,'0'0'0,"13"-14"16,0 14-16,0-13 16,0 13-16,14-13 0,-14 13 0,14-13 15,-1 13-15,1-14 0,-1 14 0,14 0 16,-14-13-16,1 13 0,12 0 15</inkml:trace>
</inkml:ink>
</file>

<file path=ppt/ink/ink15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0:02.083"/>
    </inkml:context>
    <inkml:brush xml:id="br0">
      <inkml:brushProperty name="width" value="0.05292" units="cm"/>
      <inkml:brushProperty name="height" value="0.05292" units="cm"/>
      <inkml:brushProperty name="color" value="#0070C0"/>
    </inkml:brush>
  </inkml:definitions>
  <inkml:trace contextRef="#ctx0" brushRef="#br0">16589 3823 0,'0'40'141,"40"92"-141,-13 14 16,-14-27-16,0-27 15,0 1-15,-13 13 16,13 0 0,-13-40-16,0 13 0,0-13 15,0-39-15,0-1 16,0-13-1,0 1 1</inkml:trace>
  <inkml:trace contextRef="#ctx0" brushRef="#br0" timeOffset="1343.73">16484 3784 0,'39'0'157,"14"0"-157,27 0 15,52 0-15,-26 0 16,13 13-16,13-13 0,-13 0 16,79 0-1,-92-13-15,13-1 16,14 1-16,-27 0 15,-14 0-15,-26 13 16,14-14-16,-41 14 16,27-13-16,27 0 15,-40 13-15,0-13 16,-27 13-16,1 0 16,-1 79 124,-12-13-124,-1 14-16,13-27 15,-13 39-15,27 54 16,-13-41-16,-1-12 16,0-14-16,-12-39 15,12 13-15,-26-26 16,27 12-16,-14-12 16,-13-1-1,26 1-15,-26-14 0,0 0 16,14-13-1,-14 13-15,-14 0 141,-65 14-141,0-1 0,-14-12 16,0-1-1,-26 13-15,-132-26 16,66 0-16,-14 0 16,27 0-16,-13 0 15,-27 0-15,54 0 16,-27 0-16,52 0 15,1 0-15,26 0 16,53 0-16,40 0 16,0 0-16</inkml:trace>
  <inkml:trace contextRef="#ctx0" brushRef="#br0" timeOffset="4080.57">15531 3850 0,'0'26'79,"0"-13"-64,0 1 1,0-1-1,0 0 1,0 0 0,0 1-16,-13-1 15,13 0-15,0 0 16,13-13 0,-13 13-16,-13 1 15,13-1-15,0 0 16,0 0-1,0 1-15,13-14 16,-13 13-16,0 0 16,0 0-16,0 1 31,0-1-15,0 0-1,0 0 1,0 0-1,0 1 1,0-1 0,0 0-1,0 0 17,0 1-17,0-1 32,13-13-31,-13 13-1,0 0 1,0 0 15,0 1 0,0-1 16,0 0-31,0 0 31,0 1-32,0-1 17,0 0-17,0 0-15,0 1 32,0-1-32,0 0 15,0 0-15,0 0 16,0 1-16,0-1 0,0 0 15,14 14-15,-14-1 0,0 14 0,0-1 16,0 1-16,0 13 0,-14 0 0,14 13 16,0 0-16,0 0 0,0 14 15,-13-1-15,13-13 0,0 0 0,-13 14 16,13-1-16,0 1 0,-13-14 16,13 13-16,-14 0 0,14-12 0,0-1 0</inkml:trace>
  <inkml:trace contextRef="#ctx0" brushRef="#br0" timeOffset="9199.87">2990 6403 0,'13'13'32,"0"0"-32,14-13 0,-1 0 0,27 14 15,0-14-15,13 13 0,0-13 16,-13 0-16,27 13 0,-28-13 15,15 0-15,-1 0 0,0 0 0,13 0 16,-26 0-16,0 0 0,0 0 0,0-13 16,-13 13-16,-1 0 0,-12 0 0,-14 0 15,14 0-15,-14 0 0,0 0 16,0 0-16</inkml:trace>
  <inkml:trace contextRef="#ctx0" brushRef="#br0" timeOffset="9476.7">3096 6668 0,'-40'13'0,"80"-26"0,-93 39 16,92-26 0,-12 0-16,-1 0 15,27-13-15,13 13 0,14-13 0,-1-1 16,14 14-16,-14-13 0,14 0 15,-1 0-15,1 13 0,-14-14 0,1 14 16,-1-13-16,0 13 0,-26 0 0,0-13 16,0 13-16,-13 0 0,-14 0 0,1 0 15,-1 0-15,-13 0 16,1 0-16,-1 0 0,0 0 0,0 0 16,1 13-16</inkml:trace>
  <inkml:trace contextRef="#ctx0" brushRef="#br0" timeOffset="11005.63">6694 5675 0,'-13'-13'15,"26"26"-15,-39-26 0,39 40 16,-13-14 0,0 26-16,0 1 0,0 26 0,13 0 15,-13 1-15,0 12 0,0 0 0,0-13 16,0 14-16,-13-1 16,13-13-16,0 1 0,0-15 0,0 1 15,13-13-15,-13 0 0,0-1 0,13 1 16,-13-13-16,0-14 0,13 13 15,-13-13-15,0 1 0</inkml:trace>
  <inkml:trace contextRef="#ctx0" brushRef="#br0" timeOffset="11976.36">6853 5398 0,'39'0'0,"-12"0"0,145 13 31,-93-13-31,-13 13 0,14-13 0,12 0 15,1 0-15,13 0 0,39 0 0,1 0 16,-1 0-16,14 0 0,0-13 16,13 13-16,0-13 0,13 13 0,-13 0 15,13-14-15,0 14 0,1-13 0,12 13 16,-13 0-16,0-13 0,-13 13 16,14 0-16,-14 0 0,0 13 0,-14-13 15,14 0-15,-13 13 0,0 1 0,-14-1 16,14 0-16,-13 0 0,-14-13 15,13 13-15,-12 1 0,-1-1 0,-39-13 16,12 13-16,1-13 0,-13 0 0,0 13 16,-1-13-16,-13 0 0,14 0 0,-27 14 15,0-14-15,-13 0 0,0 0 16,0 0-16,-13 0 0,-14 0 0,14 0 16,-14 0-16,1 0 0,-1 0 15,1 0-15,-1 0 0,-13-14 16,14 14-16,-14 0 0,0 0 0,1 0 15,-1-13-15,13 13 0,-12 0 0,-1 0 16,13-13-16,-13 13 0,1 0 16,-1 0-16,0 0 0,0-13 15,14 13-15,-14 0 16,0 0-16,1 0 16,-1 0-1,0 0-15,0 13 0,0-13 16,1 13-16,-1 0 15,0 1-15,-13-1 16,13 0-16,1 0 0,-1 14 0,13-14 16,-12 0-16,-1 14 0,13-14 0,-13 13 15,1-12-15,-1-1 0,0 13 0,0-13 16,14 1-16,-14-1 0,0 0 16,0 14-16,-13-14 0,14 0 0,-1 27 15,0-14-15,-13-13 0,0 14 16,13-1-16,-13 1 0,0-1 15,0 1-15,-13-1 0,13 1 0,0-1 16,0 1-16,-13-1 0,13 0 16,0-12-16,0 12 0,-13 1 0,13-14 15,-14 0-15,14 14 0,0-14 16,-13 0-16,0 0 0,13 0 0,-13 1 16,0-1-16,-1-13 0,1 13 0,-13 0 15,12-13-15,-12 14 0,-14-14 16,1 0-16,-28 13 0,15-13 15,-28 0-15,1 0 0,-14 0 0,-13 0 16,-26-13-16,-13 13 0,-14 0 0,0 0 16,-13 0-16,0 0 0,-26 0 0,-1 0 15,-12 13-15,-67 0 0,0 14 16,0-14-16,-13 13 0,13 1 0,0 12 16,1-12-16,-1 13 0,-13-1 15,0 1-15,0 0 0,13-1 0,-13 1 16,13 0-16</inkml:trace>
  <inkml:trace contextRef="#ctx0" brushRef="#br0" timeOffset="21598.78">9842 9631 0,'0'-27'16,"-13"27"-16,13-13 0,-13 26 47,13 1-47,0 12 0,0 1 0,0 12 15,0 1-15,0 13 0,0 0 16,0 0-16,0 0 0,0-1 0,0-12 16,0 13-16,0-13 0,0-1 0,0 1 15,13 0-15,-13-14 0,0 1 16,0-14-16,13 13 0,-13-12 0,0-1 16,14-13-16,-14-13 31</inkml:trace>
  <inkml:trace contextRef="#ctx0" brushRef="#br0" timeOffset="23532.83">9684 9485 0,'13'0'16,"-26"0"-16,39-13 0,-13 13 0,1 0 0,-1 0 15,13-13-15,1 13 0,12 0 16,1 0-16,0-13 0,13 13 0,0 0 16,0-14-16,13 14 0,0-13 15,13 13-15,1-13 0,-1 13 0,0-13 16,14 13-16,0-14 0,-1 1 0,1 13 15,-1-13-15,14 13 0,-13-13 16,238 0-16,-199 13 16,-26-14-16,26 14 0,-26 0 0,26-13 15,0 13-15,-13 0 0,-13 0 16,27-13-16,-1 13 0,0 0 16,1-13-16,-28 13 0,1 0 0,0 0 15,26-14-15,1 14 0,-14 0 0,0 0 16,-13-13-16,-1 13 0,28 0 15,-1-13-15,-26 13 0,0 0 0,26-13 16,-26 13-16,0 0 0,-1 0 0,1 0 16,0-13-16,13 13 0,-13 0 15,0 0-15,0-14 0,-1 14 0,-12 0 16,13 0-16,-13 0 0,12-13 0,-12 13 16,0 0-16,12 0 0,-12 0 15,0-13-15,-1 13 0,1 0 0,-14 0 16,14-13-16,-1 13 0,-12 0 15,-1 0-15,14 0 0,-14 0 16,0 0-16,-12 0 0,12 0 0,-13 0 16,0 0-16,-13 0 0,27 0 0,-27 0 15,13 0-15,-13 0 0,13 0 0,-13 0 16,13 0-16,-13 0 0,13 0 16,-13 0-16,0 0 0,0 0 0,0 0 15,-1 0-15,1 0 0,13 0 0,-13 0 16,-13 0-16,13 0 0,0 0 15,0 0-15,-13 0 0,-1 0 16,-12 0-16,12 0 0,-12 0 0,13 0 16,-14 0-16,0 0 0,-12 0 15,-1 0-15,13 0 0,-12 0 0,-1 0 16,0 0-16,0 0 0,1 0 16,-1 0-16,0 0 15,0 0-15,-13 13 16,13-13-16,-13 13 15,0 0-15,0 1 0,0-1 16,0 13-16,0-13 0,0 14 16,0-1-16,0 14 0,0 0 0,0-1 15,0-12-15,0-1 0,0 14 16,0 0-16,0-14 0,0 1 16,0 12-16,0-12 0,14-1 0,-14 1 15,0-1-15,0 1 0,0-1 0,13 0 16,-13-12-16,0 12 0,0-13 15,0 14-15,13-14 0,-13 0 0,0 1 16,0-1-16,0 0 0,0 0 0,13 0 16,-13 1-16,0-1 15,0 13 1,-13-26-16,13 14 0,-13-1 16,0 0-16,-1-13 15,1 13-15,0-13 0,-13 14 16,-1-14-16,-13 13 0,1 0 0,-1 0 15,-13-13-15,13 13 0,-13-13 0,1 14 16,-1-1-16,0-13 0,-13 13 16,-1 0-16,1-13 0,-13 14 0,13-14 15,-14 13-15,1 0 0,0-13 0,-1 13 16,-12-13-16,12 14 0,-12-14 16,12 13-16,-12-13 0,-1 13 15,14-13-15,-27 13 0,13-13 0,1 0 0,-1 13 16,0-13-16,1 0 15,-14 0-15,13 14 0,-12-14 0,12 0 16,0 0-16,-12 13 0,12-13 0,-13 0 0,0 0 16,14 0-16,-14 13 0,13-13 15,1 0-15,-14 0 0,13 0 16,-13 13-16,14-13 0,-1 0 0,1 0 16,-1 14-16,-13-14 0,13 0 0,1 0 15,-1 0-15,14 0 0,-14 0 16,14 0-16,0 13 0,-14-13 0,0 0 15,14 0-15,0 0 0,-1 0 0,-12 0 16,25 0-16,-25 0 0,26 0 16,-27 0-16,14 0 0,13 0 15,-14 0-15,14 0 0,0 0 0,0 0 0,0 0 16,-14 0-16,14 0 0,0 0 0,0 0 16,13 0-16,-13 0 15,0 0-15,13 0 0,0 0 0,0-13 16,-13 13-16,13 0 0,0 0 0,0 0 15,-13 0-15,13 0 0,13 0 16,-13-14-16,0 14 0,0 0 0,1 0 16,12 0-16,-13 0 0,13 0 0,1 0 15,-1 0-15,-13 0 0,13 0 16,14 0-16,-27 0 0,13 0 0,1-13 16,-1 13-16,0 0 0,14 0 0,-14 0 15,-13 0-15,27 0 0,-14 0 0,13 0 16,-12 0-16,-1 0 15,14 0-15,-27 0 0,13 0 0,14 0 16,-27 0-16,13 0 0,0 0 0,-13 13 16,14-13-16,-1 0 0,14 0 15,-1 14-15,-13-14 0,14 0 0,0 0 16,-14 0-16,13 0 0,1 13 16,-1-13-16,1 0 0,13 0 0,-14 0 15,1 0-15,-1 0 0,1 0 0,13 13 16,-14-13-16,1 0 0,-1 0 0,14 0 15,-13 0-15,-1 0 0,14 0 16,0 0-16,-1 0 0,-12 0 16,13 13-16,0-13 0,-1 0 0,1 0 15,0 0-15,0 0 0,-1 0 16,-12 0-16,13 0 16,-1 0-1,1 0-15,0 0 16,0 0-1,0 0-15,-1 0 16,1 0 15,0 0-15,0 0 15,-1-13 0,14 0-31,14 0 16,-14-1-16,0 1 0,13 0 16,-13 0-16,13-1 0,0 1 0</inkml:trace>
  <inkml:trace contextRef="#ctx0" brushRef="#br0" timeOffset="26573.58">21471 2686 0,'13'-14'31,"0"14"-31,1-13 15,-1 13-15,0 0 16,0-13-16,1 13 16,-41 13 15,14 0-31,0-13 0,-1 14 16,1-14-16,-13 13 0,12-13 0,1 13 15,0-13-15,0 13 0,0-13 16,-1 13-16,14 1 15,14-1 1,-1 0-16,0-13 16,0 0-16,0 13 0,1-13 15,-1 0-15,0 0 0,0 14 16,1-14-16,-1 13 0,0 0 16,-13 0-1,-13 1 1,0-14-16,13 13 0,-14-13 0,1 13 15,0 0-15,0-13 0,-1 13 16,1 1-16,0-14 16,0 0-16,0 13 15</inkml:trace>
  <inkml:trace contextRef="#ctx0" brushRef="#br0" timeOffset="26876.79">21590 2778 0,'13'-13'0,"-13"39"31,0-12-31,13-14 16,-13 13-16,14-13 0,-1 13 15,0-13-15,0 0 0,1 13 0,-1-13 16,0 0-16,0 0 0,1 0 15,-1-13-15,0 13 0,0 0 16,0 0-16,1-13 0,-1 0 16,-13-1-16,0 1 15,-13 0-15,-1-14 16,1 14-16,0 0 0,0 13 16,13-13-16,-13 13 0,-1 0 0,1 0 15,0 0-15,0 0 16,-1 13-16,-12 0 0,13 0 0,-1 1 15,1-1-15,-13 0 0,13 14 16</inkml:trace>
  <inkml:trace contextRef="#ctx0" brushRef="#br0" timeOffset="27068.94">21365 3069 0,'13'0'15,"14"0"-15,-14 0 16,13-13-16,-12 13 0,12 0 16,1 0-16,-14-13 0,13 13 15,14 0-15,-14-14 0,-12 14 0,39 0 16,-40 0-16,0 0 0,14 0 16</inkml:trace>
  <inkml:trace contextRef="#ctx0" brushRef="#br0" timeOffset="27619.81">21392 3201 0,'52'0'31,"-25"0"-31,-1-13 0,-12 13 0,25-13 16,-12 13-16,12-13 0,1 0 15,0-1-15,0 1 0,-1 0 0,1 0 16,-14-1-16,14 1 0,-13 0 0,-14 0 16,13-1-16,-13 1 0,14 0 15,-14 0-15,0 0 0,14-27 16,-14 13-16,0 14 0,-13-13 16,13 13-16,-13-14 0,14 14 0,-14-14 15,0 14-15,0-13 0,0 12 0,-14-12 16,1 0-16,0-1 0,0 1 15,-14-1-15,14 1 0,-13-1 0,-40-26 16,39 40-16,-13-13 16,1 12-16,12 1 0,-12 0 15,-14 0-15,-27-1 0,41 14 0,-14 14 16,13-14-16,-13 13 0,13 0 16,-26 14-16,26-14 0,-12 13 15,-41 40-15,53-39 0,1 13 16,-1-1-16,0 1 0,14 0 0,-1-1 15,1 1-15,13 0 0,-1-14 16,1 14-16,13 0 0,-13-14 16,13 14-16,13-14 0,-13 1 0,0 12 15,13-12-15,14-1 0,-14 1 0,14-1 16,-1 1-16,-13-14 0,27 13 0,-27-12 16,14-14-16,-1 13 0,-13-13 15,14 0-15,-1 0 0,1 0 0,-14 0 16,13 0-16,1-13 0,39-1 15</inkml:trace>
  <inkml:trace contextRef="#ctx0" brushRef="#br0" timeOffset="28220.74">22132 2897 0,'27'0'31,"-14"0"-16,0 0-15,1 0 0,-1 0 0,13 0 16,-13-13-16,14 13 0,-1 0 0,-12 0 16,12 0-16,-13 0 0,14-13 15,-14 13-15,13 0 0,-12 0 0,-1 0 16,0-13-16,0 13 0,1 0 16,-1-14-16,0 14 0,0-13 15</inkml:trace>
  <inkml:trace contextRef="#ctx0" brushRef="#br0" timeOffset="28480.96">22344 2738 0,'27'0'15,"12"14"1,-26-14-16,14 0 0,-14 13 0,14-13 15,-14 13-15,13 0 0,-13-13 16,14 14-16,-14-1 0,0 0 0,1-13 16,-1 13-16,0 1 0,0-1 0,-13 0 15,14 0-15,-14 0 16,0 1-16,0-1 0,0 0 16,0 0-16,0 1 15,-14-14-15</inkml:trace>
  <inkml:trace contextRef="#ctx0" brushRef="#br0" timeOffset="29960.72">23006 2196 0,'0'13'31,"0"0"-16,0 1-15,0-1 0,-14 0 16,14 0 0,0 1-16,0-1 0,0 0 15,0 0 1,-13-39 31,13-1-32,13 14-15,-13 0 16,0 0-16,0-1 16,0 1-16,0 0 15,14 39 32,-1-12-31,0-14-16,0 0 31,0 0-31,1 0 16,-1 0-16,0 0 15,0-14 1,1 14 0,-1 0-16,0 0 31,0 0-16,-13 14-15,14-14 16,-14 13 0,13-13-16,0 0 15,0 13 1,0-13-16,1 0 16,-1 0-16</inkml:trace>
  <inkml:trace contextRef="#ctx0" brushRef="#br0" timeOffset="30756.79">23429 2183 0,'-13'-13'0,"-14"26"31,14 0-31,0 0 16,13 0-1,0 1 1,13-1 0,0-13-16,0-13 31,1 13-31,-14-14 15,13 1-15,-13 0 32,13 26 15,0 0-32,1-13-15,-1 0 16,0 14-16,0-28 15,0 14-15,1 0 16,-1 0-16,-13-13 0,13 13 0,0-13 16,1 0-16,-14 0 0,0-1 15,13 14-15,-13-13 0,0 0 16,0 0-16,13-1 0,-13 1 16,0 0-16,0 0 15,0 0 1,13 39 15,-13-13-15,14-13-16,-14 13 0,13-13 15,-13 14-15,13-14 0,-13 13 16,13-13-16,0 0 31,1-13-15,-14-1-16,0 1 15,13 13-15,-13-13 16,0 0 0,13 39-1,-13-13 1,0 1-16,13-1 16,-13 0-16,14 0 15,-14 1-15,0-1 0,0 0 31,0 0-31</inkml:trace>
  <inkml:trace contextRef="#ctx0" brushRef="#br0" timeOffset="31068.65">23627 2196 0,'-13'0'16,"26"0"-16,-39 0 0,13 0 16,39-26 15,-13 26-31,1-14 15,-1 14-15,0-13 0,13 13 16,-12 0-16,-1-13 0,0 13 0,0 0 16,1 0-16,-14-13 0,13 13 0,0 0 15,0-14 1,0 14-16,1 14 16,-1-14-1,0 13 1,0 0-16,-13 0 15,0 1-15,0-1 16,0 0 0,-13-13-16,13 13 0,-13 0 15,0-13-15,13 14 0,-14-14 16,1 0-16,13 13 0,-13-13 0</inkml:trace>
  <inkml:trace contextRef="#ctx0" brushRef="#br0" timeOffset="31203.54">23892 2196 0,'13'-13'16</inkml:trace>
  <inkml:trace contextRef="#ctx0" brushRef="#br0" timeOffset="31675.89">23244 2818 0</inkml:trace>
  <inkml:trace contextRef="#ctx0" brushRef="#br0" timeOffset="31854.95">23349 3069 0,'0'13'32,"-13"-13"-32,13 14 15,-13-1 1,13 0-16</inkml:trace>
  <inkml:trace contextRef="#ctx0" brushRef="#br0" timeOffset="32012.67">23402 3426 0,'0'14'15,"0"-1"1,-13 0-16,13 0 15,-13 0-15,13 1 0,0-1 16</inkml:trace>
  <inkml:trace contextRef="#ctx0" brushRef="#br0" timeOffset="32154.71">23416 3691 0,'0'13'46,"-14"0"-30,14 1-16,0-1 0,-13-13 16,13 13-16</inkml:trace>
  <inkml:trace contextRef="#ctx0" brushRef="#br0" timeOffset="32291.7">23363 3982 0,'-14'-13'47,"14"0"-47,0-1 0</inkml:trace>
  <inkml:trace contextRef="#ctx0" brushRef="#br0" timeOffset="32472.77">23244 2831 0</inkml:trace>
  <inkml:trace contextRef="#ctx0" brushRef="#br0" timeOffset="32644.14">23521 3651 0,'-13'27'15,"13"-14"-15,0 0 16,-13 0-16,13 1 0,0-1 0,0 0 16</inkml:trace>
  <inkml:trace contextRef="#ctx0" brushRef="#br0" timeOffset="32799.78">23667 4141 0</inkml:trace>
  <inkml:trace contextRef="#ctx0" brushRef="#br0" timeOffset="39019.91">23045 926 0,'0'13'16,"0"0"-16,0 1 15,0-1-15,0 0 0,0 0 16,0 1-16,0-1 0,13 13 0,-13-12 15,0-1-15,0 13 0,0-13 16,0 1-16,0-1 0,14 0 0,-14 0 16</inkml:trace>
  <inkml:trace contextRef="#ctx0" brushRef="#br0" timeOffset="39368.69">23270 979 0,'0'-13'16,"-13"39"15,26-13-15,0 1-16,1-1 15,-1-13-15,13 0 16,1 0-1,-27-13-15,13 13 16,-13-14-16,0 1 0,13 13 16,-13-13-16,0 0 15,0-1-15,-13 14 0,13-13 16,-13 13-16,13-13 0,-14 0 16,1 13-1,0 0-15,0 0 16</inkml:trace>
  <inkml:trace contextRef="#ctx0" brushRef="#br0" timeOffset="39648.99">23455 860 0,'0'13'0,"14"0"16,-1 1-1,0-14 1,-13 13-16,13-13 0,0 0 0,1 0 16,-1 0-16,0 0 0,0-13 15,1 13-15,-14-14 0,13 14 16,-13-13-16,13 13 0,-13-13 0,0 0 16,13-1-16,-13 1 0,0 0 0,0 0 15,-13 13-15,13-13 0,0-1 16,-13 1-16,-14 13 15,14 0-15,0 13 16,-14 1-16,1-1 0,0 0 16,-14 13-16</inkml:trace>
  <inkml:trace contextRef="#ctx0" brushRef="#br0" timeOffset="40216.92">23006 1468 0,'39'14'0,"-78"-28"0,105 28 0,-40-14 0,1 0 15,-14 0-15,13 0 0,14 0 16,-14 0-16,14-14 0,13 14 0,-13-13 16,13 0-16,0 0 0,-1 0 15,1-14-15,0 14 0,0-14 0,0 1 16,26-27-16,-26 27 0,-26-1 15,-1 1-15,14-1 0,-14 1 16,-12-1-16,12-12 0,-13 12 0,1 1 16,-1-1-16,0 1 0,-13 12 15,0-12-15,0 0 0,0-14 0,0 13 0,-13-12 16,0-1-16,-1 14 16,1-14-16,-13 13 0,12-12 0,-12 12 15,-14-12-15,1 12 0,-1 1 0,-13-1 16,0 1-16,13-1 0,-12 14 15,12 0-15,-13 0 0,0-1 0,0 14 16,0 0-16,-26 0 0,13 0 0,-14 14 16,14 12-16,0-13 0,0 14 15,0 12-15,13-12 0,-13 13 0,-40 52 16,53-39-16,13 0 0,-13 0 16,27 0-16,-14 0 0,14-14 15,-1 14-15,1 0 0,26 0 16,-13-13-16,13 0 0,0-1 0,0 1 15,13 0-15,0-14 0,27 27 16,-14-26-16,14 12 0,-1-12 0,14-1 16,-13-13-16,13 1 0,0-1 0,0 0 15,0-13-15,0 0 0,0 0 16,0 0-16,-14-13 0,14 13 0,-13-13 16,13-1-16,-14-12 0,14-1 15,-13 14-15,0-13 0,-14 13 0</inkml:trace>
  <inkml:trace contextRef="#ctx0" brushRef="#br0" timeOffset="41544.9">23574 5292 0,'-13'-14'15,"0"41"17,0-27-32,13 13 0,-14 14 0,14-14 15,-13 0-15,13 14 0,-13 12 16,13-12-16,0-14 0,-13 27 16,13-27-16,13 13 0,-13-13 15,0 1-15,0-1 0,13-13 16,-13 13-16,13 0 0,1 1 15,-1-14-15,0 0 0,0 0 16,1 0-16,-1 0 16,-13-14-16,13 14 0,-13-13 0,13 13 15,1-13-15,-14 0 16,0-1 0,0 1-16,-14 0 0,1 0 15,0 0-15,0 13 16,-14-14-1,1 14 1,12 0-16,14 14 16,-13-14-16</inkml:trace>
  <inkml:trace contextRef="#ctx0" brushRef="#br0" timeOffset="42380.69">23865 5371 0,'14'-13'0,"-1"0"0,0 13 32,-13-14-32,13 14 0,1 0 15,-41 0 32,14 14-47,0-14 16,-14 0-16,14 13 15,0-13-15,-1 13 0,1-13 0,-13 0 16,13 13-16,-1-13 0,14 14 0,-13-14 16,0 13-16,0 0 15,13 0 1,13-13-16,-13 13 16,13-13-16,0 0 0,1 0 15,-1 0-15,0 14 0,0-14 0,0 0 16,1 13-16,-1-13 0,0 0 15,-13 13-15,13-13 0,1 13 16,-28 1 0,14-1-16,-13-13 0,13 13 15,-13-13-15,0 13 0,-1 0 0,1-13 16,0 14-16,0-14 0,0 0 16,-1 13-16,1-13 0,0 0 15,13 13-15,-13-13 0,-1 0 0,14 13 16,-13-13-16,0 14 15,13-1-15,-13-13 0</inkml:trace>
  <inkml:trace contextRef="#ctx0" brushRef="#br0" timeOffset="43879.64">23455 5887 0,'40'-13'31,"-27"13"-31,0 0 16,1 0-16,-1 0 0,13-13 0,-12 13 15,-1 0-15,0 0 0,14-14 0,-14 14 16,13 0-16,-13 0 0,1 0 16,-1-13-16,0 13 0,14 0 0,-14 0 15,0 0-15,13-13 0,-12 13 16,-1 0-16,0 0 0,0-13 15,1 13-15,-1 0 0,0 0 16,0 0-16,14-14 0,-14 14 0,0 0 16,0 0-16,1 0 0,-14-13 0,13 13 15,0 0-15,0 0 0,1 0 16,-1-13-16,0 13 16,0-13-16,1 13 15,-14-14-15,0 1 16,13 13-16,-13-13 0,0 0 0,0 0 15,13-1-15,-13 1 0,0 0 16,0 0-16,0-1 16,0-12-16,0 13 0,0-14 0,0 1 15,0 13-15,-13-14 0,13 1 0,0-1 16,0 1-16,-13-1 0,13 14 0,0-13 16,-14-1-16,14 1 0,-13 12 15,13 1-15,0-13 0,-13 13 0,13-1 16,0 1-16,0 0 0,-13 0 0,13-1 15,0 1-15,0 0 16,-14 0-16,14-1 16,0 1-1,-13 13 1,0 0 15,0 0-15,-1 13-1,1-13-15,0 0 0,0 0 0,0 0 16,-1 0-16,1 0 0,0 14 0,-14-14 16,14 0-16,-13 0 0,12 13 15,-12-13-15,13 0 0,-14 0 0,14 13 16,-13-13-16,12 0 0,-12 0 0,0 13 16,12-13-16,1 0 0,-13 0 15,12 0-15,1 14 0,-13-14 0,12 0 16,1 0-16,0 13 0,0-13 15,0 0-15,-1 0 0,1 13 16,0-13-16,0 0 0,-1 0 0,1 0 16,13 13-16,-13-13 0,0 0 0,-1 0 15,1 14 1,0-14-16,0 13 16,0-13 15,13 13-31,0 0 15,0 0-15,0 1 16,0-1-16,0 0 0,-14 0 16,14 1-16,0 12 0,0-13 15,0 14-15,0-14 0,0 13 0,0 1 16,0-14-16,0 14 0,0-1 0,0-13 16,0 14-16,0-1 0,0-13 15,14 27-15,-14-13 0,0-14 16,0 0-16,0 0 0,0 0 15,0 1-15,0-1 16,0 0-16,0 0 16,13-13-16,-13 14 15,0-1-15,0 0 32,0 0-17,-13-13 1,13 14-1,-14-1 1,28 0 31,-1-13-47,0 0 16,0 0-1,0 0-15,1 0 0,-1 0 16,0 0-16,0 0 15,1 0-15,-1 0 16,0 0-16,0 0 16,1 0-16,-1 0 15,0 0 1,0 0 15</inkml:trace>
  <inkml:trace contextRef="#ctx0" brushRef="#br0" timeOffset="44885.28">21444 6668 0,'-13'13'15,"0"0"1,13 0-16,0 0 16,0 1-1,-13-1-15,13 0 16,0 0-1,0-52 17,13 25-17,-13 1-15,0 0 0,0 0 16,0 0-16,0-1 0,13 1 16,-13 0-16,0 0 15,13 13 1,-13 13-1,14-13-15,-14 13 16,13 0-16,0 1 16,0-14-1,-13 13-15,14-13 0,-1 0 16,0-13 0,0 13-16,1-14 0,-1 1 15,0 0-15,-13 0 16,13-1-16,0 14 15,1 0 17,-14 14-32,0-1 15,0 0-15,13-13 0,-13 13 16,0 1-16,0-1 0,0 0 16,0 0-16,0 0 0,0 1 15,0-1-15,13 0 0,-13 0 16,13-13-16,1 0 15,-1 0 1</inkml:trace>
  <inkml:trace contextRef="#ctx0" brushRef="#br0" timeOffset="45321.65">21828 6641 0,'0'-13'16,"-13"39"-1,0-12 1,13-1-16,0 0 16,0 0-16,-14 0 0,14 1 15,0-1-15,0 0 16,0-53 31,14 27-47,-14 0 15,13 0-15,-13 0 0,13-1 0,-13 1 16,13 0-16,1 0 0,-1 13 0,0-14 16,0 14-16,1-13 0,-1 13 15,0 13-15,0-13 0,0 14 16,1-14-16,-1 13 0,-13 0 16,13-13-16,-13 13 0,0 1 0,0-1 15,0 0-15,0 0 0,-13 0 16,13 1-16,-13-1 0,13 0 0,-14-13 15,1 13-15,0 1 16,0-14-16,0 13 16,-1-13-16</inkml:trace>
  <inkml:trace contextRef="#ctx0" brushRef="#br0" timeOffset="45600.2">22344 6654 0,'13'-13'15,"1"13"1,-1 0-16,0-13 0,0 13 0,0 0 16,1 0-16,-1 0 0,0 0 15,0 0-15,1 0 0,-1 0 16</inkml:trace>
  <inkml:trace contextRef="#ctx0" brushRef="#br0" timeOffset="45788.83">22371 6747 0,'0'0'16,"26"-13"15,-13 13-31,0 0 15,1-14-15,-1 14 0,0 0 16,0-13-16,1 13 16,-1 0-16,0 0 0,0 0 0,0-13 15</inkml:trace>
  <inkml:trace contextRef="#ctx0" brushRef="#br0" timeOffset="46569.43">22953 6535 0,'13'0'16,"-26"0"-16,39-13 0,1 13 15,-14 13 1,0-13-16,-13 13 0,0 1 16,0-1-16,-13 0 15,13 0-15,-13 1 16,-1-14-16,14 13 0,-13 0 0,0-13 15,13 13-15,-13-13 0,-1 14 0,14-1 16,-13-13 0,13 13-16,-13-13 15,39 0 17,-12 0-32,-1 0 15,0 0-15,0 0 16,-13-13-16,14 13 0,-1 0 15,0 0-15,-13-13 0,13 13 16,0 0-16,1-14 0,-1 14 0,13-13 0,-12 13 16,-1-13-16,0 13 0,0-13 15,1-1-15,-1 14 16,-13-13-16,13 13 0,0-13 16,-13 0-1,-13 39 16,13-13-15,13 1 0,0-1-1,1-13-15,-1 0 0,13 0 16,-12 0 0,-14-13-16,13 13 0,0 0 0,-13-14 15,13 14-15,-13-13 0,13 0 0,-13 0 16,0-1-1,0 1-15,0 0 16,-13 13-16,13-13 16,-13 13-16,-13 13 15,12-13-15,1 13 16,0 0-16,0-13 0,-14 14 0,14-1 16,0 0-16</inkml:trace>
  <inkml:trace contextRef="#ctx0" brushRef="#br0" timeOffset="47813.5">22873 6932 0,'40'0'15,"-80"0"-15,106 0 0,-52 0 0,12 0 16,1 0-16,-1 0 0,0 0 0,1 0 16,26 0-16,-13-13 0,-1 13 0,1-13 15,0 13-15,-1-14 0,1 14 16,0-13-16,-1 0 0,1 0 0,26-14 15,-39 14-15,-1 0 0,1 0 16,-14-1-16,13 1 0,1-13 16,-14 12-16,0 1 0,-13-13 15,13 13-15,-13-1 0,0 1 0,0 0 16,0-14-16,0 14 0,-13 0 16,13-14-16,-13 14 0,0 0 15,-1-13-15,1 12 0,-13 1 0,-1-13 16,14 12-16,-27-12 0,14 13 0,-1-1 15,1-12-15,-14 13 0,14 0 16,-14-1-16,0 1 0,14 0 16,-14 0-16,1-1 0,-1 1 0,0 0 15,1 0-15,12-1 0,1 14 0,-1-13 16,1 13-16,-1-13 0,1 13 16,-1-13-16,1 13 0,-14 0 0,14-13 0,-1 13 15,-12 0-15,12 0 16,-13 0-16,1 0 0,12 0 0,-52 0 15,39 0-15,1 0 0,-14 0 16,13 0-16,14 0 0,-14 0 0,13 0 16,-12 0-16,12 13 0,-26-13 15,14 0-15,-1 0 0,-13 13 0,13-13 16,-13 13-16,14-13 0,-1 13 0,0-13 16,1 14-16,-1-14 0,0 13 15,14-13-15,-1 0 0,-12 13 0,12-13 16,-12 13-16,12 1 0,-13-1 15,14-13-15,-1 13 0,1 0 16,13-13-16,-14 14 0,-12-1 0,12 0 16,14 0-16,-14 0 0,1 1 0,13-1 15,0 0-15,-14 0 0,14 1 16,-14-1-16,14 0 0,0 0 0,-13 1 16,12-1-16,1 0 0,0 0 0,0 0 15,-1 1-15,1 12 0,0-13 0,0 1 16,-1 12-16,14-13 0,-13 14 15,0-14-15,13 13 0,0-12 0,0-1 16,-13 13-16,13-12 0,13 12 0,-13-13 16,0 0-16,13 14 0,-13-14 15,13 0-15,1 14 0,-1-14 0,0 0 16,0 1-16,1 12 0,12-26 16,-13 13-16,14 0 0,-1 1 15,1-14-15,-1 13 0,14-13 0,-14 0 16,27 13-16,-13-13 0,0 0 0,12 0 15,1 0-15,0-13 0,0 13 0,-13 0 16,13 0-16,0 0 0,0-13 16,-14 13-16,1 0 0,13 0 15,-13-14-15,-1 14 0,1 0 0,0-13 16,-14 13-16,27 0 0,-26-13 16,12 13-16,-12 0 0,12 0 0,-12-13 15,-1 13-15,1 0 0,-1 0 0,1 0 0,-1 0 16,1 0-16,-14-13 0,0 13 15,0 0-15,0 0 0,14 0 16,-14 0-16,0 0 16,1 0-16,-1 0 15,0 0 1,0 0 0,1 0 15,-41-14 31,14 14-62,0 0 16,-1 0-16</inkml:trace>
  <inkml:trace contextRef="#ctx0" brushRef="#br0" timeOffset="57193.32">22635 6945 0,'27'0'31,"-14"0"-31,0 14 16,0-14-16,0 0 0,1 0 0,-1 0 15,0 0-15,0 13 0,1-13 0,12 0 16,-13 0-16,1 0 0,-1 0 15,0 0-15,-39 13 47,12-13-47,1 0 0,0 0 16,0 0-16,-14 0 0,14 0 0,0 0 16,-1 0-16,1 0 0,0 0 15,0 0-15,52 0 47,-25 0-47,-1 0 0,13 0 0,-12 0 16,-1 0-16,0 0 0,0 0 0,1 0 15,12 0 1,-52 0 31,12 0-32,1 0-15,53 0 63,-27 0-47,0 0-1,0 0 1,1 0 46</inkml:trace>
  <inkml:trace contextRef="#ctx0" brushRef="#br0" timeOffset="60904.82">21855 6747 0,'-14'26'63,"14"-12"-63,-13-1 16,13 0-16,-13 0 15,13 0-15,-13-13 16,13 14-16,-14-1 15</inkml:trace>
  <inkml:trace contextRef="#ctx0" brushRef="#br0" timeOffset="61301.8">21828 6601 0,'0'-13'16,"13"0"-16,1 13 15,-1 0 1,0-13-16,0 13 0,1 0 0,-1 0 16,0 13-16,13-13 0,-12 13 15,-1-13-15,0 13 16,14 1-16,-14 12 0,0-26 16,-13 13-16,13 14 0,-13-14 15,0 0-15,-13 0 16,13 1-16,-13-1 0,0 0 15,-1 0-15,1 1 0,0-1 0,-14 0 16,14-13-16,-13 13 0,13-13 0,-1 0 16,1 13-16,0-13 0,0 0 15,-1-13-15,1 13 0</inkml:trace>
  <inkml:trace contextRef="#ctx0" brushRef="#br0" timeOffset="62208.83">23363 5675 0,'0'-13'31,"-14"13"-15,14-13-1,-13 13-15,0 0 16,13-13-16,-13 13 16,0 0-16,-1 13 15,1-13-15,0 0 0,0 13 16,-14-13-16,14 13 0,0 1 16,-14-1-16,14 0 0,-13 13 0,-1-12 15,14 12-15,-14-13 0,14 14 16,-13-1-16,13-12 0,-1-1 15,-12 13-15,13-13 0,-1 1 16,1-1-16,13 0 0,-13-13 16,13 13-16,-13-13 0,13 14 0,-14-1 15,54-26 32</inkml:trace>
  <inkml:trace contextRef="#ctx0" brushRef="#br0" timeOffset="63340.54">23138 5583 0,'0'-14'16,"13"14"-1,0 0 1,1 0-16,-1-13 0,0 13 16,0 0-16,0 0 0,1 0 0,-1 0 15,0 0-15,0 0 0,1 0 16,-14-13-16,13 13 0,0 0 16,0 0-16,0 0 15,1 13 16,-1 0-15,-13 1 0,-13-1-16,13 0 0,0 0 15,0 1-15,0-1 0,-14 0 0,14 0 16,0 1-16,0-1 0,-13 0 16,13 0-16,0 0 0,0 1 0,0-1 15,-13-13-15,13 13 0,0 0 0,0 1 31,0-1-31,-13 0 16,13 0 15,0 1 16,0-1 31,13-40 297,0 14-359,0 13 0</inkml:trace>
  <inkml:trace contextRef="#ctx0" brushRef="#br0" timeOffset="65183.03">22542 7104 0,'-26'40'15,"26"-1"1,-13 14-16,13-26 16,0-1-16,-13 1 0,13-1 15,0 1-15,0-1 0,0 1 0,-14-1 16,14 0-16,0 1 0,0-1 15,0-12-15,0-1 0,0 13 0,0-12 0,-13-1 16,13 0-16,0 0 0,0 0 16,0 1-16,-13-14 15,13 13-15</inkml:trace>
  <inkml:trace contextRef="#ctx0" brushRef="#br0" timeOffset="65444.5">22609 7131 0,'-40'13'16,"27"0"-16,-1-13 0,1 13 15,0 0-15,0 1 0,0-1 0,-1 13 16,1-12-16,-13-1 0,12 0 16,1 13-16,0-12 0,0-1 0,0 0 15,13 0-15,-14-13 0,1 14 16,13-1 0</inkml:trace>
  <inkml:trace contextRef="#ctx0" brushRef="#br0" timeOffset="65693.57">22463 7144 0,'27'13'0,"-14"-13"16,0 13-16,0-13 15,0 0-15,1 13 0,-1 1 0,13-14 16,-12 13-16,-1 0 0,0-13 15,0 13-15,1-13 0,-1 14 16,0-1-16,0-13 0,0 13 0,1-13 16,-1 13-16,0-13 0,0 13 15,1-13 1,-1 0 0</inkml:trace>
  <inkml:trace contextRef="#ctx0" brushRef="#br0" timeOffset="67700.88">21537 8546 0,'13'-13'15,"1"13"-15,-1 0 16,0 0-16,0 0 16,-13 13-16,13-13 0,-13 13 0,0 14 15,-13-14 1,13 0-16,-13-13 15,0 13-15,13 1 0,-13-14 0,13 13 16,-14-13-16,14 13 0,-13-13 0,13 13 16,13-13-1,1 14 1,-1-14-16,0 13 0,0-13 16,0 0-16,-13 13 0,14-13 15,-14 13 1,0 0-16,0 1 15,-14-1-15,1-13 16,13 13-16,-13-13 0,0 0 16,0 13-16,-1-13 0,1 0 15,13 14-15,-13-14 0</inkml:trace>
  <inkml:trace contextRef="#ctx0" brushRef="#br0" timeOffset="68052.28">21749 8599 0,'-13'-13'32,"-1"26"-32,1-13 0,0 26 15,13-12-15,-13-1 16,13 0-16,0 0 0,0 1 0,0-1 15,13 0-15,-13 0 0,13-13 16,-13 13-16,13-13 0,1 0 16,-1 0-16,0 0 0,0 0 0,0 0 15,1 0-15,-1-13 0,0 13 0,0-13 16,-13 0-16,14 13 0,-14-13 16,0-1-16,0 1 15,0 0-15,-14 13 0,14-13 0,-13 13 16,13-14-16,-13 14 0,13-13 15,-13 13-15,-1 0 0,1 0 16,0 0-16,0 0 0,13 13 16,-13-13-16,-1 14 15</inkml:trace>
  <inkml:trace contextRef="#ctx0" brushRef="#br0" timeOffset="70264.63">21722 10544 0,'0'0'0,"0"-14"0,0 1 0,-13 0 15,0 13 1,0 0-1,-1 0-15,1 13 0,0-13 0,0 13 16,-14 1-16,14-1 0,0 0 0,0 0 16,-1 1-16,1 12 0,0-26 15,13 13-15,-13 0 0,13 1 0,0-1 16,13-13 0,0 0-16,0 0 15,1-13-15,-1 13 0,0-14 0,0 1 16,0 13-16,-13-13 0,14 13 15,-1-13-15,0 0 0,0 13 16,1 13 0,-14 0-16,0 0 15,0 0-15,0 14 0,0-14 0,-14 14 16,14-1-16,0 1 0,0-1 16,0-13-16,0 14 0,0-14 0,0 13 15,0-12-15,0-1 0,0 0 0,0 0 16,14 1-16,-1-14 15,0-14 1</inkml:trace>
  <inkml:trace contextRef="#ctx0" brushRef="#br0" timeOffset="70596.75">21762 10716 0,'0'0'0,"13"-14"0,-13 1 0,13 13 0,-13-13 15,14 13-15,-1-13 16,0 13-16,0 0 16,1 13-1,-1-13 1,-13 13-16,0 0 0,0 1 15,0-1-15,0 0 0,0 0 0,-13 14 16,13-14-16,0 13 0,-14-12 0,14 12 16,-13-13-16,13 14 0,-13-14 15,13 0-15,0 1 0,-13-1 0,13 0 16,0 0-16,0 0 0,0 1 16,0-1-1</inkml:trace>
  <inkml:trace contextRef="#ctx0" brushRef="#br0" timeOffset="70809.09">21762 10888 0,'13'-14'31,"0"14"-15,1-13-16,-1 13 0,0 0 0,0 0 15,1 0-15,-1 0 0,0-13 0,0 13 16,1 0-16,-1-13 16,13-1-16,-13 14 15,1-13-15,-1 0 0,0 0 16,0 13-16</inkml:trace>
  <inkml:trace contextRef="#ctx0" brushRef="#br0" timeOffset="71439.85">22159 8718 0,'13'-13'16,"0"0"-16,1 13 16,-1 0-16,-13-14 15,13 14-15,0 0 0,0 0 0,1 0 16</inkml:trace>
  <inkml:trace contextRef="#ctx0" brushRef="#br0" timeOffset="71608.17">22159 8824 0,'-13'13'16,"39"-26"0,-13 13-16,1 0 0,-1 0 15,-13-13-15,13 13 16,0 0-16,0-14 0,1 14 0</inkml:trace>
  <inkml:trace contextRef="#ctx0" brushRef="#br0" timeOffset="74072.64">22807 8559 0,'27'-13'47,"-14"13"-31,0 0-1,-13 13-15,13-13 0,-13 13 16,-13 1-16,13-1 15,-13 0-15,0 0 16,13 1-16,-14-1 0,14 0 16,0 0-1,14-13 1,-1 14 0,0-14-16,-13 13 0,13-13 15,0 13-15,-13 0 16,14-13-1,-28 13-15,14 1 16,-13-1-16,0-13 0,0 13 16,0 0-16,-1-13 15,1 0-15,0 0 16</inkml:trace>
  <inkml:trace contextRef="#ctx0" brushRef="#br0" timeOffset="74419.74">23138 8559 0,'-40'0'16,"27"0"-16,0 0 15,-1 13-15,1-13 0,0 0 16,13 14-16,-13-14 0,13 13 16,-13-13-16,13 13 0,0 0 15,13 1-15,-13-1 16,13-13-16,-13 13 0,0 0 16,13 1-16,0-1 0,-13 0 15,0 0-15,0 0 16,-13-13-16,13 14 0,-13-14 15,13 13-15,-13-13 0,0 13 0,-1-13 16,1 13-16,0-13 0,0 14 16,-1-1-16,1-13 0,0 13 15,0 0-15</inkml:trace>
  <inkml:trace contextRef="#ctx0" brushRef="#br0" timeOffset="74979.5">22291 10808 0,'13'0'0,"-13"-13"15,40 0 1,-27 13-16,1-13 16,-1 13-16,0-14 0,0 14 15,0 0 1</inkml:trace>
  <inkml:trace contextRef="#ctx0" brushRef="#br0" timeOffset="75188">22265 10901 0,'0'13'0,"13"-13"47,13-13-32,-12 13-15,-1 0 0,0 0 0,0 0 16,1 0-16,-1 0 0,0-13 16,0 13-16,0 0 0,1 0 15,-1 0-15,0-14 16,0 14-16</inkml:trace>
  <inkml:trace contextRef="#ctx0" brushRef="#br0" timeOffset="79233.81">22992 10649 0,'0'0'0,"27"0"0,-14 0 15,0 0 1,-13 14-16,13-1 16,-13 0-16,-13 0 0,13 1 15,0-1-15,-13 0 16,13 0-16,-13 1 16,13-1-16,13-13 15,-13 13-15,13 0 16,0-13-16,1 13 15,-1-13-15,-13 14 0,13-14 16,-13 13-16,13-13 0,-13 13 16,0 0-16,-13-13 15,13 14-15,-13-14 0,13 13 16,-13-13-16,-1 13 0,1-13 16,0 0-16,13 13 0,-13-13 15,0 0-15,-1 0 0</inkml:trace>
  <inkml:trace contextRef="#ctx0" brushRef="#br0" timeOffset="79653.69">23178 10716 0,'26'-14'16,"14"28"0,-27-1-1,-13 0-15,0 0 16,0 1-16,0-1 0,0 13 15,-13-13-15,-1 1 0,14-1 0,-13-13 16,13 13-16,0 0 0,-13 1 16,13-1-1,13-13-15,-13 13 16,13-13-16,1 0 16,-1-13-16,0 13 0,0 0 15,14 0-15,-14 0 16,0 0-1,0 0 1,-13 13 0</inkml:trace>
  <inkml:trace contextRef="#ctx0" brushRef="#br0" timeOffset="81419.97">23244 8572 0,'26'0'0,"53"-13"31,-65 13-31,-1-13 0,13 13 0,-12 0 16,-1 0-16,0 0 0,0-13 15,1 13-15,-1 0 16,0 13-16,0-13 16,-13 13-16,0 0 15,0 1-15,0-1 0,0 0 0,13 0 0,-13 1 16,0 12-16,0-13 0,0 14 16,0-1-16,-13 1 0,13-1 15,13 14-15,-13 0 0,0-14 0,0 14 16,14-1-16,-14 1 0,13 0 0,-13-1 15,13 1-15,-13 0 0,13 0 0,-13 12 16,0-12-16,14 0 0,-14 13 16,13-14-16,-13 1 0,13 13 0,-13-13 15,13-1-15,-13 1 0,14 13 0,-14-13 16,13-1-16,0 1 0,0 0 16,-13-1-16,13 1 0,1 0 0,-1-1 15,0-12-15,-13 13 0,13-1 0,1-12 16,-1-1-16,-13 1 0,13-1 15,-13 1-15,13-1 0,0 1 16,-13-1-16,14-13 0,-14 14 0,13-1 16,-13-13-16,13 1 0,-13 12 0,13-13 15,-13 1-15,14-1 0,-14 0 0,0 0 16,13 0-16,-13 1 0,0-1 16,13 0-16,-13 0 0,13 1 15,-13-1-15,0 0 0,14 0 16,-14 0-1,0 1-15,0-1 16,13-13 0,-13 13-1,-13-13 1,-1 13-16,1-13 16,0 0-16,0 0 0,-14 0 0,1 14 15,-1-14-15,1 0 0,-14 13 0,14-13 16,-1 0-16,-12 0 0,12 0 15,1 0-15,12 0 0,-12 0 0,13-13 16,-14-1-16,14 14 0,0-26 0,13 13 16,-13-1-16,13-12 0,0 13 15,13-14-15,0-12 0</inkml:trace>
  <inkml:trace contextRef="#ctx0" brushRef="#br0" timeOffset="81885.62">23905 9710 0,'-13'0'0,"39"-13"31,-12 13-31,12 0 16,0-13-16,1 13 0,-1 0 0,14-13 15,-13 13-15,-1 0 0,14 0 0,-14 0 16,1 0-16,-14-14 0,13 14 16,1 0-16,-14 0 0,0 0 0,0 0 15,1 0-15,-1 0 0,0-13 16,0 13-16,1-13 15</inkml:trace>
  <inkml:trace contextRef="#ctx0" brushRef="#br0" timeOffset="82188.75">24276 9485 0,'0'-13'0,"26"13"47,-13 13-47,0-13 0,1 14 15,-1-1-15,0-13 0,0 13 16,1 0-16,-1 0 0,0-13 0,0 14 16,-13-1-16,14 0 0,-14 0 15,13 1-15,-13-1 0,0 0 16,0 0-16,0 1 0,-13-1 15,-1 0-15,14 0 16,-13-13-16,13 13 0,-13-13 16</inkml:trace>
  <inkml:trace contextRef="#ctx0" brushRef="#br0" timeOffset="82930.57">24527 9618 0,'0'-14'16,"0"28"-16,13-28 0,0 14 0,-13-13 15,14 0-15,-1 13 16,-13-13-16,13 13 0,-13-14 0,13 1 16,0 0-16,1 0 0,-1 0 15,-13-1-15,13 1 0,0 0 16,1-14-16,-1 14 0,-13 0 16,13 0-16,-13-1 0,13-12 0,-13 13 15,14 0-15,-14-1 0,0-12 0,13 13 16,-13-14-16,0 1 0,0-1 15,0 1-15,0-1 0,0 1 0,-13-1 16,13-12-16,0-1 0,-14 0 0,14 14 16,-13-14-16,0 1 0,0 12 15,13-13-15,-14 14 0,1-14 0,0 1 16,0 12-16,-1-13 0,-12 14 0,13-14 16,0 14-16,-1-14 0,-12 14 15,13-14-15,-1 14 0,1-14 0,-13 13 16,13 1-16,-14-14 0,14 14 15,-14-1-15,14 1 0,-13-1 0,-1-12 16,14 12-16,-13 1 0,12-1 16,-12 1-16,-1-1 0,14 1 0,-13 0 15,12-1-15,-12 14 0,13-14 0,0 14 16,-1-13-16,-12-1 0,13 14 16,-1-13-16,1 12 0,0 1 15,0-13-15,-1 12 0,1 1 0,0 0 0,0 0 16,-14-14-16,14 14 0,0 0 0,0 0 15,-1-1-15,1 1 16,0 0-16,0 0 0,-1-1 0,1 14 16,0-13-16,0 0 0,13 0 0,-13-1 15,-1 1-15,1 0 0,13 0 16,-13 13-16,0-13 0,13-1 16,-14 14-16,14-13 0,-13 13 15,13-13-15,-13 13 0,13-13 16,-13 13-1,13-14-15,-13 14 16</inkml:trace>
  <inkml:trace contextRef="#ctx0" brushRef="#br0" timeOffset="83440.5">23680 7382 0,'-26'13'32,"13"0"-32,-1 1 15,14-1-15,-13 0 0,13 0 16,0 0-16,-13-13 0,13 14 15,0-1-15,-13 0 0,13 0 0,0 1 16,0-1-16,0 0 0,-14 0 16,14 1-16,0-1 15,0-53 32,0 27-47,0 0 0,0-1 0,0-12 16,14 13-16,-14-14 0,0 14 0,13-13 15,-13 12-15,0 1 0,13 0 16,-13 0-16,0-1 0,13 1 16,-13 0-16,14 0 0,-1-1 15,0 14-15,0 0 16,0 0-16,14 0 16,-14 0-16,0 0 0,1 0 0,-1 0 15,13 0-15,-13 0 0,1 14 0,-1-14 16,13 0-16,-12 0 0,-1 0 15,0 0-15,0 13 0,1-13 16,-1 0-16,0 0 0,0 13 16,0-13-16,1 0 31</inkml:trace>
</inkml:ink>
</file>

<file path=ppt/ink/ink15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1:35.562"/>
    </inkml:context>
    <inkml:brush xml:id="br0">
      <inkml:brushProperty name="width" value="0.05292" units="cm"/>
      <inkml:brushProperty name="height" value="0.05292" units="cm"/>
      <inkml:brushProperty name="color" value="#0070C0"/>
    </inkml:brush>
  </inkml:definitions>
  <inkml:trace contextRef="#ctx0" brushRef="#br0">6085 2580 0,'0'13'31,"-13"93"-15,13 13-16,0 0 16,0 26-16,0 14 15,0 40-15,-13-27 16,-14 66-16,27-53 16,-26-53-16,13-13 15,0-13 1,-14-13-16,27-40 15,0-27-15,-13 14 0,13-27 16,0 13-16,0-12 16,-13-14 62</inkml:trace>
  <inkml:trace contextRef="#ctx0" brushRef="#br0" timeOffset="3453.61">12885 3717 0,'-13'-13'16,"13"0"-16,-13 13 15,13-13-15,-13 13 16,26-14 15,0 14-31,0 0 0,0 0 16,1 0-16,12 0 0,1 0 16,-1 0-16,27-13 0,-27 13 15,1 0-15,-1 0 0,1 0 0,-1 0 16,-13 0-16,14 0 0,-14 0 0,14 0 15,-14 0-15,0 0 0,0 0 16,1 0-16,-1 0 31</inkml:trace>
  <inkml:trace contextRef="#ctx0" brushRef="#br0" timeOffset="3757.81">13031 3532 0,'-66'13'16,"52"-13"-16,-12 14 15,13-1-15,-1 0 0,-12 0 0,13 1 16,0 12-16,-1-13 15,1 0-15,0 1 0,13-1 0,-13 0 16,13 0-16,0 1 0,13-1 16,-13 0-16,13-13 0,0 13 15,1-13-15,-1 14 0,13-14 0,-13 13 16,14-13-16,-14 0 0,14 13 16,-1-13-16,-13 0 0,1 0 0,12 0 15,-13 0-15,0 0 0,-13 13 0,14-13 16,-1 0-16</inkml:trace>
  <inkml:trace contextRef="#ctx0" brushRef="#br0" timeOffset="4656.43">11284 3519 0,'-13'-13'16,"13"-1"-16,0 1 0,0 0 15,0 0-15,-13 0 0,13-1 0,0 1 16,-13-13-16,13 12 0,0 1 0,-13-13 16,13 13-16,-14-14 0,14 14 15,0 0-15,-13-14 0,13 14 0,0 0 16,-13-1-16,13 1 0,0 0 0,0 0 16,-13 0-1,13-1 1,-14 14-1</inkml:trace>
  <inkml:trace contextRef="#ctx0" brushRef="#br0" timeOffset="4828.97">11179 3122 0,'13'0'16,"-26"27"31,-1-14-47,14 0 0,-13-13 15,13 13-15,0 0 0,-13 1 0,13-1 16,-13-13-16,13 13 0,0 0 16,-14 1-1</inkml:trace>
  <inkml:trace contextRef="#ctx0" brushRef="#br0" timeOffset="5012.59">11139 3109 0,'0'-13'31,"13"13"-31,14 0 16,-14 13-16,0-13 16,0 0-16,1 0 0,-1 13 0,0-13 15,0 0-15,0 13 0,1-13 16,-1 14-16,0-14 0,-13 13 15,13-13-15</inkml:trace>
  <inkml:trace contextRef="#ctx0" brushRef="#br0" timeOffset="5712.89">10504 2831 0,'-13'0'0,"13"-13"32,13 26-17,0 0-15,0 1 0,-13-1 16,14 13-16,-1-13 0,0 14 15,0-14-15,1 0 0,-1 14 0,0-14 16,0 0-16,0 0 0,1-13 0,-14 14 16,13-14-16,-13 13 0,13-13 15,0 0-15,1 0 16,-14-13-16,13-1 16,-13 1-16,0 0 0,-13-13 15,13 12-15,0-12 0,0-1 0,-14 1 16,14 0-16,-13-1 0,13 14 15,0-14-15,-13 14 0,13 0 16,0 0-16,-13-1 0,13 1 0,26 26 47</inkml:trace>
  <inkml:trace contextRef="#ctx0" brushRef="#br0" timeOffset="6809.51">10835 2752 0,'-14'26'47,"14"-13"-47,-13 1 15,13-1-15,13 0 16,-13 0-1,0 1-15,14-14 0,-1 0 16,0 0 0,-13-14-1,0 1-15,13 13 0,-13-13 0,0 0 16,0-1-16,0 1 0,0 0 16,0 0-1,14 26 32,-1 0-47,0 0 16,0-13-1,1 14-15,-1-28 16,0 14-16,-13-13 16,13 13-16,-13-13 0,0 0 15,0-1-15,0 1 0,0 0 0,0 0 16,-13-14-16,13 1 15,0 13-15,-13-14 0,13 14 0,-13-14 16,13 14-16,-14 0 0,14 0 0,0 0 16,-13 13-16,13-14 0,-13 1 15,26 53 17,-13-27-32,13 0 0,-13 0 15,0 1-15,14 12 0,-1-13 16,-13 1-16,13-1 0,0 0 0,0 0 15,1 1-15,-14-1 0,13-13 0,0 13 16,0-13-16,-13 13 0,14-13 16,-1 0-1,0 0-15,-13-13 0,0 0 16,13 0-16,-13-1 16,0 1-16,0 0 15,0 0-15,0-1 16,27 41 31,-27-14-47,13-13 0,-13 13 15,13-13-15,0 0 0,1 14 16,-1-14 0,0-14-16,0 14 0,1 0 0,-1-13 15,0 13-15,-13-13 0,13 0 0,0-1 16,-13 1-16,0 0 15,14 0-15,-14-1 0,0 1 16,0 0-16,0 0 31,0 39 1,13-26-17,0 0 1,0 0-16,1 0 15,-1 0-15,-13-13 0,13 13 16,-13-13-16,13 13 16,-13-13-16,14-1 0,-14 41 62,0-14-46,13-13-1,-13 13-15,13-13 0,0 0 16,0 0-16,1 13 16,-1-13-16,13 0 0,-12 0 15</inkml:trace>
  <inkml:trace contextRef="#ctx0" brushRef="#br0" timeOffset="7445.89">12158 3426 0,'-14'0'15,"28"-26"1,-1 13 0,0-1-16,0 1 0,14-13 15,-1-1-15,-13 1 0,14 13 0,-1-14 16,1 1-16,-1-1 0,1 1 16,-14-1-16,13 1 0,1 13 0,-14-1 15,0 1-15,1 0 0,-1 0 16,0 13-16,-13-14 0,13 14 15,-13-13-15</inkml:trace>
  <inkml:trace contextRef="#ctx0" brushRef="#br0" timeOffset="7721.09">12422 2990 0,'0'0'0,"0"-13"0,13 13 31,1-14-31,-1 14 16,0 0-16,0 0 0,1 0 0,-1 0 15,0 14-15,13-14 0,-12 0 16,-1 0-16,0 13 0,0-13 15,1 13-15,-1-13 0,0 13 0,-13 0 16,13-13-16,-13 14 0,14-1 16,-14 0-16,0 0 15,0 1-15,0-1 16,13 0-16</inkml:trace>
  <inkml:trace contextRef="#ctx0" brushRef="#br0" timeOffset="8385.61">12859 2712 0,'0'0'15,"0"26"17,0-12-32,0-1 0,0 0 15,0 0-15,0 1 16,0-1-16,0 0 16,0-26 46,0 0-62,0-1 0,0 1 0,0 0 16,0 0-16,0-1 0,0 1 15,0 0-15,13 0 16,0 13 0,0 0-16,1 0 15,-1 13-15,0-13 16,-13 13-16,13-13 15,-13 13-15,14-13 0,-14 14 16,13-1 0,0-26 15,-13-1-15,0 1-16,13 13 15,-13-13-15,0 0 0,0 0 16,14 13-16,-1-14 15,0 14 1,0 14 0,0-14-16,-13 13 15,0 0-15,14 0 0,-14 0 16,0 1 0,13-14-16,-13 13 0,13-13 15,-13 13-15,13-13 0,1 0 16,-1 0-16,0 0 0,0 0 15</inkml:trace>
  <inkml:trace contextRef="#ctx0" brushRef="#br0" timeOffset="9309.61">13401 2725 0,'-13'-26'16,"13"13"-1,0-1-15,-13 1 0,13 0 32,-27 26-17,14 0-15,13 1 16,-13-1-1,13 0-15,0 0 0,0 0 16,0 1-16,13-14 16,-13 13-16,13-13 0,0 0 15,1 0-15,12 0 0,-13 0 16,1 0-16,-1 0 0,0 0 0,14-13 16,-14 13-16,0-14 0,0 14 15,0-13-15,1 13 0,-1-13 0,0 13 16,-13-13-16,13 0 0,1-1 15,-14 1-15,13 0 16,-13 0-16,0-1 16,0 1-1,-13 13-15,-1 0 32,1 13-32,13 1 15,-13-1 1,13 0-1,0 0-15,13 1 16,-13-1 0,13-13-1,1 0 32,-1-13-47,-13-1 16,13 14-16,0-13 15,0 0 17,1 13-17,-1 0 1,0 0 0,-13 13-16,13 0 15,-13 1 1,14-1-1,-1-26 17,0 13-17,-13-14-15,13 14 0,1-13 16,-1 13 0,0 0-16,0 0 15,0 0 1,-13 13-16,14-13 0,-1 0 0,-13 14 15,13-14-15,0 0 0,1 13 16,-1-13-16,0 0 16,-13 13-16,13 0 15</inkml:trace>
  <inkml:trace contextRef="#ctx0" brushRef="#br0" timeOffset="10034.04">11906 4445 0,'66'13'31,"-52"-13"-31,12 13 16,1-13-16,-1 14 0,0-14 15,-12 13-15,12 0 0,1-13 0,12 13 16,-12 1-16,-1-1 0,-13-13 0,14 13 16,-14-13-16,0 13 0,1-13 15,-1 0-15,0 14 16,0-14-16,0 0 0,1 13 16,-1-13-1,0 0 1,0-13-1,1 13-15,-14-14 16</inkml:trace>
  <inkml:trace contextRef="#ctx0" brushRef="#br0" timeOffset="10353.29">12396 4471 0,'13'14'47,"0"-14"-47,0 13 0,1-13 0,-1 0 16,-13 13-16,13 0 0,0-13 16,1 14-16,-1-14 0,0 13 0,0 0 15,0 0-15,-13 1 16,0-1-16,0 0 15,0 0-15,-13 0 16,0 1-16,0-1 16,0 0-16,-1-13 0,1 13 0,0 1 15,-14-1-15,14 0 0,-13 13 16,12-26-16,1 14 0,0-1 16,0 0-16,0-13 0,-1 13 0</inkml:trace>
  <inkml:trace contextRef="#ctx0" brushRef="#br0" timeOffset="12405.51">13163 4736 0,'-40'13'16,"40"0"-1,0 1 1,-13-1 0,13 0-16,13 0 15,-13 1-15,14-41 47,-1 14-31,0 0-1,0-1-15,0 14 16,1-13-16,-1 13 0,0 0 16,0 0-1,1 13-15,-1 1 16,-13-1-16,13-13 0,-13 13 16,13 0-16,-13 1 15,14-1 1,-14 0-16,13-13 15,-13 13-15,13-13 16</inkml:trace>
  <inkml:trace contextRef="#ctx0" brushRef="#br0" timeOffset="12785.79">13481 4736 0,'-27'13'31,"27"0"-31,0 1 16,0-1 0,0 0-16,0 0 0,13 1 15,1-14-15,12 0 16,-13 0-1,0 0 1,-13-14-16,14 14 0,-14-13 16,13 13-16,-13-13 0,0 0 0,0-1 15,-13 14-15,13-13 16,0 0-16,-14 0 0,1 0 16,0 13-1,0 13 1,0-13-16,-1 13 15,14 0 1</inkml:trace>
  <inkml:trace contextRef="#ctx0" brushRef="#br0" timeOffset="13477.12">13785 4723 0,'-13'26'31,"13"-13"-15,0 1-1,13-1-15,-13 0 16,13-13-16,-13 13 0,13-13 0,0 0 16,1 0-16,-1 0 15,0 0-15,0 0 0,1-13 0,-1 13 16,0 0-16,0-13 0,1 13 0,-14-13 16,13 13-16,-13-14 0,0 1 15,0 0-15,0 0 16,-13 13-16,13-13 15,-14 13-15,-12 0 0,13 0 16,-1 0-16,1 13 16,0-13-16,0 0 15,13 13-15,13 0 16,0-13 0,0 13-16,1-13 0,-1 14 15,0-14-15,0 13 0,1-13 16,-14 13-16,13 0 0,0 1 15,-13-1-15,13-13 0,-13 13 16,0 0-16,13 14 0,-26-14 0,13 0 16,0 0-16,0 1 0,0-1 0,-13 0 15,13 0-15,0 1 0,0-1 16,-13-13-16,13 13 0,13-53 47,-13 27-47,13 0 0,0-14 15,1 14-15,-14 0 0,26-13 16,-13 12 0,1 1-16,-14 0 0,13 13 15,-13-13-15,13-1 0,0 14 0,1-13 16,-1 0-16,0 13 0,0-13 16,0 13-16,1-14 0,-1 14 15</inkml:trace>
  <inkml:trace contextRef="#ctx0" brushRef="#br0" timeOffset="15032.57">14605 4657 0,'-13'-27'15,"13"14"-15,-13 13 0,-1-26 16,1 26 0,0 13-16,0-13 0,-1 13 15,1 0-15,0-13 16,13 13-16,-13 1 0,13-1 0,-14 0 16,1 0-16,13 1 0,0-1 15,-13 0-15,13 0 16,-13 0-16,13 1 15,13-1-15,0 0 16,14-13 0,-27-13-1,13 13-15,0 0 0,0-13 0,1-1 16,-1 1-16,0 0 16,-13 0-16,13-14 0,-13 14 0,14-13 15,-14-1-15,13 14 0,-13-13 0,0-1 16,0 1-16,0 12 0,0 1 15,0-13-15,0 12 0,0 1 16,0 0-16,0 0 16,-13 39-1,13-13 1,0 1-16,0 12 0,0-13 0,0 14 16,0-14-16,0 14 0,0-14 0,13 13 15,-13-13-15,0 1 0,13 12 0,0-13 16,-13 1-16,13-1 0,1 0 15,-1-13-15,-13 13 0,13 0 0,0-13 16,1 14-16,-1-14 0</inkml:trace>
  <inkml:trace contextRef="#ctx0" brushRef="#br0" timeOffset="15594.34">14909 4683 0,'-13'-13'0,"13"0"15,-13 13 1,0 0-16,-1 0 16,14 13-16,-13-13 0,0 0 0,13 13 15,-13 0-15,-1-13 0,14 14 16,-13-1-16,0 0 0,13 0 16,0 0-16,13 1 31,0-28-16,1 14-15,-1-13 16,0 13-16,-13-13 16,13 13-16,1 0 15,-1 0 1,-13 13 0,13-13-1,0 13-15,0-13 0,1 0 16,-1 0-16,0 0 0,-13-13 15,13 13-15,1-13 0,-1 13 16,-13-13-16,13 0 0,-13-1 0,13 1 16,1 0-16,-14 0 0,0-14 0,13 14 15,-13-13-15,0 12 0,0 1 16,0 0-16,0 0 0,13-1 16,-13 1-16,-13 40 46,13-14-46,0 0 0,0 14 0,0-14 16,0 0-16,0 0 0,0 0 0,0 1 16,0-1-16,13 0 0,-13 0 15,0 1-15,13-1 0,-13 0 16,13-13-16,-13 13 0,14-13 16,-14 13-16</inkml:trace>
  <inkml:trace contextRef="#ctx0" brushRef="#br0" timeOffset="15817.82">14975 4696 0,'-13'0'16,"26"-26"0,1 13-1,-1 13-15,0-14 0,0 14 0,1-13 16,-1 13-16,0-13 0,13 13 15,-12-13-15,-1 13 0,13-13 16,-12 13-16,-1-14 0,13 14 0,-12 0 16,-1 0-16,0 0 0,0-13 0,0 13 15,1 0-15,-1 0 0</inkml:trace>
  <inkml:trace contextRef="#ctx0" brushRef="#br0" timeOffset="16406.9">15452 4485 0,'0'0'0,"-14"0"0,14 13 32,0 0-17,0 0-15,0 1 0,0 12 16,0-13-16,0 1 0,14 12 16,-14-13-16,0 14 0,0-14 15,0 13-15,0-12 0,0 12 0,0-13 16,0 0-16,0 1 0,13-1 0,-13 0 15,0 0-15,0 1 0,0-1 16,-13-40 31,13 14-47,0-13 0,0 12 0,0-12 16,0 0-16,13 12 0,-13-12 0,13 13 15,-13-14-15,0 14 0,13 0 16,1 0-16,-1-1 0,0 14 15,0 0-15,1 0 16,-1 0-16,-13 14 0,0-1 16,0 0-1,0 0-15,0 0 16,-13-13-16,13 14 0,-14-1 0,1 0 16,0-13-16,0 13 15,-1-13-15,14 14 0,-13-14 16,0 0-16,0 13 15</inkml:trace>
  <inkml:trace contextRef="#ctx0" brushRef="#br0" timeOffset="17044.83">15729 4591 0,'14'-14'0,"-28"1"32,-12 26-17,26 1-15,-13-14 0,13 13 16,-13 0-16,-1 0 0,14 0 16,0 1-16,0-1 15,0 0-15,14 0 16,-1-13-16,0 14 15,0-14-15,0 0 16,1-14-16,-1 14 0,0 0 16,0-13-16,1 0 0,-1 13 15,-13-13-15,13-1 0,-13 1 0,13 0 16,-13 0-16,0 0 16,0-1-16,-13 1 15,13 0-15,-13 13 16,0 13-1,-1-13-15,1 13 0,0-13 0,13 14 16,-13-14-16,13 13 0,-14-13 16,14 13-16,-13 0 15,26 0-15,1-13 16,-1 0-16,13 0 16,-12 0-16,-1-13 0,0 13 15,0-13-15,1 13 0,-1-13 16,0 13-16,0-13 0,0-1 0,1 14 15,-1-13-15,0 13 0,0-13 16,1 13 0,-1 0-16,0 13 15,-13 0 1,13 1-16,-13-1 16,0 0-16,14-13 15,-14 13-15,0 0 0,13 1 16,0-1-1,0-26 17</inkml:trace>
  <inkml:trace contextRef="#ctx0" brushRef="#br0" timeOffset="17869.77">16192 4524 0,'0'14'16,"0"25"0,-13-25-16,13-1 15,0 0-15,0 0 16,0 0-1,13-13 1,1-13 0,-14 0-16,13 13 0,0-13 15,0 0-15,1-1 16,-1 14-16,0 0 0,0-13 16,1 26-1,-14 1 1,13-14-16,-13 13 15,0 0-15,13 0 16,-13 0-16,0 1 16,13-14-16,0 0 15,1 0-15,-1 0 16,0 0-16,0 0 16,-13-14-16,14 1 0,-1 13 0,0-13 15,0 0-15,1 0 0,-1-1 16,0-12-16,0 13 0,0-14 15,1 1-15,-1-1 0,0 14 0,-13-13 16,13-1-16,-13 14 0,14 0 0,-14-1 16,13 1-16,-13 0 0,0 0 0,0-1 15,13 14-15,-13-13 16,-13 40 0,0-14-16,13 0 0,0 0 15,0 1-15,-14 12 0,14-13 16,0 14-16,0-14 0,14 13 0,-14-12 15,0-1-15,13 13 0,-13-12 16,13-1-16,-13 0 0,13 0 0,-13 1 16,14-1-16,-1 0 15,0-13-15,0 0 0,-13 13 0,13-13 16,1 0-16,-1 0 0,0-13 0,0 0 16,1 13-16,-14-13 15,13-1-15,-13 1 0,0 0 16</inkml:trace>
  <inkml:trace contextRef="#ctx0" brushRef="#br0" timeOffset="18148.58">16364 4458 0,'27'-13'31,"-1"0"-31,-12 13 0,12 0 15,40-13-15,-26-1 0,0 14 16,-1-13-16,-12 0 0,12 13 0,1-13 16,-13 13-16,-1-14 0,1 14 15,-1-13-15,0 13 0,-12 0 16,12-13-16,-13 13 0,1 0 0,-1 0 0,0 0 16,-13-13-16,13 13 15,-39 26 1,13-26-16,-14 13 15,-13 1-15,1 12 0,-1-13 0,-13 14 16</inkml:trace>
  <inkml:trace contextRef="#ctx0" brushRef="#br0" timeOffset="18975.75">15147 4696 0,'-13'0'31,"0"14"-31,0-1 31,13 0-15,13-13 0,13 0-1,-26-13 1,14 13-16,-1-13 15,0 13 1,0 0-16,-13 13 16,14-13-16,-14 13 15,13-13-15,-13 13 16,13-13-16,0 0 0,0 13 16,1-13-16,-1 0 0</inkml:trace>
  <inkml:trace contextRef="#ctx0" brushRef="#br0" timeOffset="19096">15518 4789 0</inkml:trace>
  <inkml:trace contextRef="#ctx0" brushRef="#br0" timeOffset="23787.53">4736 11139 0</inkml:trace>
  <inkml:trace contextRef="#ctx0" brushRef="#br0" timeOffset="25279.74">3916 11311 0,'119'13'16,"-66"0"0,-13-13-16,12 14 0,1-14 0,0 13 15,0-13-15,0 0 0,0 13 16,0-13-16,0 0 0,0 0 0,0 0 15,-14 0-15,14 0 0,-13-13 16,13 13-16,-13 0 0,-1-13 0,-12 13 16,-1 0-16,-13-14 0,14 14 0,-14 0 15,0 0-15,14 0 0,-14-13 16,0 13-16,0 0 16,-39 13 30,13-13-46,-14 0 16,14 0-16,0 14 0,-14-14 0,14 0 16,-27 0-16,14 13 0,-14-13 15,1 13-15,-14-13 0,13 13 0,0-13 16,1 14-16,-1-14 0,14 13 0,-1-13 16,1 0-16,12 0 0,1 0 0,0 13 15,0-13-15,-1 0 0,1 0 16,66 0-1,-40 0 1,14-13-16,13 13 0,-14 0 16,27 0-16,-13-13 0,12 13 0,-12 0 15,0-14-15,13 14 0,-14 0 16,-12 0-16,-14-13 0,14 13 16,-1 0-16,-13 0 0,1 0 0,-1 0 15,0 0-15,-13-13 0,13 13 0,0 0 16,-13-13-16,14-1 15,-14 1-15,0 0 16,-14 0-16</inkml:trace>
  <inkml:trace contextRef="#ctx0" brushRef="#br0" timeOffset="25999.6">4366 10557 0,'79'-13'15,"-53"13"-15,14 0 16,13-14-16,0 14 0,13 0 0,-13 0 16,26 0-16,1-13 0,-14 13 0,13 0 15,-13 0-15,-13 0 0,14 0 16,-15 0-16,1 0 0,-13 0 0,0 0 15,-1 0-15,-12 0 0,-1 0 16,1 0-16,-14 0 0,13 0 0,-12 0 16,-1 0-16,0 0 0,0 0 15,-39 13 1,13 1 0,-14-14-16,1 13 0,-14-13 15,0 13-15,-12 0 0,-68 1 16,54-1-16,0 0 0,0 0 0,13 0 15,0-13-15,0 14 0,0-14 16,0 13-16,14-13 0,-1 13 0,14-13 16,-1 0-16,1 0 0,12 0 15,1 13-15,66-26 32,-26 13-32,25-13 0,1 13 15,14-13-15,-1 13 0,0-14 16,0 14-16,13-13 0,-12 0 0,-15 13 15,1 0-15,-13-13 0,13 13 0,-13-13 16,-1 13-16,-12 0 0,12 0 16,-25 0-16,12 0 0,-13-14 0,1 14 15,-1 0-15,0 0 0,0 0 16,1 0-16,-14 14 16,0-1-16,0 0 15,0 0 1</inkml:trace>
  <inkml:trace contextRef="#ctx0" brushRef="#br0" timeOffset="27357.66">13851 11377 0,'13'-13'16,"14"13"0,-14 0-16,27 0 0,12 0 15,1 0-15,14-13 0,12 13 0,0-14 16,1 14-16,12-13 0,1 0 0,39 0 16,-13-1-16,0 1 0,-26 0 15,39 0-15,-13 0 0,14 13 0,-1-14 16,-40 1-16,14 13 0,0-13 0,0 13 15,-13-13-15,12 13 0,-12 0 16,0-14-16,-14 14 0,0 0 0,1 0 16,-27 0-16,0-13 0,-1 13 0,-12 0 15,-13 0-15,-1 0 16,-13 0-16,1 0 0,-1 0 0,0 0 16</inkml:trace>
  <inkml:trace contextRef="#ctx0" brushRef="#br0" timeOffset="27742.42">14618 11443 0,'133'0'32,"-81"0"-32,28-13 0,-1 13 15,1 0-15,-1-13 0,27 13 0,-14-13 16,41 13-16,-1-14 0,0 14 16,106-13-16,-132 13 0,0 0 0,0 0 15,0 0-15,-14-13 16,14 13-16,-13 0 0,-1 0 0,14 0 0,-26 0 15,12-13-15,-12 13 0,-14 0 16,0 0-16,-13 0 0,0 0 16,-14 0-16,1 0 0,-14 0 0,-12 0 15,12 0-15,-13 0 0,1 0 0,-41 0 47,1 0-47,-1 0 0,-12-14 16</inkml:trace>
  <inkml:trace contextRef="#ctx0" brushRef="#br0" timeOffset="28395.12">14764 10491 0,'26'-13'0,"1"13"0,-1 0 15,1-14-15,12 14 0,14 0 0,13-13 16,0 13-16,1-13 0,12 13 0,0 0 15,-12-13-15,12 13 0,-13 0 16,0 0-16,0 0 0,-13 0 0,13 13 16,-13-13-16,0 0 0,0 0 0,0 0 15,0 0-15,-13 0 0,-14 0 16,1 0-16,-1 0 0,0 0 0,-12 0 16,-1 0-16,0 0 0,0 0 0,1-13 15,-67 26 1,26-13-1,-12 0-15,-1 0 0</inkml:trace>
  <inkml:trace contextRef="#ctx0" brushRef="#br0" timeOffset="28758.62">15081 10570 0,'80'0'0,"-160"0"0,186 0 16,-66 0-16,13 0 0,0 0 0,0-13 0,-1 13 16,15 0-16,-1 0 0,0 0 0,0-13 15,-13 13-15,0 0 16,0 0-16,0 0 0,0 0 0,-14-14 0,-12 28 16,-1-14-16,1 0 0,-1 0 15,-13 0-15,1 0 0,12 0 16,-13 0-16,0 0 0,1 0 15,-1 0-15,0 0 16,0 0 0,1-14 15,-1 28 0,0-14-31,0 0 16</inkml:trace>
  <inkml:trace contextRef="#ctx0" brushRef="#br0" timeOffset="30729.15">5040 10517 0,'-26'-13'0,"52"26"0,-52-39 0,13 13 0,13-1 15,-14 1-15,14 0 16,-13 0-16,13-1 0,0 1 16,0 0-16,0 0 15,0-1-15,0 1 0,0 0 16,13 0-16,1 0 15,-1-1-15,0 14 0,0-13 0,1 0 16,12 13-16,-13-13 0,14-1 16,12 14-16,1-13 0,13 0 0,-13 13 15,-1-13-15,14 13 0,0-14 0,-13 14 16,26-13-16,0 13 0,93-13 16,-93 0-16,13 0 0,1 13 15,12-14-15,-12 14 0,-1-13 0,14 13 16,-14-13-16,14 13 0,-14 0 15,14-13-15,-1 13 0,1-14 0,13 14 16,-14 0-16,1 0 0,0 0 0,12-13 16,-12 13-16,13 0 15,-14 0-15,14 0 0,-13 0 0,0 0 0,12-13 16,1 13-16,-13 0 0,13 0 16,-1 0-16,-12-13 0,13 13 15,-14 0-15,14 0 0,0-14 16,0 14-16,-13 0 0,12 0 0,-12 0 15,0 0-15,12-13 0,81 13 16,-94 0-16,1 0 0,-1 0 0,1 0 16,0 0-16,-1 0 0,1 0 15,-14 0-15,14 0 0,-14-13 16,14 26-16,-14-26 0,1 13 0,-1 13 16,0-13-16,1 0 0,-1 0 0,-13 0 0,0 13 15,1-13-15,-1 0 16,-13 14-16,0-14 0,13 0 0,-13 0 15,0 13-15,13-13 0,-13 0 0,-1 13 16,1-13-16,0 0 0,0 0 16,0 0-16,0 13 0,13-13 0,-13 0 15,0 0-15,0 0 0,0 14 0,0-14 16,0 0-16,0 0 0,0 13 16,-1-13-16,1 0 0,0 13 15,0-13-15,13 13 0,1-13 0,-15 0 0,1 14 16,13-14-16,-13 0 0,14 0 15,-15 13-15,15-13 16,-1 0-16,13 0 0,-13 0 0,14 0 0,-14 0 16,-13 0-16,13 0 0,0 0 0,-13 0 15,26 0-15,1 0 0,-27 0 16,26 0-16,-13-13 0,0 13 0,0 0 16,1-14-16,-15 14 0,15 0 15,-14-13-15,-1 13 0,1 0 0,0-13 16,-13 13-16,13 0 0,0-13 15,-14 13-15,28-14 0,-41 14 0,14 0 16,-14-13-16,-13 13 0,14 0 16,-1 0-16,1-13 0,-1 13 15,-12 0-15,-1 0 0,0 0 16,0-13-16,0 13 16,1 0-16,-1 0 0,0-14 15,0 14-15,1 0 16,-1 0-16,-13-13 15,13 13-15,0 0 16,1 0 0,-1 13-1,-13 1 1,0-1-16,0 0 16,0 0-16,0 1 0,0-1 15,0 0-15,0 0 0,0 1 16,0 25-16,13 27 47,-13-52-32,13-1 17</inkml:trace>
  <inkml:trace contextRef="#ctx0" brushRef="#br0" timeOffset="31152.92">15452 10239 0,'0'-13'0,"26"13"47,-26 13-47,13 1 15,1-14-15,-14 13 16,13 0-16,0 0 15,0-13 1,1 0-16,-1 0 16,0 0-16,0 0 15,0-13-15,14 13 0,-14-13 16,14 0-16,-14 13 0,-13-14 16,13 14-16,0-13 0,0 13 15,1 0-15,-14-13 0,13 13 16,0 0-16,14 0 15,-14 0-15,0 0 0,0 13 16</inkml:trace>
  <inkml:trace contextRef="#ctx0" brushRef="#br0" timeOffset="33191.96">12396 3863 0,'-14'13'0,"41"-13"16,-14 0 0,0 0-16,1 0 0,12 0 15,1 0-15,-1 0 0,27 0 16,-13-13-16,13 13 0,-1 0 0,15-13 15,12 13-15,0-14 0,14 1 0,-14 0 16,14 0-16,26 0 0,0-1 16,13-12-16,-13 13 0,133-27 15,-120 27-15,-13-14 0,13 14 0,-13 0 16,1-14-16,-15 14 0,-12 0 16,0 0-16,-1-1 0,-12 14 15,-1-13-15,-13 0 0,0 13 0,27-13 16,-53-1-16,-1 14 0,-12-13 15,-14 13-15,13 0 0,-12 0 16,-1-13-16,0 13 0,0-13 16</inkml:trace>
  <inkml:trace contextRef="#ctx0" brushRef="#br0" timeOffset="33489.57">15280 3334 0,'66'0'32,"-40"0"-32,1 0 15,-1 0-15,1 0 0,-1 13 0,14-13 16,0 13-16,-1 0 0,41 1 15,-54-1-15,-13 0 0,0 0 16,14 1-16,-27-1 0,13 0 16,-13 0-16,0 0 0,0 1 0,0 12 15,-13-13-15,0 1 0,-14 12 0,1 1 16,-1-1-16,1-13 0,-1 14 16,1-14-16,13-13 0,-14 13 15,14 0-15,0-13 0,0 0 0</inkml:trace>
  <inkml:trace contextRef="#ctx0" brushRef="#br0" timeOffset="34269.61">17926 2844 0,'0'0'0,"13"14"16,-13-1-16,0 0 0,0 0 16,13 0-16,-13 14 0,0-14 15,0 14-15,0-1 0,0-13 0,0 14 16,0-1-16,0 1 0,0-14 0,0 13 16,0-12-16,0-1 0,0 0 15,0 13-15,0-12 0,-13-1 16,26 0-16,-13 0 15,13-13-15</inkml:trace>
  <inkml:trace contextRef="#ctx0" brushRef="#br0" timeOffset="34476.86">18508 2924 0,'0'0'15,"-27"26"1,14-13-16,13 1 16,-13-1-16,-14 13 0,14 1 0,0-1 15,0-13-15,-1 14 0,-12-14 16,26 0-16,-13 1 0,-1-1 0,1 0 16,0 0-16,13 0 0</inkml:trace>
  <inkml:trace contextRef="#ctx0" brushRef="#br0" timeOffset="34704.89">18164 3043 0,'0'-14'0,"13"14"31,13 14-31,-12-14 0,-1 13 16,0-13-16,0 13 0,0-13 0,14 13 15,-14-13-15,0 14 0,1-1 0,-1-13 16,0 13-16,0-13 0,1 13 16,-1-13-16,0 0 0,-13 14 0,13-14 15,0 0-15,1 0 0,-1 0 0,0 0 16</inkml:trace>
  <inkml:trace contextRef="#ctx0" brushRef="#br0" timeOffset="34905.74">18732 3082 0,'0'-13'0,"40"-13"31,-27 26-31,1-14 0,-1 14 15,0 0-15,0-13 0,14 13 0,-14 0 16</inkml:trace>
  <inkml:trace contextRef="#ctx0" brushRef="#br0" timeOffset="35392.74">19196 3109 0,'13'-13'0,"13"-40"32,-13 39-32,1-25 15,-14 26-15,13-1 0,-13-25 16,0 25-16,0 1 0,13 0 15,-13 0-15,0 0 16,-13 26 15,13 0-31,0 0 0,0 0 16,0 1-16,13-1 0,-13 0 16,13 0-16,1 1 0,-1-14 15,0 0-15,14 0 16,-14-14-16,0 14 15,0-13-15,0 0 0,1 13 16,-1-13-16,-13-1 0,13 14 0,-13-13 16,13 13-16,1-13 15,-1 26 1,0 0-16,-13 1 16,13-1-16,-13 0 15,13-13-15,-13 13 0,14 1 0,-14-1 16,13-13-16,0 13 0,0 0 15,1-13-15</inkml:trace>
  <inkml:trace contextRef="#ctx0" brushRef="#br0" timeOffset="35632.79">19711 2487 0,'0'79'32,"14"-52"-32,-14 13 0,13-14 15,-13 14-15,13-1 0,-13-12 0,13-1 16,-13 1-16,0-1 0,0-12 16,14 12-16,-14 0 0,0-12 15,0 12-15,0-13 0,0 1 0,-14-1 16,14 0-16,0 0 0,0 0 15</inkml:trace>
  <inkml:trace contextRef="#ctx0" brushRef="#br0" timeOffset="36866.07">20717 2858 0,'26'-14'31,"-12"14"-31,-1 0 16,13-13-16,1 13 0,-1-13 0,-13 13 16,14-13-16,-1 13 0,-12 0 15,12 0-15,-13 0 0,0 0 16</inkml:trace>
  <inkml:trace contextRef="#ctx0" brushRef="#br0" timeOffset="37080.89">20770 2990 0,'0'0'15,"66"-13"48</inkml:trace>
  <inkml:trace contextRef="#ctx0" brushRef="#br0" timeOffset="37319.75">22304 2725 0,'27'-13'16,"-1"13"-16,-12 0 0,12-13 15,-13 13-15,0 0 0,14-13 0</inkml:trace>
  <inkml:trace contextRef="#ctx0" brushRef="#br0" timeOffset="38345.03">22503 3109 0,'0'-13'0,"0"39"15,0-13 1,0 1-16,0-1 16,0 0-16,0 0 0,0 0 15,0 1-15,0-1 0,0 0 16,0 0-16,0 1 0,0-1 16</inkml:trace>
  <inkml:trace contextRef="#ctx0" brushRef="#br0" timeOffset="38506.62">22397 3281 0,'26'-13'31,"-12"13"-31,-1 0 16,0-14-16,0 14 15,1 0-15,-1 0 0,0-13 16,0 13-16</inkml:trace>
  <inkml:trace contextRef="#ctx0" brushRef="#br0" timeOffset="38832.71">21881 2461 0,'0'13'16,"0"13"0,0-12-16,-13 12 0,13 14 0,-13 13 15,13-14-15,-14 27 0,14 1 0,-13-14 16,13 13-16,0-13 0,0-1 15,13-12-15,-13 26 0,14-26 16,-1 0-16,0-1 0,0 1 0,1 0 16,-1-14-16,13 14 0,-13-27 15,1 0-15,-1 1 0,0-14 16,0 0-16,1 0 0,-1 0 0</inkml:trace>
  <inkml:trace contextRef="#ctx0" brushRef="#br0" timeOffset="39206.82">22662 2368 0,'0'26'0,"13"-12"0,-13-1 16,0 13-16,13 1 0,0 13 16,0-1-16,1 14 0,-1-13 15,0 13-15,0 0 0,14 39 16,-14-39-16,0-13 0,-13 0 15,0-1-15,14 1 0,-14-14 0,0 14 16,0-13-16,-14-1 0,14-13 0,0 27 16,0-27-16,0 14 0,0-14 15,-13 0-15,26 0 16</inkml:trace>
  <inkml:trace contextRef="#ctx0" brushRef="#br0" timeOffset="39479.01">23561 2884 0,'-26'0'0,"12"0"15,-12 13-15,13-13 16,-14 13-16,-12 1 16,25-1-16,-12 0 0,13 0 0,-14-13 15,1 27-15,13-27 0,-1 13 16,1-13-16,13 13 0,-13-13 16,0 13-16,-1-13 0</inkml:trace>
  <inkml:trace contextRef="#ctx0" brushRef="#br0" timeOffset="39765.72">23230 2897 0,'-13'13'16,"0"1"-16,0-1 0,0 0 15,-1 0-15,1 1 0,0-1 0,0 13 16,-1-13-16,14 1 0,-13 12 0,0-13 16,13 1-16,0-1 0,0 0 15,0 0-15,0 1 0,0-1 0,13 13 16,0-26-16,1 13 16,12 1-16,-13-14 0,14 0 15,-14 0-15,13 0 0,-12 0 16,12 0-16,-13-14 0,14 14 0,-14-13 15,13 13-15,1-13 0</inkml:trace>
  <inkml:trace contextRef="#ctx0" brushRef="#br0" timeOffset="40036.79">23971 2778 0,'0'13'16,"0"1"-1,0-1 1,0 0-16,0 0 0,0 1 16,-13-1-16,13 0 0,0 0 0,0 0 15,0 1-15,0-1 16,0 0-16,-13-13 0,26 13 15</inkml:trace>
  <inkml:trace contextRef="#ctx0" brushRef="#br0" timeOffset="40172.01">23905 2646 0,'0'-13'0,"0"26"0</inkml:trace>
  <inkml:trace contextRef="#ctx0" brushRef="#br0" timeOffset="41412.76">24117 2725 0,'-13'0'0,"26"0"0,-40 13 16,14-13-16,0 0 15,13 14-15,0-1 16,0 0 0,0 0-1,13 1-15,-13-1 16,0 0-16,13 0 0,-13 1 0,0 38 16,0-38-16,0 12 15,0-13-15,0 14 0,-13-1 16,0-13-16,13 1 15,-13-1-15,13 0 0,-14 0 0,1 1 0,13-1 16,-13-13 0,13 13-16,-13-39 31,26 12-31,0 1 16,0-13-16,-13 12 0,14-12 15,-1 13-15,0-14 16,0 14-16,1 0 0,-1 0 15,0-1-15,0 1 16,0 0-16,1 13 0,-1-13 16,0 13-16,0 0 15,1 0 1,-14 13-16,13-13 0,-13 13 16,13 0-16,-13 1 15,0-1 1,0 0-16,13-13 15,-13 13 1,27-26 15,-14 0-15,0 13 0,0-13-16,1 13 15,-1 0 1,-13 13-1,13-13 1,0 0 0,1 13-1,12-26 1,-13 13-16,1-13 0,-1 13 16,0-14-16,0 1 15,-13 0-15,13 0 16,1 13-1,-14 13 32,0 0-47,13-13 16,-13 13 0,13-26 30,-13 0-30,13 0-16,-13 0 16,14-1-1,-14 1-15,13 13 16,0 0 0,0 13-1,0 1 16,-13-1-31,14-13 32,-1 0-1,0-13-31,0 13 16,-13-14-16,14 14 15,-1-13-15,0 13 16,-13 13 15</inkml:trace>
  <inkml:trace contextRef="#ctx0" brushRef="#br0" timeOffset="41662.44">24739 2844 0,'0'0'0,"13"-13"0,-26 13 31,-14 13-15,14 1 0,0-1-16,13 0 15,0 0 1,13-13-16,13 0 16,-12 0-1,-1-13-15,0 13 0,-13-13 16,-13 0-1,0 13-15,-54-14 16,-38 14-16</inkml:trace>
  <inkml:trace contextRef="#ctx0" brushRef="#br0" timeOffset="42869.77">14711 10901 0,'0'40'16,"13"-14"-16,-13 0 0,0-12 15,0 12-15,0 14 0,0-1 16,0 1-16,0-13 0,0-1 0,0 14 16,0-14-16,0-13 0,0 14 0,13-14 15,-13 0-15,0 1 0,14-1 16</inkml:trace>
  <inkml:trace contextRef="#ctx0" brushRef="#br0" timeOffset="43938.56">14631 10821 0,'14'0'0,"-28"0"0,41-13 16,-14 13-16,0 0 0,1 0 15,12-13-15,1 13 0,-1 0 16,14-13-16,13 0 0,-14 13 16,27-14-16,1 1 0,-1 0 0,0 0 15,0-1-15,0-12 0,0 13 16,0-1-16,1 1 0,65-13 15,-66 13-15,0 13 0,-13-14 16,0 1-16,0 13 0,0-13 0,-13 0 16,12 13-16,-12-14 0,-13 14 0,-1 0 15,0-13-15,1 13 0,-14 0 0,0-13 16,1 13-16,-1 0 0,0 0 16,0 0-16,1-13 0,-1 13 15,0 0-15,0-13 16,0 13 15,1-14 0,-1 28 1,0-14-32,0 0 15,-13 13 1,14-13-1,-1 13 1,0-13 0,0 13-1,1-13 1,-1 0 0,-13 13-16,13-13 15,0 0-15,0 0 16,1 0 15,-1 0-31,0 0 16,0 0-1,1 14-15,-1-14 16,0 0-16,0 13 16,1-13-16,-1 13 15,0-13-15,-13 13 0,13 1 16,-13-1-16,13-13 15,-13 13-15,14 13 0,-14-12 0,13-1 16,-13 0-16,13 14 0,-13-14 0,13 0 16,-13 14-16,0-14 0,14 13 15,-1 1-15,0 12 0,-13-25 16,13-1-16,-13 13 0,0-12 0,14-1 16,-14 0-16,0 0 0,13 0 15,-13 1-15,13-14 0,-13 13 16,0 0-16,13 0 15,-13 1-15,13-14 16,-13 13 0,0 0 15,14 0-31,-14 0 31,0 1-31,-14-1 16,1 0-16,13 0 0,-13 1 15,0-1-15,-14 13 0,1-12 16,-14 12-16,0 14 0,-39 13 16,26-14-16,-26 14 15,-14 0-15</inkml:trace>
</inkml:ink>
</file>

<file path=ppt/ink/ink15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2:24.343"/>
    </inkml:context>
    <inkml:brush xml:id="br0">
      <inkml:brushProperty name="width" value="0.05292" units="cm"/>
      <inkml:brushProperty name="height" value="0.05292" units="cm"/>
      <inkml:brushProperty name="color" value="#0070C0"/>
    </inkml:brush>
  </inkml:definitions>
  <inkml:trace contextRef="#ctx0" brushRef="#br0">1998 2408 0,'39'0'78,"41"13"-78,12 0 16,14 0-16,13 1 16,13-1-16,40 0 15,80 27 1,79-27-16,-27 13 0,-93-26 15,-52 14-15,-13-14 16,12 0-16,-105 0 16,-13 0-1,-27 0-15</inkml:trace>
  <inkml:trace contextRef="#ctx0" brushRef="#br0" timeOffset="7082.34">13441 1759 0,'13'27'15,"-13"-14"-15,0 14 16,0-1-16,0 14 0,0 13 15,0-14-15,0 14 0,0 0 0,0-13 16,0 13-16,0 0 0,0-14 0,0 14 16,0-13-16,13 0 15,-13-14-15,0 1 0,0-1 0,0 1 16,0-14-16,0 0 0,0 13 0,0-12 16,14-14-16</inkml:trace>
  <inkml:trace contextRef="#ctx0" brushRef="#br0" timeOffset="7907.91">13348 1680 0,'53'-13'16,"-26"13"-16,-14-13 16,13 13-16,14 0 15,0 0-15,13-14 0,-1 14 0,15-13 0,-1 0 16,13 13-16,-13-13 0,0 0 15,14-1-15,-1 1 0,1 0 16,-1 0-16,0 13 0,-13-14 0,14 1 16,-14 0-16,0 0 0,0-1 0,0 14 15,1-13-15,-15 0 0,1 13 0,0-13 16,0 13-16,-13-13 0,13-1 16,-13 14-16,-14-13 0,14 13 0,-14-13 15,1 13-15,-1 0 0,-13-13 0,14 13 16,-14-14-16,0 14 0,0 0 15,1 0-15,-1 0 0,0-13 16,0 13-16,1 0 0,-1 0 16,0 0-1,0 0 17,1 0-17,-1 13 1,0-13-16,-13 14 15,13-1-15,-13 0 0,13 0 0,1 1 16,-14 12-16,13 14 0,13-14 16,-12 14-16,-1 13 0,0-14 0,0 1 15,0 13-15,14-13 0,-14 13 0,0-14 16,1 1-16,-1-14 0,0 14 16,0 0-16,1-14 0,-1 1 15,-13-1-15,13 1 0,-13-14 0,0 13 16,13-12-16,-13-1 0,0 0 15,0 0-15,0 0 0,0 1 16,0-1-16,0 0 0,0 0 16,-13-13-1,0 0 1,0 14-16,-1-14 0,1 0 0,0 0 16,-14 0-16,1 13 0,-27-13 15,13 13-15,-13-13 0,-13 13 16,0 1-16,-13-1 0,-1 13 0,-78 14 15,52-14-15,0 1 0,27-1 16,-1-12-16,14 12 0,0-13 16,13 14-16,13-14 0,14 0 0,-1-13 15,14 13-15,0-13 0</inkml:trace>
  <inkml:trace contextRef="#ctx0" brushRef="#br0" timeOffset="8372.69">17687 2447 0,'67'-13'16,"-28"13"-16,1-13 0,0 13 16,13-13-16,-1 13 0,15-14 0,-1 1 15,13 0-15,212-13 16,-238 26-1,-26 0-15,12 0 0,-26 0 0,27 0 16</inkml:trace>
  <inkml:trace contextRef="#ctx0" brushRef="#br0" timeOffset="8592.2">17701 2593 0,'39'0'16,"-12"0"-16,12-13 0,1 13 16,13-14-16,0 14 0,13-13 0,14 13 15,-14-13-15,0 0 0,13 13 16,-13-13-16,-13 13 0,0-14 0,0 14 16,-13-13-16,13 13 0,-14-13 15,-12 13-15,-1 0 0,1-13 0,-14 13 16,13 0-16</inkml:trace>
  <inkml:trace contextRef="#ctx0" brushRef="#br0" timeOffset="12299.07">8559 2778 0,'0'-13'32,"0"39"-1,0-12-16,0-1-15,0 0 16,0 0-16,0 1 0,0-1 16,0 0-1,0 0-15</inkml:trace>
  <inkml:trace contextRef="#ctx0" brushRef="#br0" timeOffset="12579.11">8533 2805 0,'13'-40'31,"-13"27"-31,13 13 0,0-14 16,1 14-16,-1 0 0,0 0 15,-13 14-15,13-14 0,1 13 16,-1-13-16,0 13 0,-13 0 0,13-13 15,-13 14-15,0-1 0,0 0 0,0 0 16,0 1-16,-13-1 0,13 0 16,-13 0-16,13 0 0,-13-13 0,-1 14 15,1-1-15,0-13 0,13 13 16,-13-13-16,-1 13 0,1-13 16</inkml:trace>
  <inkml:trace contextRef="#ctx0" brushRef="#br0" timeOffset="12884.92">8811 2791 0,'0'27'47,"0"-14"-31,13 0-16,0-13 15,-13 14-15,13-14 16,1 0-16,-1 0 0,0-14 16,0 14-16,0-13 0,-13 0 15,14 13-15,-14-13 16,-14-14-16,14 14 16,-13 0-16,13-1 0,-13 14 15,13-13-15,-13 13 0,0 0 16,-14 0-1,1 0-15,26 13 16,-14-13-16</inkml:trace>
  <inkml:trace contextRef="#ctx0" brushRef="#br0" timeOffset="13164.7">8983 2712 0,'0'13'31,"0"0"-31,0 1 0,0-1 16,0 0-16,0 0 15,0 1-15,13-14 16,-13 13-16,13-13 0,0 0 16,1 0-16,-1 0 15,0 0-15,0 0 16,0 0-16,1 13 15,-1-13-15,-13 13 16,13-13-16,-13 14 0,13-1 16,-13 0-1,14-13-15</inkml:trace>
  <inkml:trace contextRef="#ctx0" brushRef="#br0" timeOffset="13404.61">9432 2659 0,'14'13'15,"-14"1"1,0-1-16,0 0 0,0 0 15,0 0-15,0 1 16,13-1-16,-13 0 16,-13 0-1</inkml:trace>
  <inkml:trace contextRef="#ctx0" brushRef="#br0" timeOffset="14665.02">10649 2725 0,'0'-13'16,"0"39"15,14-12-31,-14-1 15,0 0-15,0 0 0,13 1 16,-13-1-16,0 0 0,0 0 16,0 1-16,0-1 0,0 0 15,0 0-15</inkml:trace>
  <inkml:trace contextRef="#ctx0" brushRef="#br0" timeOffset="14944.75">10663 2778 0,'0'0'0,"0"-13"0,0 0 0,0-1 15,13 14-15,-13-13 0,13 13 16,0-13-16,1 13 0,-1 0 16,0 0-16,0 0 0,1 0 15,-1 0 1,-13 13-16,13 0 0,-13 1 15,0-1-15,0 0 0,0 0 16,-13 1-16,13-1 16,-13 0-16,-1 0 0,14 1 15,-13-1-15,0 0 0,13 0 16,-13-13-16,13 13 0</inkml:trace>
  <inkml:trace contextRef="#ctx0" brushRef="#br0" timeOffset="15262.75">10874 2765 0,'0'0'0,"-13"26"32,13 1-17,13-14 1,-13 0-16,14 1 0,-1-14 15,0 13-15,0-13 16,1 0-16,-1 0 16,0 0-16,0-13 0,0 13 15,-13-14-15,14 14 16,-14-13-16,0 0 0,0 0 0,0-1 16,0-12-1,0 13-15,-14-1 16,1 14-16,0 0 15,0 14 1,0-14-16,-1 13 16</inkml:trace>
  <inkml:trace contextRef="#ctx0" brushRef="#br0" timeOffset="15584.58">11112 2699 0,'0'0'0,"0"-13"32,0 39-17,0-13-15,-13-13 16,13 13-16,0 1 0,0-1 16,0 0-16,13 0 31,1-13-31,-1 0 15,0 14-15,0-14 16,1 0 0,-14 13-16,13-13 15,0 0-15,-13 13 0,13 0 16,-13 1 0,14-14-16,-14 13 15,13-13-15</inkml:trace>
  <inkml:trace contextRef="#ctx0" brushRef="#br0" timeOffset="15868.89">11390 2659 0,'14'-13'16,"-1"13"-1,0 0-15,-13 13 16,0 0-1,0 1-15,0-1 0,0 0 16,0 0-16,-13 0 16,26 1-1,0-1 1,0-13 0,14 0-1,-14 0-15,14 0 16,-14-13-16,13 13 15,-26 13-15,14-13 0</inkml:trace>
  <inkml:trace contextRef="#ctx0" brushRef="#br0" timeOffset="17208.74">13044 2619 0,'0'14'63,"0"-1"-48,0 0 1,0 0-16,13-13 0,-13 14 16,13-14-16,-13 13 0,14-13 15,-14 13-15,13-13 0,0 13 16,0 0-16,1-13 15,-14 14 1,-14-1 0,1 0-16,0-13 0,0 13 15,-1-13-15,1 0 0,0 14 16,0-14 0,0 0-16,-1 13 0,1 0 15</inkml:trace>
  <inkml:trace contextRef="#ctx0" brushRef="#br0" timeOffset="18098.97">13057 2593 0,'13'0'16,"-13"-13"0,0-1-1,0 1-15,-13 13 16,0 0-16,0 0 16,0 0-1,-1 0-15,1 13 16,0-13-16,13 14 0</inkml:trace>
  <inkml:trace contextRef="#ctx0" brushRef="#br0" timeOffset="19899.14">15121 2765 0,'-27'13'46,"14"0"-30,0-13-16,13 14 0,-13-14 16,0 13-16,-1-13 0,14 13 0,-13-13 15,13 13-15,-13-13 0,13 14 16,-13-1-16,26 0 16,0-13-1,0 0-15,1 0 16,12 0-16,-13 0 0,0 0 0,14 0 15,-1-13-15,-12 13 0,12 0 16,1 0-16,-14-13 0,13 13 16,-13 0-16,1 0 0,-1-14 0,0 14 15</inkml:trace>
  <inkml:trace contextRef="#ctx0" brushRef="#br0" timeOffset="20079.66">15174 2699 0,'-27'39'16,"27"-25"-1,0-1-15,0 0 0,0 0 16,14 1-16,-14-1 0,0 13 0,13-12 16,-13-1-16,0 0 0,0 0 15,0 0-15,13 1 0</inkml:trace>
  <inkml:trace contextRef="#ctx0" brushRef="#br0" timeOffset="22719.83">17767 2765 0,'13'-13'0,"-26"26"0,39-26 16,-13-1-16,1 14 0,-1 0 15,0 0 1,-39 14 15,26-1-31,-14-13 16,1 0-16,0 13 0,0-13 15,0 0-15,-1 13 0,1-13 16,0 0 0,13 14-16,13-1 15,0-13 1,1 13-16,-1-13 15,0 0-15,-13 13 0,13-13 0,0 0 16,-13 14-16,14-14 0,-1 0 0,-13 13 16,13 0-1,-26 0-15,0-13 16,-1 0-16,1 13 0,0-13 0,0 0 16,0 14-16,-1-14 15,-12 0-15,13 13 0,-1-13 0,1 0 16,0 13-16</inkml:trace>
  <inkml:trace contextRef="#ctx0" brushRef="#br0" timeOffset="24027.92">6403 5159 0,'0'0'15,"26"0"1,-12 0-16,-1 0 15,13-13-15,-12 13 0,12 0 0,-13-13 16,14 13-16,-14 0 0,13 0 0,-12 0 16,-1-13-16,0 13 0,0 0 15</inkml:trace>
  <inkml:trace contextRef="#ctx0" brushRef="#br0" timeOffset="24191.08">6443 5305 0,'39'-13'31,"-25"13"-31,12-14 16,-13 14-16,14 0 0,-14-13 0,13 13 16,-12-13-16,-1 13 0</inkml:trace>
  <inkml:trace contextRef="#ctx0" brushRef="#br0" timeOffset="40088.73">5411 5781 0,'0'0'0,"0"13"0,0 1 47,13-28-32,-13 1 1,0 0-16,0 0 0,13-1 15,-13-12-15,0 0 0,0 12 0,0-12 16,0 13-16,13-14 0,-13 14 0,0-14 16,0 14-16,0 0 0,0 0 15,0 0-15,-13-1 0,13 1 16,0 0-16,0 39 31,-13-12-31,13-1 0,0 0 16,13 0-16,-13 0 0,0 1 0,0-1 15,13 0-15,-13 0 16,14 1-16,-1-1 16,0-13-16,0 0 15,1-13-15,-14-1 0,13 1 0,0 0 16,-13 0-16,13-1 0,-13-12 16,13-67-1,1 80-15,-14 0 0,0 0 31,13 39-15,0-13-16,-13 1 0,13 25 16,1-25-16,-14-1 15,13 0-15,0 0 0,0-13 0,1 13 16,-1-13-16,0 14 0,0-14 0,14 13 16,-14-13-16,0 0 0,0 0 0,1 0 15,-1 0-15,13-13 0,-12 13 16</inkml:trace>
  <inkml:trace contextRef="#ctx0" brushRef="#br0" timeOffset="41144.86">7752 5014 0,'27'-66'16,"-14"52"-1,0 1-15,0 13 0,1-13 16,-1 13-16,0 0 0,0 0 0,1 0 16,-1 13-16,0-13 0,0 13 0,1 1 15,-14 12-15,13-13 0,-13 14 16,0-1-16,0 1 0,0-1 0,0 1 15,-13-1-15,13 1 0,0-1 0,0 1 16,0-14-16,0 13 0,0-13 16,0 14-16,0-14 0</inkml:trace>
  <inkml:trace contextRef="#ctx0" brushRef="#br0" timeOffset="41312.05">8083 5583 0,'-13'0'16,"0"0"0,-1 13-1</inkml:trace>
  <inkml:trace contextRef="#ctx0" brushRef="#br0" timeOffset="84342.94">7911 7197 0,'27'13'16,"-14"-13"0,0-13-16,0 13 0,0-14 0,1 1 15,-1 0-15,0 0 0,14-14 0,-14 1 16,0-1-16,0 1 0,0-14 16,1 14-16,-1-14 0,-13 14 0,13-27 15,0 13 1,-13 14-16,0 12 0,0 1 0,0 0 0,0 0 15,0-1-15,0 1 0,0 0 16,-13 26 0,0 0-16,13 14 15,0-14-15,-13 14 16,13-1-16,0 0 0,-14 1 0,14-1 16,0 1-16,0-1 0,0-12 0,14 12 15,-14 0-15,0-12 0,13 12 0,-13-13 16,0 1-16,13-1 0,0 0 15,1-13-15,-14 13 0,13-13 0,0 0 16,14-13-16,-1 0 16,-13 0-16,0-1 0,1-12 15,-1-1-15,0 1 0,0-14 0,-13 14 16,14-14-16,-14 14 0,0-1 0,0 14 16,0-13-16,0 12 0,0 1 15,0 0-15,0 0 0,0 26 31,0 13-15,0-12-16,0 12 0,0-13 16,0 14-16,0-1 0,0 1 0,0-1 15,0-13-15,13 14 0,-13-1 0,13-13 16,-13 1-16,13 12 0,-13-13 0,14 1 16,-1-14-16,-13 13 15,13 0-15,0-13 0,0 0 0,1 0 16,-1 0-16,0 0 0</inkml:trace>
  <inkml:trace contextRef="#ctx0" brushRef="#br0" timeOffset="84627.9">8943 6879 0,'-13'0'31,"52"0"-15,-25-13-16,12 13 15,-13 0-15,1 0 0,12 0 0,-13 0 16,14 0-16,-14-13 0,0 13 15,0 0-15,1 13 0,-1-13 0,0 13 16</inkml:trace>
  <inkml:trace contextRef="#ctx0" brushRef="#br0" timeOffset="84811.82">9009 6998 0,'0'0'0,"-13"13"0,0-13 31,39 0 0,1 0-15,-14 0-16,0-13 0,13 13 0,1-13 15,-1 13-15,1 0 0,-14-13 0,14 13 16,-1-13-16,0 13 0,1-14 16,-1 1-16</inkml:trace>
  <inkml:trace contextRef="#ctx0" brushRef="#br0" timeOffset="85320.59">9829 6694 0,'13'-13'0,"-26"26"0,40-26 0,-14 0 15,0 13-15,0 0 0,1 0 16,-1 0-16,0 0 0,0 0 0,1 0 16,-1 13-16,0 0 0,-13 0 15,0 0-15,-13 1 16,13-1-16,-13 0 0,-1-13 0,14 13 15,-13 1-15,0-1 0,13 0 16,13 0 15,0-13-31,1 0 0,-1 0 16,13 0-16,-13 0 0,1 0 16,-1 13-16,0-13 0,0 0 15,-13 14-15,14-14 0,-14 13 16,0 0-16,-14-13 0,1 13 15,0 1-15,0-1 0,-14 0 0,1-13 16,13 13-16,-14 1 0,1-14 16,12 13-16,1-13 0,-13 13 0,12-13 15,1 0-15,0 0 0,0 0 16,0 0-16,13-13 16,0 0-16</inkml:trace>
  <inkml:trace contextRef="#ctx0" brushRef="#br0" timeOffset="85651.87">10253 6654 0,'-67'27'31,"67"-14"-31,-13 0 0,0 0 16,13 1-16,0-1 0,0 0 15,0 0 1,13-13-16,0 0 0,1 0 16,-1-13-16,0 13 15,0-13-15,1 13 16,-1 0-16,0-13 0,0 26 31,-13 0-31,14 0 16,-14 1-16,0-1 0,0 0 15,0 0-15,0 0 0,0 1 16,0-1-16,0 0 0,0 0 16,13 1-16,0-14 15</inkml:trace>
  <inkml:trace contextRef="#ctx0" brushRef="#br0" timeOffset="85947.84">10716 6694 0,'0'0'16,"-27"0"0,14 13-16,0-13 15,-1 13-15,-12 1 0,13-1 0,-14 0 16,14 0-16,-13-13 0,12 14 0,1-1 16,13 0-16,-13 0 0,0 0 15,13 1-15,0-1 16,13 0-16,0 0 15,0-13-15,1 0 0,-1 0 16,0 0-16,14 0 16,-14 0-16,13-13 0,-13 13 0,14 0 15,-14-13-15,0 13 0,14-13 0,-14 13 16,0-14-16,1 1 0,-1 13 0,-13-13 16,13 0-16,-13 0 0</inkml:trace>
  <inkml:trace contextRef="#ctx0" brushRef="#br0" timeOffset="86127.77">10729 6668 0,'-13'0'0,"26"0"16,-40 13-16,14-13 0,0 13 15,13 0-15,-13 0 16,13 1-16,-14 12 0,14-13 0,0 14 16,0-14-16,-13 13 0,13 1 0,13-14 15,-13 14-15,0-14 0,0 13 0,14-12 16,-14 12-16,13-13 0,-13 0 15,13-13-15,-13 14 0,13-1 16,1-13-16,-1 0 0</inkml:trace>
  <inkml:trace contextRef="#ctx0" brushRef="#br0" timeOffset="86699.08">10941 6760 0,'26'13'47,"-13"1"-31,-13-1-1,0 0 1,13 0-16,1-26 31,-1 13-31,0-13 16,0 13 0,1-13-16,-1 13 15,0 0 1,0 0-16,0 13 15,1 0-15,-14 0 16,13-13 0,0-13 15,0 13-15,-13-13-16,14 13 0,-14-13 15,13 13-15,-13-14 0,13 14 16,0 0-16,1 0 15,-1 0-15,0 0 16,0 0 0,0 14-1,1-1 17</inkml:trace>
  <inkml:trace contextRef="#ctx0" brushRef="#br0" timeOffset="87167.09">11377 6694 0,'0'40'62,"0"-27"-46,0 0-16,13-13 16,-13 13-1,14-26-15,-1 13 16,0 0 0,0-13-1,0 13-15,1 0 31,-1 0-15,0 13 0,0-13 15,1 0-15,-1 0-16,0 0 15,0-13-15,1 13 0,-1 0 16,0 0-16,0 0 15,0-13-15,1 13 0,-1-14 16,0 14-16,-39-13 31</inkml:trace>
  <inkml:trace contextRef="#ctx0" brushRef="#br0" timeOffset="90271.28">22053 8824 0,'0'0'0,"-13"26"15,13 1-15,0-14 0,-13 27 16,13-1-16,0 1 0,-14 0 15,14 13-15,0 13 0,0 0 0,0 0 16,0 0-16,0 14 0,0-14 0,0 13 16,0 1-16,0-1 0,0-13 15,0 13-15,0 1 0,0-1 16,0-13-16,0 14 0,0-1 0,-13 0 16,13 1-16,-13-14 0,13 13 0,-13 1 15,-1-1-15,1-13 0,13 0 16,-13 1-16,13-1 0,-13 0 0,13 0 15,-13-13-15,13 0 0,-14-14 0,14 14 16,-13-13-16,13-13 0,-13 12 0,13-12 16,0-14-16,-13 13 0,13-12 15,0-1-15,0 0 0,0 0 0,-14 1 16,28-41 31,-14 14-32,0 0 1,0-1-16,-14 1 16</inkml:trace>
  <inkml:trace contextRef="#ctx0" brushRef="#br0" timeOffset="90736.11">21669 11298 0,'0'26'16,"0"-13"-1,-13 1-15,13-1 0,0 0 16,0 14-16,0-14 0,0 13 0,0-13 0,0 14 16,0-1-16,0-12 15,0-1-15,0 13 0,13-12 0,-13-1 16,0 0-16,14 0 0,-14 0 0,13 1 16,0-14-16,0 0 15,1 0-15,-1 0 0,0 0 0,0 0 16,14 0-16,-14-14 0,13 14 0,1-13 15,-14 13-15,27-13 0,-14 0 16,1 0-16,-1-1 0,14 14 0,-27-13 16,13 0-16,1 13 0,-1-13 15,1-1-15,-14 14 0,0 0 0,1-13 16,-1 13-16,0 0 0,0 0 16,0-13-16,1 13 0,-1 0 15,-13-13-15,13 13 16,-13-14-1</inkml:trace>
  <inkml:trace contextRef="#ctx0" brushRef="#br0" timeOffset="90889.09">22423 11430 0,'-13'13'16,"0"0"-16,0-13 31,0-13-15</inkml:trace>
  <inkml:trace contextRef="#ctx0" brushRef="#br0" timeOffset="150348.82">6773 10213 0,'-13'-13'31,"26"-1"-16,1 14-15,-1 0 16,13 0-16,-13 14 0,1-14 16,-1 0-16,0 13 0,0 0 15,1 0-15,-14 1 0,13-1 0,-13 0 16,0 0-16,-13 1 0,13-1 0,-14 13 16,14 1-16,-13-14 0,0 13 15,-14-12-15,14-1 0,0 0 16,0 0-16,0 1 0,-1-1 0,1 0 15,0-13-15,13 13 0,-13-13 16,39 0 15,1 0-15,-14 0 0,0-13-16,13 13 0,-12 0 0,-1-13 15,13 13-15,-12-13 0,12-1 16,-13 14-16,14-13 0,-1-13 0</inkml:trace>
  <inkml:trace contextRef="#ctx0" brushRef="#br0" timeOffset="150671.76">7104 10160 0,'0'0'0,"-26"0"0,12 13 16,1 0-16,13 1 15,0-1-15,0 0 16,0 0-16,0 1 0,13-1 0,1 13 15,-1-12-15,13-14 0,-12 13 0,12 0 16,0-13-16,1 13 0,-1-13 16,-12 0-16,12 0 0,-13 0 0,0 0 15,1 0-15,-1 0 0,-13-13 0,13 13 16,-13-13-16,-13 0 16,0-1-16,-1 1 0,1 0 15,-13 0-15,13-1 0,-14 14 0,1-13 16,-1 0-16,14 13 0,-13 0 15,12-13-15,-12 13 0,13 0 0,-1 0 16,1 0-16,0 0 0,26-14 31,0 1-31,1 0 0,12-13 16</inkml:trace>
  <inkml:trace contextRef="#ctx0" brushRef="#br0" timeOffset="150964.85">7369 9935 0,'13'-13'0,"-13"26"31,-13 0-31,13 1 0,0 12 16,-14-13-16,14 14 0,0-1 0,14 1 15,-14-14-15,0 13 0,13 1 0,0-1 16,0-13-16,1 1 0,-1 12 16,13-13-16,-13-13 0,14 14 0,-14-1 15,14-13-15,-14 0 0,0 0 16,0 0-16,1 0 15,-1 0-15,-13-13 0,13 13 0,-13-14 16,-13 1-16,0 0 16,-1 13-16,1 0 15,0 0-15,0 0 0,-1 0 0,-12 0 16,13 0-16,-1 13 0,1-13 0,-13 13 16,13-13-16,13 14 15</inkml:trace>
  <inkml:trace contextRef="#ctx0" brushRef="#br0" timeOffset="151151.14">7805 9829 0,'13'13'31,"-13"14"-31,0-14 0,0 0 16,0 14-16,0-14 0,0 14 15,0-1-15,14 0 0,-14 1 0,0-1 16,0 1-16,13-1 0,-13-12 0,13-1 16,-13 13-16,13-13 0,-13 1 15</inkml:trace>
  <inkml:trace contextRef="#ctx0" brushRef="#br0" timeOffset="151356.76">7660 10028 0,'-14'-14'15,"41"14"1,-14-13-16,0 13 0,1 0 16,-1 0-16,13 0 0,1 0 0,-14 0 15,13 0-15,1 0 0,-1 0 16,14 0-16,-13 0 0,12-13 15,-12 13-15</inkml:trace>
  <inkml:trace contextRef="#ctx0" brushRef="#br0" timeOffset="151765.68">8348 9816 0,'79'-40'31,"-66"40"-15,0 0-16,1 0 0,-1 0 0,0 0 16,0 14-16,1-1 15,-1 13-15,-13-13 0,0 1 0,13 12 16,-13 1-16,0-1 0,0 1 0,0-14 16,0 13-16,0 1 0,0-1 15,0 1-15,0-1 0,0-13 0,0 14 16,0-14-16,0 13 0,0-12 15,0-1-15,0 0 0,0 0 0,13 1 16,-13-1-16</inkml:trace>
  <inkml:trace contextRef="#ctx0" brushRef="#br0" timeOffset="151971.67">8321 10173 0,'-13'-13'15,"39"0"1,-12 13-16,-1-13 16,13 13-16,-12 0 0,12-14 15,0 14-15,1-13 0,13 0 0,-14 0 16,14-1-16,-1 1 0</inkml:trace>
  <inkml:trace contextRef="#ctx0" brushRef="#br0" timeOffset="152301.14">8969 9790 0,'0'-14'0,"0"28"0,-13-41 16,0 27 0,0 0-16,-1 13 0,-12 1 15,13-1-15,-14 0 0,14 13 16,-13 1-16,12-1 0,1 14 15,0-13-15,13 12 0,-13-26 0,26 14 0,-13-1 16,0-12-16,13 12 0,0-13 16,14 1-16,-14-1 0,14 0 15,-1 0-15,-13-13 0,14 0 0,-14 13 0,0-13 16,0 0-16,1-13 16,-1 13-16,0 0 0,-13-13 0,13 0 15,-26 0 1,0-1-16,0 1 0,-1 13 15,-12-13-15,13 13 0,-1 0 16,1 0-16,0 0 0,0 0 0,0 0 16,-1 0-16,1 0 0,0 13 0,0-13 15,13 13 1</inkml:trace>
  <inkml:trace contextRef="#ctx0" brushRef="#br0" timeOffset="152519.89">9446 9684 0,'13'0'0,"-26"0"0,26 13 16,-13 13-16,-13-12 16,13 12-16,0 1 0,0-1 0,0 0 15,0 1-15,0-1 0,0 14 0,0-13 16,0-1-16,0 0 0,0 1 0,0-1 15,0 1-15,0-14 0,13 14 16,-13-14-16,0 0 0,0 0 16,13 0-16,-13 1 0</inkml:trace>
  <inkml:trace contextRef="#ctx0" brushRef="#br0" timeOffset="152720.44">9062 10001 0,'40'0'15,"-27"0"1,13-13-16,-12 13 0,12 0 0,1 0 16,-1 0-16,14-13 0,-14 13 15,1 0-15,12 0 0,-12 0 16,-1-13-16,27 13 0</inkml:trace>
  <inkml:trace contextRef="#ctx0" brushRef="#br0" timeOffset="153148.66">9856 9763 0,'39'0'0,"-25"0"16,12 0-16,-13 0 0,1 13 0,25 14 31,-39-14-31,0 13 0,0-12 15,-13-1-15,0 13 0,0-12 0,-1 12 16,1-13-16,0 1 0,0-1 16,13 0-16,-14 0 0,1 0 15,13 1-15,-13-14 0,13 13 0,0 0 16,0 0 0,13-13-16,0 14 0,1-14 15,-1 0-15,13 0 0,-12 0 0,12 0 16,0 0-16,-12-14 0,12 14 15,-13 0-15,14 0 0,-14-13 16,14 13-16,-14-13 0,0 13 16,0-13-16,0-1 0</inkml:trace>
  <inkml:trace contextRef="#ctx0" brushRef="#br0" timeOffset="153439.1">10253 9723 0,'0'-13'0,"0"26"0,26-26 0,1 13 16,-14 13 0,0-13-16,0 14 0,0-1 15,-13 0-15,0 0 0,-13 1 16,13 12-16,-13-13 0,13 14 16,-13-14-16,13 0 0,-13 0 0,13 1 15,-14-1-15,14 13 16,-13-26-16,13 14 0,13-1 15,1 0-15,-1-13 16,0 0-16,0 0 16,0 0-16,1 0 0,-1 0 15,13 0-15,-12-13 0,12 13 0,1-13 16,-1 13-16,0-14 0,14-12 16,-13 13-16,-1-1 0</inkml:trace>
  <inkml:trace contextRef="#ctx0" brushRef="#br0" timeOffset="153818.32">10888 9737 0,'13'0'0,"-40"26"31,14-13-15,0-13-16,0 14 0,-1 12 16,1-13-16,0-13 0,13 13 15,-13 1-15,13-1 0,-13-13 16,13 13-16,0 0 15,13 1-15,0-14 16,-13 13-16,13-13 16,0 0-16,186-80 78</inkml:trace>
  <inkml:trace contextRef="#ctx0" brushRef="#br0" timeOffset="153882.81">10993 9684 0,'-52'317'93,"65"-304"-77</inkml:trace>
  <inkml:trace contextRef="#ctx0" brushRef="#br0" timeOffset="154172.1">11456 9591 0,'0'53'31,"0"-40"-31,14 14 0,-14 12 15,0-12-15,13 13 16,-13-14-16,13 0 0,0 14 16,-13-13-16,14-1 15,-14-13-15,13 1 0,0-1 0,0 0 16</inkml:trace>
  <inkml:trace contextRef="#ctx0" brushRef="#br0" timeOffset="154371.92">11311 9842 0,'-13'0'31,"39"-13"-31,-13 13 0,1-13 16,12 13-16,14-13 0,-14 13 15,1-13-15,12 13 0,14-14 16,-13 14-16,39-13 15,-26 13-15,-13 0 0,53-13 16</inkml:trace>
  <inkml:trace contextRef="#ctx0" brushRef="#br0" timeOffset="154887.21">11986 9565 0,'13'0'0,"13"26"31,-26-13-15,14-13-16,-14 14 0,0-1 15,13-13-15,-13 13 0,26 14 16,-26-14-16,13-13 0,1 13 16,-14 0-16,13 0 0,-13 1 15,13-1-15,-13 0 0,-13 14 16,-14 12 0,-52-12 46</inkml:trace>
  <inkml:trace contextRef="#ctx0" brushRef="#br0" timeOffset="155037.15">12250 9565 0,'119'225'125,"-106"-239"-110,-26 1-15,0 0 16,-93-172-16,199 357 0,-106-172 0,-1-14 15,1 14-15,0 0 16,0 0-16,-1 0 0,1 0 16,0 14-1</inkml:trace>
  <inkml:trace contextRef="#ctx0" brushRef="#br0" timeOffset="155560.09">12885 9406 0,'-13'53'31,"13"-27"-31,0-12 0,13 12 16,-13 0-16,0-12 0,0 12 15,0 14-15,13-27 0,-13 14 16,0-14-16,0 13 0,14-13 0,-14 1 16</inkml:trace>
  <inkml:trace contextRef="#ctx0" brushRef="#br0" timeOffset="155764.01">12541 9671 0,'0'-14'0,"93"-25"47,-53 39-47,-1-14 0,1 1 0,0 13 15,13-13-15,-14 13 0,1-13 0,0 13 16,-14-14-16,14 14 0,-14-13 16,1 13-16</inkml:trace>
  <inkml:trace contextRef="#ctx0" brushRef="#br0" timeOffset="156204.79">13666 9234 0,'-27'0'0,"14"0"0,0 0 0,-14 0 15,14 0-15,0 13 0,0 0 16,-27 1-16,-13 39 31,53-40-31,13 0 0,1-13 16,-1 13-16,13-13 16,-13-13-16,14 13 0,-14 0 0,14-13 15,-14 13-15,13 0 0,-13-13 0,14 13 16,-14 0-16,0 0 0,1 0 15,-1 0-15,-13 13 16,0 0-16,0 0 16,0 14-16,0-14 0,-13 13 0,13 1 15,-14-14-15,14 14 0,0-1 0,-13-13 16,13 0-16,0 14 0,0-14 16,0 0-16,13-13 0,-13 14 0,14-1 15,-1-13-15</inkml:trace>
  <inkml:trace contextRef="#ctx0" brushRef="#br0" timeOffset="156637.69">14208 9234 0,'0'-13'31,"-26"26"-31,12-13 0,1 13 0,0 0 16,0 1-16,-14 12 0,1-13 0,-1 14 15,1-1-15,13 1 0,-14 12 16,27-25-16,0 12 16,0-13-16,0 1 0,13-1 0,1-13 15,-1 13-15,0-13 0,0 0 16,1 0-16,12 0 0,-13-13 0,14 0 16,-1-1-16,1-12 0,26-14 15,-27 14-15,-13-1 0,1-12 16,-1 12-16,0-13 0,0 14 0,-13 13 15,0-14-15,0 14 0,0 0 16,0 0-16,-13 13 16,0 13-1,0 0-15,-1 0 0,1 14 0,0 12 16,0-12-16,-1 13 0,14-1 0,-13-12 16,13-1-16,0 1 0,0 12 15,0-12-15,13-1 0,-13 1 0,0-1 16,0 1-16,14-1 0,-14 1 0,0-1 15,0-13-15,13 14 0,-26-14 16,13 0-16,-14 27 0,1-27 16</inkml:trace>
  <inkml:trace contextRef="#ctx0" brushRef="#br0" timeOffset="157095.23">7131 11311 0,'0'0'0,"39"0"0,-12 0 0,26 0 16,13-13-16,0-1 0,26 1 0,41-13 15,-1-1-15,0 1 0,27-14 16,185-26-16,-93 13 16,-12 0-16,12 14 0,0-14 0,278-53 15,-264 53-15,26 0 0,-13 0 16,13 13-16,0-13 0,291-26 15,-291 39-15,0 1 0,0-1 16,278-26-16,-304 39 0,12-12 16,-12 12-16,0-12 0,-14 12 15,199-26-15,-265 40 0,0-14 16,-13 14-16,-13 0 0,13 0 0,-27 0 16,-12-1-16,-41 1 0,-12 13 15,-1-13-15,-26 13 0,0-13 0,-27 13 16,1-14-16</inkml:trace>
  <inkml:trace contextRef="#ctx0" brushRef="#br0" timeOffset="157767.74">17449 9723 0,'13'0'32</inkml:trace>
  <inkml:trace contextRef="#ctx0" brushRef="#br0" timeOffset="158063.63">17436 10411 0,'13'-13'0,"-13"40"16,0-14 0</inkml:trace>
  <inkml:trace contextRef="#ctx0" brushRef="#br0" timeOffset="158276.72">17476 11046 0,'-14'14'16,"14"-1"15,-13 0-31,13 0 16,0 0-16,0 1 0,-13-1 15</inkml:trace>
  <inkml:trace contextRef="#ctx0" brushRef="#br0" timeOffset="158455.72">17357 11748 0,'-14'13'0,"28"-26"0,-41 39 0,27-13 16,-13-13-16,13 13 0,-13-13 16,13 14-16,-13-14 15</inkml:trace>
  <inkml:trace contextRef="#ctx0" brushRef="#br0" timeOffset="159136.14">11337 11509 0,'27'-26'0,"-14"13"0,27-14 31,-27 27-31,-13-13 16,-13 39 0,-14-12-1,14-1-15,0 0 0,-14 0 16,14 1-16,0-1 0,0 0 0,-1-13 15,14 13-15,-13 1 0,13-1 16,0 0-16,13-13 0,1 13 16,-1 0-16,13 1 0,-12-14 0,12 13 15,1 0-15,-1 0 0,-13 1 16,0-1-16,1-13 0,-1 13 0,0 0 16,-13 1-16,13-1 0,-26 0 15,13 13-15,-13-12 0,-14 12 0,1 1 16,-14-1-16,14-13 0,-27 14 0,13-14 15,-13 13-15,14-12 0,-14-1 16,13 0-16,0-13 0,1 13 0,12-13 16</inkml:trace>
  <inkml:trace contextRef="#ctx0" brushRef="#br0" timeOffset="180559.46">6919 13335 0,'26'-13'16,"-12"13"-16,-1 0 0,0-13 15,0 13-15,0 0 0,1 0 0,-1-14 16,0 14-16,14 0 0,-14-13 16,0 13-16</inkml:trace>
  <inkml:trace contextRef="#ctx0" brushRef="#br0" timeOffset="180875.01">7025 13600 0,'-14'0'16,"41"13"0,-14-26-1,0 13-15,1 0 0,-1 0 16,13-14-16,-12 14 0,-1 0 15,0-13-15,0 13 0,14-13 0,-14 0 16,0 13-16</inkml:trace>
  <inkml:trace contextRef="#ctx0" brushRef="#br0" timeOffset="181144.01">7488 13176 0,'-14'27'32,"28"-1"-32,-14-13 0,0 1 15,0-1-15,13 13 0,-13-12 0,13-1 16,-13 13-16,13 1 0,-13-14 0,0 13 15,27 27 1,-27-39-16,13 12 16,-13-13-16</inkml:trace>
  <inkml:trace contextRef="#ctx0" brushRef="#br0" timeOffset="181516.94">7699 13176 0,'14'-13'0,"25"26"32,-25-13-32,-14 13 0,0 1 0,13-1 15,-13 0-15,0 0 0,-13 1 0,13 12 16,-14 1-16,1-14 0,13 13 15,-13 1-15,0-14 0,13 0 0,-14 0 16,14 1-16,-13-1 0,13 0 16,0 0-16,-13 1 15,13-1-15,0 0 16,13-13 0,14 0-16,-14 0 15,0-13-15,0 13 0,1 0 16,12-13-16,-13-1 0,0 14 0,1-13 15,-1 0-15,0 13 0,0-13 0,1-1 16,-1 14-16,-13-13 0,13 0 0</inkml:trace>
  <inkml:trace contextRef="#ctx0" brushRef="#br0" timeOffset="181911.91">8030 13084 0,'27'-14'31,"-27"1"-31,13 13 0,0 0 0,0 0 16,0 0-16,1 0 0,-1 0 15,0 13-15,0-13 0,1 0 16,-14 14-16,13-14 0,0 13 0,-13 0 16,13 0-16,-13 1 0,14 12 0,-14-13 15,0 0-15,13 1 0,-13 12 16,0-13-16,13 1 0,-13-1 0,0 13 15,0-12-15,0-1 0,0 0 0,0 0 16,0 0-16,0 1 16,0-1-1</inkml:trace>
  <inkml:trace contextRef="#ctx0" brushRef="#br0" timeOffset="182105.28">8162 13295 0,'-13'0'0,"0"0"16,39-13-1,-12 13-15,-1 0 16,-13-13-16,26 13 0,-12-13 16,-1 13-16,0 0 0,13-14 0,-12 14 15,-1-13-15,0 13 0,0 0 0,1-13 16,-1 13-16,0-13 0</inkml:trace>
  <inkml:trace contextRef="#ctx0" brushRef="#br0" timeOffset="182257.03">8546 13084 0,'-13'-14'15</inkml:trace>
  <inkml:trace contextRef="#ctx0" brushRef="#br0" timeOffset="182576.05">8665 12951 0,'13'0'0,"14"14"32,-27-1-32,0 0 0,0 0 15,0 1-15,-13 12 0,13-13 0,-14 14 16,14-14-16,-13 13 0,13-12 0,0-1 16,0 0-16,0 0 0,0 0 15,0 1-15,0-1 16,13-13-16,1 13 0,-1-13 15,0 0-15,13 0 16,-12-13-16,-1 13 0,0 0 16,0-13-16,1 13 0,-1 0 0,0-14 15,0 14-15,1 0 16,-1 0-16,-26 27 31</inkml:trace>
  <inkml:trace contextRef="#ctx0" brushRef="#br0" timeOffset="182804.74">7924 13745 0,'-13'0'0,"53"-26"15,-27 26 1,13-14-16,14 1 0,0 0 15,-1 0-15,14-1 0,0 1 0,13-13 16,-13 13-16,14-14 0,-28 14 0,14 0 16,-13-1-16,-1 1 0,-12 13 15,-1-13-15,-12 13 0,-1 0 0,0-13 16,0 13-16</inkml:trace>
  <inkml:trace contextRef="#ctx0" brushRef="#br0" timeOffset="183032.86">8123 13758 0,'0'14'0,"13"-14"16,13-14 0,1 14-16,-14-13 0,14 13 0,12-13 15,1 0-15,0-1 0,-1 1 0,1 0 16,0-14-16,-14 14 0,14 0 15,-14 0-15,1 0 0,-1 13 0,-13-14 16,1 1-16,-1 13 0,0-13 16,-13 0-16,13 13 0,-13-14 0,0 1 15</inkml:trace>
</inkml:ink>
</file>

<file path=ppt/ink/ink1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4:19.552"/>
    </inkml:context>
    <inkml:brush xml:id="br0">
      <inkml:brushProperty name="width" value="0.05292" units="cm"/>
      <inkml:brushProperty name="height" value="0.05292" units="cm"/>
      <inkml:brushProperty name="color" value="#0070C0"/>
    </inkml:brush>
  </inkml:definitions>
  <inkml:trace contextRef="#ctx0" brushRef="#br0">6350 1191 0,'26'0'94,"54"0"-94,39 13 15,40-13-15,79 0 16,92 0-16,94 0 16,158 0-16,-13 0 15,39 0-15,-65 0 16,26 0-16,-106 0 16,-27 0-16,-79 0 15,-105 0-15,-94 0 16,-52 0-16,-66 0 15</inkml:trace>
  <inkml:trace contextRef="#ctx0" brushRef="#br0" timeOffset="1832.01">7197 1336 0,'13'0'62,"79"0"-62,54 0 16,52 0-16,-52 0 16,105 0-16,-39 0 15,39 0-15,14 0 16,-80 0-16,27 0 16,13 0-16,-14 0 15,14 0-15,-40 0 16,27 0-16,13 0 15,-53 0 1,0 0-16,-26 0 16,-41 0-16,1 0 15,-40 0-15,-26 0 16,-14 0-16,-12 0 16,-1 0-16,13 0 250,27 0-235,0 0-15,27 0 16,-14 0-16,-13 0 15,26 0-15,-39 0 16,-1 0-16,-25 0 16</inkml:trace>
  <inkml:trace contextRef="#ctx0" brushRef="#br0" timeOffset="12137.1">2222 10041 0,'-13'13'16,"13"0"-16,-13 14 0,13-1 0,-13-12 15,13-1-15,0 13 0,0-13 0,-13 1 16,13 12-16,0-13 0,0 1 15,0-1-15,-14 0 0,14 0 0,0 1 16,0-1-16,0 0 0,0 0 0,0 0 16</inkml:trace>
  <inkml:trace contextRef="#ctx0" brushRef="#br0" timeOffset="12330.91">2394 10200 0,'0'0'0,"14"13"0,-1-13 0,0 13 16,-13 0-16,13-13 0,-13 14 0,14-1 15,-14 0-15,0 0 16,0 14-16,0-14 0,-14 27 16,14-27-16,0 0 0,-13 0 15,13 1-15,0-1 0,0 0 0,-13-13 16,13 13-16</inkml:trace>
  <inkml:trace contextRef="#ctx0" brushRef="#br0" timeOffset="12844.88">2937 10120 0,'79'14'32,"-66"-1"-32,-13 0 15,14 0-15,-28 0 0,14 1 0,0-1 16,-13 0-16,0 0 0,13 1 0,-13-1 15,0 0-15,13 0 0,-14 1 16,1-1-16,13 0 16,-13-13-16,13 13 15,13-13 1,0 0 0,14 0-16,-14 0 0,0-13 15,0 13-15,1 0 0,12-13 0,-13 13 16,1-13-16,-1-1 0,0 14 15,0-13-15,1 13 0,-1 0 0,-13-13 16,13 13-16,0 0 16,0 0-16,1 13 15,-1 0-15,-13 1 16,0-1-16,0 0 16,0 0-16,0 0 0,-13 14 15,13-14-15,-14 0 0,14 1 0,-13-1 16,13 0-16,-13 0 0,13 1 0</inkml:trace>
  <inkml:trace contextRef="#ctx0" brushRef="#br0" timeOffset="13980.78">3784 10186 0,'39'0'47,"-26"0"-32,-13 14-15,0-1 0,14-13 16,-14 13-16,0 0 0,0 1 15,0-1 1,0 0 0,13 0-1,0 1 1,-26-1 0,13 0-1,-13-13-15,13 13 0,-14-13 16,1 13-16,0 1 0,0-14 15,0 13-15</inkml:trace>
  <inkml:trace contextRef="#ctx0" brushRef="#br0" timeOffset="14154.91">4048 10319 0,'13'13'16,"-26"-26"-16,40 26 0,-27 0 15,0 0-15,0 1 0,-14-1 16,14 0-16,-13 0 0,0 1 0,0-1 16,-1 0-16,1 0 0,0 1 15,13-1-15,-13 0 0,13 0 16</inkml:trace>
  <inkml:trace contextRef="#ctx0" brushRef="#br0" timeOffset="14608.2">4723 10200 0,'-40'26'31,"14"-26"-31,12 13 0,1 1 15,0-1-15,0 0 0,0 0 0,-1 1 16,1-1-16,13 0 16,-13-13-16,13 13 0,0 0 15,13-13-15,-13 14 16,13-14-16,1 0 0,-1 13 0,0-13 16,0 0-16,14 0 0,-14 0 0,0 0 15,14 0-15,-14 0 0,13 0 16,-13-13-16,1 13 0,-1 0 0,0-14 15,0 14-15,1-13 0,-1 13 0,-13-13 16</inkml:trace>
  <inkml:trace contextRef="#ctx0" brushRef="#br0" timeOffset="14808.14">4749 10200 0,'0'0'0,"-13"0"0,13 13 0,-13-13 16,13 13-16,0 0 0,0 1 15,0-1-15,0 0 0,-13 14 0,13-1 16,0-13-16,0 14 0,0-1 0,0 1 16,0-14-16,-14 13 0,14-12 15,14 12-15,-14-13 0,0 0 0,0 1 16,0-1-16,13 0 0,-13 0 16,13-13-16</inkml:trace>
  <inkml:trace contextRef="#ctx0" brushRef="#br0" timeOffset="15180.14">5450 10107 0,'-79'40'31,"66"-27"-31,0-13 16,-1 13-16,1 0 0,0-13 0,13 14 16,0-1-16,0 0 0,13 0 15,-13 1-15,13-14 0,1 13 16,-1 0-16,0 0 0,0 1 0,1-1 15,-1-13-15,-13 13 0,0 0 16,13-13-16,-13 13 0,-13 1 16,0-1-16,-1-13 15,1 13-15,0-13 0,0 0 0,-14 13 16,14-13-16,0 14 0,-14-14 16,14 0-16,-13 0 0,-1 0 15</inkml:trace>
  <inkml:trace contextRef="#ctx0" brushRef="#br0" timeOffset="15516.4">4961 10345 0,'0'13'0,"0"14"15,0-14-15,0 0 0,-13 14 16,13-1-16,-14 1 0,-12 12 16,13 1-16,-14 0 0,1-1 0,13-12 15,-1 13-15,-12-14 0</inkml:trace>
  <inkml:trace contextRef="#ctx0" brushRef="#br0" timeOffset="21047.83">3400 10186 0,'13'-13'31,"0"13"-15,1 13 15,-1 1-16,-26-1 1,13 0-16,0 0 16,-14 1-16,14-1 15,0 0-15,0 0 16,14-13 0,-1 0-1,-13 14-15,13-14 0,0 13 16,0-13-1,-13 13-15,0 0 16,0 0 0,-13-13-16,13 14 0,-13-14 0,13 13 15,-13-13-15,0 13 0,-1-13 16,1 13-16,0-13 16</inkml:trace>
  <inkml:trace contextRef="#ctx0" brushRef="#br0" timeOffset="21307.71">3585 10332 0,'27'13'15,"-14"0"-15,-13 1 16,0-1-16,13 0 16,-13 0-16,0 1 0,-13-1 15,13 0-15,0 14 0,-13-14 0,-1 0 16,14 0-16,-26 0 0,13 1 16,13-1-16,-14 0 0,1 0 0,0 1 15</inkml:trace>
  <inkml:trace contextRef="#ctx0" brushRef="#br0" timeOffset="23576.02">5728 10358 0,'0'14'32,"0"-1"-17,0 0-15,0 0 0,0 1 0,-13-1 16,13 0-16,-13 0 0,13 1 0,0-1 16,-13 0-16,-1 0 15,14 0-15,-13 1 0</inkml:trace>
  <inkml:trace contextRef="#ctx0" brushRef="#br0" timeOffset="24393.89">6019 10147 0,'13'0'16,"1"0"-1,-1 0-15,0 0 0,0 0 16,1 0-16,-1 0 0,0 0 15,0 0-15,1 0 0,-1 0 0,0 0 16,0 0-16,0 13 16,1-13-16,-1 0 15,-13 13-15,0 0 16,0 1-16,0-1 0,-13 0 16,13 0-16,0 1 0,0-1 0,-14 13 15,14-12-15,0-1 0,-13-13 16,13 13-16,0 0 0,-13 0 15,13 1-15,0-1 0,0 0 16,0 0-16,0 1 0,-13-14 16,13 13-1</inkml:trace>
  <inkml:trace contextRef="#ctx0" brushRef="#br0" timeOffset="24705.14">5980 10319 0,'13'0'0,"0"0"0,0 0 0,0 0 15,14 0-15,-14 0 0,0 0 16,14 0-16,-1-13 0,-12 13 16,12 0-16,0 0 0,1 0 0,-1 0 15,1 0-15,-14 0 0,0 0 0,14 0 16,-14 0-16,0 0 0,0 0 16,1 0-16,-14 13 0,13-13 0,0 0 15,0 0-15,1 0 16</inkml:trace>
  <inkml:trace contextRef="#ctx0" brushRef="#br0" timeOffset="29401.96">1482 10332 0,'39'0'16,"-25"0"-16</inkml:trace>
  <inkml:trace contextRef="#ctx0" brushRef="#br0" timeOffset="29568.78">1402 10517 0,'0'0'0,"53"-13"16</inkml:trace>
  <inkml:trace contextRef="#ctx0" brushRef="#br0" timeOffset="31932.24">1349 11404 0,'0'0'0,"40"0"0,-27-14 0,14 14 16,-14 0-16,13-13 0,-12 13 15</inkml:trace>
  <inkml:trace contextRef="#ctx0" brushRef="#br0" timeOffset="32327.08">1270 11271 0,'26'13'0,"-12"-13"15,-1-13-15,0 13 0,0 0 16,14 0-16</inkml:trace>
  <inkml:trace contextRef="#ctx0" brushRef="#br0" timeOffset="33560.71">2394 11152 0,'14'13'16,"-14"1"-16,13-1 16,-13 0-16,0 0 0,0 1 0,0-1 15,0 0-15,0 0 0,-13 14 16,13-14-16,0 0 0,0 0 0,0 1 16,0-1-16,0 0 0,0 0 15</inkml:trace>
  <inkml:trace contextRef="#ctx0" brushRef="#br0" timeOffset="33781">2659 11139 0,'0'13'31,"0"0"-16,0 1-15,0-1 0,0 0 16,0 14-16,0-14 0,0 0 16,0 0-16,0 0 0,0 1 0,13-1 15,-13 0-15,0 0 0,0 1 16</inkml:trace>
  <inkml:trace contextRef="#ctx0" brushRef="#br0" timeOffset="33964.87">2566 11324 0,'0'-13'0,"27"13"32,-14 0-32,-13 13 0,13-13 0,14 0 15,-14 0-15,0 0 0,1 0 16,12 0-16,-13 0 0,14 0 0,-14 0 15</inkml:trace>
  <inkml:trace contextRef="#ctx0" brushRef="#br0" timeOffset="34272.04">3056 11192 0,'13'-13'16,"0"13"-16,1 0 16,-1 26-1,0-13-15,-13 1 0,0-1 0,-13 0 16,13 0-16,-13 14 0,-1-14 16,1 0-16,13 0 0,-13 1 0,0-1 15,13 0-15,-14 0 0,1-13 0,13 14 16,-13-1-16,26 0 31,0-13-31,1 0 16,-1 0-16,0 0 15,14-13-15,-14 13 0</inkml:trace>
  <inkml:trace contextRef="#ctx0" brushRef="#br0" timeOffset="34443.36">3334 11245 0,'13'0'0,"-26"0"0,26-13 31,-26 52-15,13-26-1,0 1 1,0-1-16,0 0 0,0 0 0,0 1 16,0-1-16,0 0 0,0 0 0,0 1 15,0-1-15</inkml:trace>
  <inkml:trace contextRef="#ctx0" brushRef="#br0" timeOffset="34601.05">3241 11351 0,'13'-14'15,"1"1"-15,-1 13 0,0 0 16,0-13-16,14 13 0,-1-13 0,-13 13 15,14 0-15,-1-14 0,1 14 0</inkml:trace>
  <inkml:trace contextRef="#ctx0" brushRef="#br0" timeOffset="35051.03">3704 11245 0,'0'0'0,"27"-13"15,-14 26-15,0-13 16,-13 13-16,13-13 0,-26 26 16,13-12-1,0-1-15,0 0 16,0 0-16,13 1 15,-13-1 1,14-13-16,-14 13 0,0 0 16,0 1-16,-14-1 15,1 0-15,13 0 16,-13-13-16,13 13 0,-27 1 0</inkml:trace>
  <inkml:trace contextRef="#ctx0" brushRef="#br0" timeOffset="35299.33">4088 11205 0,'0'13'16,"0"1"-16,0-1 0,0 0 16,0 0-16,0 0 15,0 1-15,0-1 0,0 0 0,0 0 16,0 1-16,0-1 0,0 0 16,0 0-16,0 1 0</inkml:trace>
  <inkml:trace contextRef="#ctx0" brushRef="#br0" timeOffset="35474.55">3942 11417 0,'27'-27'32,"-14"27"-32,0 0 0,0 0 15,1 0-15,-1-13 0,13 13 0,-12 0 16,12 0-16,-13 0 0,14 0 15,-14-13-15,13 13 0</inkml:trace>
  <inkml:trace contextRef="#ctx0" brushRef="#br0" timeOffset="35857.87">4366 11258 0,'13'-13'16,"0"26"-1,-13 0-15,0 0 16,0 1-16,0-1 16,0 0-1,0 0-15,0 1 16,13-1-16,-13 0 16,0 0-1,-13 1-15,13-1 16,0 0-16,-13-13 0,13 13 15,-13 0 1</inkml:trace>
  <inkml:trace contextRef="#ctx0" brushRef="#br0" timeOffset="36056.81">4617 11232 0,'0'0'0,"26"39"32,-26-26-17,0 1-15,0-1 16,14 0-16,-14 0 0,0 1 16,0-1-16,-14 0 15</inkml:trace>
  <inkml:trace contextRef="#ctx0" brushRef="#br0" timeOffset="36225.43">4538 11404 0,'39'-27'31,"-25"27"-31,12-13 16,-13 13-16,0-13 0,14 13 15,-14 0-15,0-14 0,14 14 0</inkml:trace>
  <inkml:trace contextRef="#ctx0" brushRef="#br0" timeOffset="36727.5">5252 11245 0,'-66'39'15,"53"-39"-15,-1 14 16,14-1-16,-13-13 0,0 13 0,0 0 16,-1 1-1,14-1-15,-13-13 0,13 13 16,0 0-16,13-13 0,-13 14 16,14-14-16,-1 0 15,0 13-15,0-13 0,1 0 0,-1 0 16,0 0-16,0-13 0,1 13 0,-1 0 15,0-14-15,0 14 0,0 0 16</inkml:trace>
  <inkml:trace contextRef="#ctx0" brushRef="#br0" timeOffset="36909.21">5358 11192 0,'0'0'16,"-13"0"-16,-1 13 0,14 0 0,0 1 15,0-1-15,0 0 0,-13 0 0,13 0 16,0 14-16,0-14 0,0 14 16,0-14-16,0 13 0,0-12 0,0 12 15,13-13-15,-13 0 0,0 1 16,0-1-16,14 0 0</inkml:trace>
  <inkml:trace contextRef="#ctx0" brushRef="#br0" timeOffset="37112.18">5636 11218 0,'0'0'0,"0"40"31,0-27-31,-14 0 0,14 1 16,0-1-16,0 0 0,0 0 15,0 1-15,0-1 0,0 0 0,14 0 16,-14 1-16,0-1 0</inkml:trace>
  <inkml:trace contextRef="#ctx0" brushRef="#br0" timeOffset="37295.82">5517 11351 0,'26'-14'31,"-13"1"-31,0 13 0,1 0 0,-1 0 16,13-13-16,-12 13 0,12 0 0,-13 0 16,14-13-16</inkml:trace>
  <inkml:trace contextRef="#ctx0" brushRef="#br0" timeOffset="37741.03">6204 11205 0,'-26'0'0,"0"0"15,12 0-15,1 0 0,0 13 0,0-13 16,-1 0-16,1 0 0,0 14 15,0-14-15,-1 0 0,14 13 16,0 0-16,14 0 16,-1-13-1,-13 13-15,13-13 0,0 14 16,-13-1-16,14-13 0,-14 13 0,13 0 16,-13 1-16,0-1 15,-13 0-15,-1 0 0,14 1 16,-13-1-16,0-13 0,13 13 0,-13-13 15,-1 13-15,1-13 16</inkml:trace>
  <inkml:trace contextRef="#ctx0" brushRef="#br0" timeOffset="37935.75">6376 11152 0,'14'0'0,"12"13"31,-13 1-31,-13-1 16,0 0-16,14 0 0,-14 1 0,0-1 15,0 13-15,13-13 0,-13 1 0,0-1 16,0 0-16,0 0 0,13 1 16,-13-1-16,0 0 0</inkml:trace>
  <inkml:trace contextRef="#ctx0" brushRef="#br0" timeOffset="38140.92">6297 11337 0,'40'-13'31,"-27"13"-31,0 0 0,0 0 16,14-13-16,-14 13 0,0 0 0,1 0 16,-1 0-16,0 0 0,0 0 15</inkml:trace>
  <inkml:trace contextRef="#ctx0" brushRef="#br0" timeOffset="38409.07">6668 11112 0,'0'0'0,"13"-13"0,0 26 31,0-13-31,-13 14 0,13-1 15,-13 0-15,0 0 0,0 1 16,0-1-16,0 0 0,14 0 0,-14 1 16,0-1-16,-14 0 0,14 0 15,0 0-15,0 1 0,0-1 0,0 0 16,-13-13-16</inkml:trace>
  <inkml:trace contextRef="#ctx0" brushRef="#br0" timeOffset="38575.25">6641 11271 0,'13'0'16,"40"-13"0,-40 13-16,1 0 15,-1-13-15,13 13 0,-12 0 0,-1 0 16,13-13-16</inkml:trace>
  <inkml:trace contextRef="#ctx0" brushRef="#br0" timeOffset="39478.01">2805 11919 0,'-14'0'15,"107"0"17,-40 0-32,26 0 0,27-13 15,13 13-15,13-13 0,27 0 0,-13 0 16,26-1-16,0 14 0,0-13 15,0 0-15,13 13 0,13-13 0,-13-1 16,1 14-16,-1-13 0,0 13 0,14-13 16,-14 13-16,-13 0 0,0-13 15,-14 13-15,1 0 0,-13 0 0,-14 0 16,-13 0-16,-26 0 0,-1 0 16,1 0-16,-27 0 0,0 0 0,-26 0 15,0 13-15,-1-13 0,-26 0 16,1 0-16,-67-13 15</inkml:trace>
  <inkml:trace contextRef="#ctx0" brushRef="#br0" timeOffset="41655.64">5450 10306 0</inkml:trace>
  <inkml:trace contextRef="#ctx0" brushRef="#br0" timeOffset="41825.28">6138 10200 0</inkml:trace>
  <inkml:trace contextRef="#ctx0" brushRef="#br0" timeOffset="42475">4736 11959 0,'66'-13'15,"-53"13"-15,1 0 0,-1-13 16,0 13-16,0 0 0,1 0 0,-1 0 15,0 0-15,0 0 0,0 13 16,1-13-16,-1 13 0,-13 0 16,13 1-16,-13-1 0,13 0 15,-13 0-15,0 1 0,0-1 16,0 0-16,0 13 0,0-12 0,0-1 16,0 13-16,14-26 0,-14 14 15,0-1-15,0 0 16</inkml:trace>
  <inkml:trace contextRef="#ctx0" brushRef="#br0" timeOffset="42632.64">4855 12131 0,'27'0'0,"-14"0"0,0-13 16,13 13-16,1 0 0,39-13 15,-39 13-15,-1 0 16,0-14-16,1 14 0,-1 0 0,-12 0 16,-1 0-16,0 0 0,0 14 15</inkml:trace>
  <inkml:trace contextRef="#ctx0" brushRef="#br0" timeOffset="43112.21">2672 13123 0,'0'0'0,"40"-13"0,-27 13 16,53-13-16,-52 0 15,12 13-15,1 0 0,-14 0 16,13-14-16,-13 14 0,1 0 0</inkml:trace>
  <inkml:trace contextRef="#ctx0" brushRef="#br0" timeOffset="43326.38">2752 13295 0,'39'0'16,"-12"-13"-16,26 0 15,-27 13 1,14-13-16,13-1 16,-40 14-16,53-13 15,-53 13-15,1-13 0</inkml:trace>
  <inkml:trace contextRef="#ctx0" brushRef="#br0" timeOffset="49996.9">6403 11218 0,'0'-13'32,"0"0"-17,0 0 1,-13-1-1,13 1 17,13 40-1,-13-14-31,13 0 0,-13 0 16,0 14-16,13-14 0,-13 0 0,0 14 15,0-14-15,14 0 0,-14 14 16,0-14-16,0 0 0,0 0 0,0 1 15,0-1-15,0 0 0,0 0 0,-14 0 16,14 1-16,0-1 16,14-40 31,-14 14-47,0 0 0,0-13 15,0 12-15,0 1 0,0-13 0,0 12 16,0-12-16,0 13 0,0-1 15,0-12-15,0 13 0,0 0 0,0-1 16,0 1-16,0 0 16,0 53 15,0-27-31,0 0 0,0 0 0,0 0 16,0 1-16,0-1 0,0 13 0,0-12 15,0-1-15,0 0 0,-14 0 16,14 1-16,0-1 0,0 0 0,0 0 15,0 0-15,0 1 0,0-1 32</inkml:trace>
  <inkml:trace contextRef="#ctx0" brushRef="#br0" timeOffset="50445.95">6310 11404 0,'0'-14'16,"53"1"-1,-40 13 1,1-13-16,-1 13 0,13 0 15,-12 0-15,-1-13 0,0 13 0,0 0 16,1 0-16,-1 0 0,0-14 16,-53 28 15,27-14-31,0 13 16,-14-13-16,14 0 0,0 0 15,0 0-15,-1 0 0,1 0 16,0 13-16,0-13 0,0 0 15,52 0 17,-26 0-32,1 0 15,-1 0-15,0 0 16,0-13-16,1 13 0,-1 0 0,0 0 16,0 0-16,1 0 0,-1-13 15</inkml:trace>
  <inkml:trace contextRef="#ctx0" brushRef="#br0" timeOffset="51032.39">6628 11112 0,'40'-13'31,"-27"13"-31,0 0 16,0 0-16,0-13 0,1 13 16,-1 0-16,0 0 15,0 0 1,1 0-1,-14 13 1,13-13-16,-13 53 16,0-40-16,0 1 15,0 12-15,13-13 0,-13 14 0,0-14 16,0 13-16,0-12 0,0-1 0,0 13 16,0-12-16,0 12 0,0-13 15,0 1-15,0-1 0,0 0 0,0 0 16,0 0-16,13 1 0,-13-1 15,0 0-15,0 0 0,0 1 32,0-1-32</inkml:trace>
  <inkml:trace contextRef="#ctx0" brushRef="#br0" timeOffset="51300.92">6668 11324 0,'0'0'0,"13"-13"16,0 13-16,0 0 15,0 0-15,1-13 0,-1 13 16,0 0-16,14 0 0,-14 0 0,13 0 15,-13 0-15,14-14 0,-1 14 0,-12 0 16,-1 0-16,0 0 0,0 0 16,1 0-16,-1 0 0,0 0 0,0 0 15,0 0-15,1 0 0,-1 0 32</inkml:trace>
  <inkml:trace contextRef="#ctx0" brushRef="#br0" timeOffset="62172.18">4458 12925 0,'-39'26'0,"25"-26"16,1 14-16,0-1 0,-14 0 15,1 14-15,-14-14 0,14 13 0,-1-13 16,1 1-16,-1-1 0,14 0 0,0 0 16,0 1-16,0-14 0,-1 13 0,14 0 15,0 0 1,14-13-16,-1 13 15,0-13-15,0 0 0,14 0 0,-14 0 16,13 0-16,1 0 16,-1 0-16,-13 0 0,14 0 0,-1 0 15,-12 0-15,-1 0 0,0 0 0,0 0 0,1-13 16,-1 13-16,0 0 16,-13-13-16</inkml:trace>
  <inkml:trace contextRef="#ctx0" brushRef="#br0" timeOffset="62361.28">4366 12965 0,'-14'13'15,"14"0"-15,-13 0 16,13 14-16,0-14 0,0 0 16,-13 40-16,13-26 15,0-1-15,0 0 0,-13 1 0,13-1 16,0-12-16,-14 12 0,14-13 15,0 14-15,0-14 0,0 0 16</inkml:trace>
  <inkml:trace contextRef="#ctx0" brushRef="#br0" timeOffset="62856.18">4749 13176 0,'-53'53'16,"27"-26"-16,-14 12 0,1 1 16,-1 0-16,-13 13 0,13-14 0,1 1 15,-1 0-15,13-1 0,-12-12 0,-1 26 16,27-40-16,0-13 15,13 13-15,13-53 16</inkml:trace>
  <inkml:trace contextRef="#ctx0" brushRef="#br0" timeOffset="63008.43">4868 13097 0,'-53'106'31,"14"-53"-31,-80 79 0,39-53 15,14 1-15,-13-1 16,-1 0-16,-12 1 0,-54 79 16,67-67-16,-27 27 0</inkml:trace>
  <inkml:trace contextRef="#ctx0" brushRef="#br0" timeOffset="67132.08">2037 6906 0,'66'0'0,"-39"0"0,-1 0 15,14 0-15,13 0 0,26 0 0,1 0 16,12 0-16,1-14 0,0 14 16,12 0-16,1 0 0,0-13 0,0 13 15,-14 0-15,14 0 0,-13 0 16,13 0-16,-27 0 0,14 0 0,65 0 15,-91 0-15,38 0 16,-52 0-16,-13 0 0,-13 13 16,-14-13-16,13 0 0,-13 0 0</inkml:trace>
  <inkml:trace contextRef="#ctx0" brushRef="#br0" timeOffset="67462.14">2963 6985 0,'66'0'0,"-26"0"16,13-13-16,13 13 0,0 0 16,14 0-16,92 0 0,-93-13 15,14 13-15,-1 0 0,67 0 16,-93 0-16,225 0 15,-238 0 1,-26 0-16,12 0 0,-12 13 0,12-13 16,-25 0-16,-1 0 15,0 0-15,0 0 0,1 0 0,-1 0 16,0 0 0,0 0-1</inkml:trace>
  <inkml:trace contextRef="#ctx0" brushRef="#br0" timeOffset="68037">1852 7594 0,'0'0'16,"27"0"0,12 13-16,1-13 0,13 0 15,0 0-15,13 0 0,0 0 16,13 0-16,1 0 0,-1 0 0,-13 0 15,0 0-15,-13 0 0,14 0 16,-15 0-16,1 0 0,0 0 0,-13 0 16,-14 0-16,1 0 0,-14 0 15,14 0-15,-14 0 0,-53 13 16</inkml:trace>
  <inkml:trace contextRef="#ctx0" brushRef="#br0" timeOffset="68222.1">1812 7766 0,'-13'0'0,"53"13"15,-27-13 1,27 0-16,-1 0 0,14-13 0,0 13 16,53 0-16,-53-14 0,0 14 15,13 0-15,-13 0 0,0-13 16,13 13-16,-13 0 0,0-13 15,0 13-15,53 0 0</inkml:trace>
  <inkml:trace contextRef="#ctx0" brushRef="#br0" timeOffset="68747.53">3850 7633 0,'92'13'16,"-39"-13"-16,13 0 16,14 0-16,12 0 0,1 0 0,0 0 15,105-13-15,-92 13 0,0 0 16,-14 0-16,107 0 15,-120 0-15,67 0 0,-93 0 16,26 0-16,-39 0 0,-27 0 16</inkml:trace>
  <inkml:trace contextRef="#ctx0" brushRef="#br0" timeOffset="68953.7">4339 7752 0,'80'-13'0,"-41"13"15,14 0-15,13 0 0,14 0 16,-14 0-16,13 0 0,1 0 16,78 0-16,-78 0 0,-14 0 15,-13 0-15,0 0 0,-14 0 0,1 0 16,-13 0-16</inkml:trace>
  <inkml:trace contextRef="#ctx0" brushRef="#br0" timeOffset="69533.88">2275 8401 0,'53'0'0,"-13"0"16,-14 0-16,27-14 16,93 14-16,-67 0 0,14-13 15,132 0-15,-93 13 0,-39-13 16,39 13-16,-26-14 0,92 1 15,-105 13-15,-1 0 0,-12-13 16,39 0-16,-66 13 0,0 0 16,-27 0-16,1-14 0,-1 14 15,-13 0-15,1 0 0</inkml:trace>
  <inkml:trace contextRef="#ctx0" brushRef="#br0" timeOffset="69754.14">2302 8453 0,'0'0'16,"66"0"-16,-26-13 16,26 13-16,13-13 0,1 13 15,12-13-15,14 0 0,13 13 0,-13-14 16,119 1-16,-119 13 15,-14 0-15,93-13 0,-92 13 0,-14 0 16,-12 13-16,-14-13 16,-14 0-16,1 0 0,-14 13 0</inkml:trace>
  <inkml:trace contextRef="#ctx0" brushRef="#br0" timeOffset="70255.67">1971 9208 0,'80'-14'15,"-160"28"-15,199-28 0,-79 14 0,13-13 0,26 13 16,-13-13-16,0 0 0,14 13 15,-14-14-15,0 1 0,-13 13 0,0 0 16,-13-13-16,-1 13 0,1 0 16,-27 0-16,1 0 0</inkml:trace>
  <inkml:trace contextRef="#ctx0" brushRef="#br0" timeOffset="70421.72">2791 9141 0,'-79'27'0,"158"-54"0,-198 54 16,66-14-16,0-13 0,14 13 15,-1-13-15,0 14 0,1-14 16,12 0-16,14 13 0,53-26 31,-14-1-31,27 1 16,-13 13-16,13-13 0,0 13 0,-14-13 15,14 13-15,-13-14 0,13 14 16,-27 14-16,-12-14 0,-1 0 16,0 0-16</inkml:trace>
  <inkml:trace contextRef="#ctx0" brushRef="#br0" timeOffset="71030.83">1363 9710 0,'-40'40'0,"-145"158"15,119-132 1,13 14-16,-14-1 0,-52 93 15,67-79-15,-41 92 16,53-92-16,1-14 0,-1-13 16,27 14-16,-14-14 0,14 0 0,-14 0 0,27 0 15,-13 27-15,26-40 16,-13-14-16,14-12 0,12 12 16,-13-12-16,27-1 0,-13 1 0,12-14 0,1 0 15,0 1-15,-1-14 0,1 0 0,0 0 16,-14 0-16,14 0 15,-14-14-15,14 1 0,-14 0 0,1 13 16,-1-13-16,-12-1 0,-1 1 0,0 0 16,0 13-16,0-13 0,-13-1 15,14 14-15,-14-13 0,-14 0 16</inkml:trace>
  <inkml:trace contextRef="#ctx0" brushRef="#br0" timeOffset="71314.95">1005 11218 0,'0'0'0,"14"-13"16,-1 13-16,0 0 0,0 0 15,1 0-15,12 0 0,-13 0 0,14 13 16,-1 1-16,1-1 0,-1 13 16,1-13-16,-1 27 0,-13-13 0,0 12 15,1-12-15,-14 12 0,0 14 16,0-13-16,-27 66 0,1-53 16,-1 0-16,1 0 0,-14-14 15,0 14-15,-12-13 0</inkml:trace>
  <inkml:trace contextRef="#ctx0" brushRef="#br0" timeOffset="74111.43">10134 6813 0,'211'0'31,"-131"0"-31,-14 0 16,26 0-16,-12 0 0,12 0 0,-12 0 15,12 0-15,1-13 0,-1 13 16,1 0-16,-14 0 0,1-13 0,-1 13 16,54-14-16,-81 14 0,-12-13 15,0 13-15,-14 0 0,1 0 16,-14 0-16,0 0 0,-13-13 0,-53 26 31</inkml:trace>
  <inkml:trace contextRef="#ctx0" brushRef="#br0" timeOffset="74339.92">10385 6866 0,'198'-13'16,"-145"13"-16,27 0 16,-1 0-16,0 0 0,14 0 15,-14-14-15,1 14 0,-1 0 0,0 0 16,1 0-16,-27 0 0,0 0 16,0 0-16,-14 0 0,1 0 0,-14 0 15,1 0-15,-14 0 0,0 0 16,1 0-16,-1 0 0</inkml:trace>
  <inkml:trace contextRef="#ctx0" brushRef="#br0" timeOffset="74914">10147 7527 0,'53'-13'16,"-106"26"-16,145-26 0,-52 13 16,13-13-16,26 13 0,14 0 0,-14-13 15,27 13-15,-13 0 0,39-14 0,-26 14 16,0 0-16,26 0 0,-26-13 15,0 13-15,0 0 0,-1 0 0,1 0 16,-13 0-16,-1 0 0,-12 0 0,-1 0 16,-26 0-16,0 0 0,0 0 15,-13 0-15,-14 0 0,0 0 16,-12 0-16,-1 0 0</inkml:trace>
  <inkml:trace contextRef="#ctx0" brushRef="#br0" timeOffset="75195.53">10239 7541 0,'-13'13'0,"26"-26"0,27 26 31,-13-13-31,25-13 0,28 13 0,-1 0 15,1 0-15,12 0 0,14 0 0,-13 0 16,12 0-16,1 0 16,0 0-16,0 13 0,0-13 0,0 0 0,-14 0 15,1 13-15,-14-13 0,1 0 16,-28 13-16,1-13 0,0 0 16,-26 0-16,12 14 0,-25-14 0,12 0 15,-13 0-15,1 13 0</inkml:trace>
  <inkml:trace contextRef="#ctx0" brushRef="#br0" timeOffset="75815.06">10332 8387 0,'40'-13'0,"-1"13"0,14 0 16,13 0-16,14-13 0,-1 13 16,14 0-16,-1-13 0,14 13 0,-13 0 15,13 0-15,26-14 0,-26 14 0,0 0 16,-1-13-16,-12 13 0,0 0 0,-1 0 15,1 0-15,-14 0 0,1-13 16,-1 13-16,-26 0 0,0 0 0,0 0 16,-14 0-16,-12 0 0,-14 0 0,14 0 15,-14 0-15,0 0 0,-39-13 32,-1 13-32,1 0 0,-1 0 15,-26 0-15</inkml:trace>
  <inkml:trace contextRef="#ctx0" brushRef="#br0" timeOffset="76159.66">10385 8467 0,'0'0'16,"26"13"-16,1-13 15,26 0-15,13 0 0,13 0 0,14-13 16,-1 13-16,14 0 0,146 0 16,-120 0-16,-26-14 0,26 14 15,-26 0-15,0 0 0,0 0 0,-1 0 16,1 0-16,-13 0 0,-1 0 0,1 0 16,0 14-16,-14-14 0,-13-14 15,-13 14-15,13 0 0,-26 0 0,0 0 16,26 0-16,-40 0 0,-13 0 15,1 0-15,12 0 0,-13 0 16,1 0-16,-1 0 16,-40 14-1,14-1 1,-13-13-16,-14 0 0</inkml:trace>
  <inkml:trace contextRef="#ctx0" brushRef="#br0" timeOffset="76841.52">9499 7792 0,'13'26'16,"-13"-12"-1,0 12-15,0 1 0,13 12 16,-13 1-16,0 0 0,13 13 0,-13-14 16,0 1-16,0 13 0,0-13 0,0-1 15,0 1-15,0-14 0,0 27 16,0-39-16,0 12 0,0-13 16,0 0-16,0 1 0,0-1 15,0 0-15,-13 0 16</inkml:trace>
  <inkml:trace contextRef="#ctx0" brushRef="#br0" timeOffset="77759.09">9327 7792 0,'26'-13'0,"-52"26"0,78-39 0,-38 26 0,12 0 16,-13 0-16,14-14 0,13 14 15,-1 0-15,14 0 0,0-13 0,0 13 16,13 0-16,-13 0 0,13 0 0,-13 0 16,13 0-16,0 0 0,14 0 15,-14 0-15,0 0 0,0 0 0,-13 0 16,66 0-16,-53 0 0,-13 0 15,0-13-15,0 13 0,0 0 16,0 0-16,0 0 0,0 0 16,0-13-16,-14 13 0,1 0 0,-14 0 15,14 0-15,-13-14 0,-1 14 0,14 0 16,-14 0-16,1 0 0,-14-13 16,13 13-16,1 0 0,-1 0 15,-12-13-15,12 13 0,-13 0 0,14 0 0,-14 0 16,0-13-16,14 13 0,-14 0 15,0 0-15,14-14 0,-14 14 0,0 0 16,0 0-16,0 0 16,1-13-16,-1 13 0,0 0 15,0 0 1,1 0 0,-1 0-1,0 0 1,-13 13-16,0 1 15,13-14 1,-13 26-16,0-13 16,0 1-16,0-1 0,0 0 0,0 0 15,0 1-15,0-1 0,0 13 0,0-13 16,14 14-16,-14-14 0,0 14 16,0-14-16,0 13 0,0-12 15,0 12-15,0-13 0,-14 14 0,14 12 16,0-25-16,0 12 15,0-13-15,0 0 0,0 14 0,0-14 16,0 0-16,0 1 0,0 12 16,0-13-16,0 1 0,0-1 0,0 0 15,0 0-15,0 0 16,0 1 0,0-1-16,0 0 15,-13 0 1,0-13-16,0 0 15,-14 0-15,-13 14 16,-12-14-16,-1 0 16,-53 0-16,-27 0 15,-25 13-15,-1-13 16,-13 13-16,93-13 16,-1 0-16,-65 13 15,65 1-15,-52-1 0,26-13 16,14 13-16,25-13 15,41 13-15,-27-13 16,27 0-16,12 0 0,1 0 16,0-13-16,0 13 0,-1 0 15</inkml:trace>
  <inkml:trace contextRef="#ctx0" brushRef="#br0" timeOffset="78622.32">8916 8480 0,'-13'-40'31,"13"14"-31,0-1 16,-13 1-16,13-1 0,-13-12 15,0 12-15,-1-12 0,1-1 0,0 0 16,13 14-16,-13-1 0,-1 1 0,14 13 16,-13-14-16,13 14 0,0 0 15,0-1-15,0 1 0,13 13 16,1 0-16,12 0 15,-13 13-15,1 1 0,12-1 16,0 0-16,1 0 0,-1 14 0,1-14 16,-1 0-16,1 14 0,-14-14 0,0-13 15,0 13-15,1 0 0,-1 1 16,0-14-16,-13 13 0,0 0 0,0 0 16,-13-13-16,0 14 15,-1-14-15,1 13 0,-13-13 16,13 13-16,-14-13 0,1 13 0,-14-13 15,-26 13-15,26-13 0,14 0 16,-1 0-16,1 14 0,-1-14 16,1 0-16,13 0 0,-1 0 0,1 0 15,0-14-15,13 1 16,13 0-16,0-13 16,27 12-16,-14-12 0,14-14 0,0 14 15,0-14-15,-1 0 0,14 14 16,-13-14-16,0 1 0,-1 12 0,-12 1 15,-1 12-15,1 1 0,-14 0 16,0 0-16,-26 39 16,0-13-1,-14 14-15,14 13 0,-14-14 16,1 14-16,0 13 0,-1-14 0,1 14 16,-1-13-16,-13 13 0,27-14 0,-13 1 15,-1-13-15,14 12 0,0-12 16,-14-1-16,14 1 0,13-14 15,-13 0-15,0 14 0,13-14 0,0 0 16</inkml:trace>
  <inkml:trace contextRef="#ctx0" brushRef="#br0" timeOffset="83334.78">10054 10200 0,'-13'26'32,"13"-13"-32,-13 1 0,13-1 15,0 0-15,-14 0 0,14 1 0,0 12 16,-13-13-16,13 0 0,0 1 16,0-1-16,0 0 0,-13 0 0,13 1 15,0-1-15,0 0 16,0 0-16,13-13 0</inkml:trace>
  <inkml:trace contextRef="#ctx0" brushRef="#br0" timeOffset="83575.31">10279 10385 0,'13'13'0,"1"0"16,-14 1-1,0-1-15,-14 0 0,14 0 16,-13 1-16,13-1 0,-13 0 0,0 0 16,-1 14-16,1-14 0,0 0 0,0 0 15,13 1 1</inkml:trace>
  <inkml:trace contextRef="#ctx0" brushRef="#br0" timeOffset="84023.05">10702 10266 0,'27'0'16,"-54"0"-16,67 0 0,-27 0 15,1 13-15,-1-13 16,-13 13-16,0 1 0,0-1 16,0 0-16,-13 0 0,-1 0 15,1 1-15,0-1 0,0 13 0,-1-12 16,1-1-16,0-13 0,0 13 0,-1 0 16,1 1-16,0-14 15,13 13-15,0 0 16,26-13-1,-12 0 1,-1 0-16,0 0 0,0 0 16,1 0-16,12 0 0,-13-13 0,1 13 15,-1 0-15,0 0 0,0 0 0</inkml:trace>
  <inkml:trace contextRef="#ctx0" brushRef="#br0" timeOffset="84220.42">10980 10372 0,'13'26'31,"-13"-13"-31,0 1 0,0-1 0,-13 0 16,13 0-16,-13 1 0,13 12 15,-13-13-15,0 0 0,-1 14 0,14-14 16,-13 0-16,0 1 0,13-1 0,-13 0 15</inkml:trace>
  <inkml:trace contextRef="#ctx0" brushRef="#br0" timeOffset="85519.09">11377 10332 0,'27'0'78,"-27"13"-78,0 0 15,-14 1 1,14-1 0,-13 0-16,13 0 15,13 1 1,-13-1 0,14-13-16,-14 13 0,13-13 15,-13 13-15,13-13 0,-13 14 16,-13-1-1,0 0 1,-1-13-16,1 0 0,0 13 0,0-13 16,-1 0-16,1 13 0,0-13 15,0 14-15</inkml:trace>
  <inkml:trace contextRef="#ctx0" brushRef="#br0" timeOffset="85716.76">11549 10464 0,'13'0'0,"1"27"31,-14-14-31,0 0 16,-14 0-16,14 1 0,-13-1 15,13 0-15,-13 0 0,13 14 0,-13-27 16,13 13-16,0 0 0,-14-13 15</inkml:trace>
  <inkml:trace contextRef="#ctx0" brushRef="#br0" timeOffset="86649">11919 10385 0,'14'0'16,"-1"0"-16,0 13 15,0-13 16,-13 13-31,0 1 16,-13-14 0,13 13-16,0 0 15,13 0 1,1 1 0,-1-1-1,0-13-15,-13 13 16,0 0-16,0 0 15,-13-13-15,0 14 0,-1-1 16,1-13-16,0 0 16,0 13-16,-1-13 0,1 0 15</inkml:trace>
  <inkml:trace contextRef="#ctx0" brushRef="#br0" timeOffset="86817">12184 10530 0,'13'0'0,"-26"0"0,26 14 0,-13-1 16,14-13-16,-28 26 15,1-12 1,0-1-16,0 13 0,-1-13 0,1 1 16,0-1-16,0 0 0,13 0 0,-14 1 15,14-1-15</inkml:trace>
  <inkml:trace contextRef="#ctx0" brushRef="#br0" timeOffset="87291.96">12859 10398 0,'-27'13'32,"14"-13"-32,0 14 0,0-14 0,-1 13 15,1-13-15,0 13 0,0 0 16,-1 1-16,1-14 16,0 13-16,0 0 0,0-13 15,13 13-15,0 0 16,13 1-1,0-14-15,0 0 0,0 0 0,1 13 16,-1-13-16,13 0 0,-12 0 0,12 0 16,-13 0-16,14 0 0,-14 0 15,13-13-15,-12 13 0,-1 0 0,13-14 16,-12 14-16,-1-13 0,0 13 0</inkml:trace>
  <inkml:trace contextRef="#ctx0" brushRef="#br0" timeOffset="87484.33">12951 10358 0,'-26'40'31,"26"-27"-31,0 1 16,0-1-16,0 0 0,0 14 0,0-14 15,0 13-15,-13-13 0,13 14 16,0-14-16,0 14 0,0-14 0,-14 13 15,14-13-15,0 1 0,0-1 0</inkml:trace>
  <inkml:trace contextRef="#ctx0" brushRef="#br0" timeOffset="87692.69">13269 10517 0,'26'27'15,"-26"-14"-15,0 0 0,0 0 16,0 1-16,-13 12 0,13-13 16,-13 0-16,13 1 0,0-1 15,-13 0-15,13 0 0</inkml:trace>
  <inkml:trace contextRef="#ctx0" brushRef="#br0" timeOffset="88308.68">13732 10385 0,'13'0'15,"-39"13"16,12-13-31,1 0 16,0 13-16,0-13 0,-1 14 16,1-14-16,0 13 0,0-13 15,13 13 1,13-13 0,0 13-16,0-13 15,1 0-15,-1 0 0,0 14 0,0-14 16,1 0-16,-14 13 0,13-13 0,0 0 15,-13 13-15,0 0 16,0 0-16,0 1 0,-13-14 16,0 13-16,-1 0 0,1-13 0,0 13 15,0 1-15,-1-1 0,-12-13 16,13 13-16,0 0 0,-1-13 16</inkml:trace>
  <inkml:trace contextRef="#ctx0" brushRef="#br0" timeOffset="88515.67">14023 10517 0,'40'27'31,"-27"-14"-31,-13 0 0,0 0 16,0 1-16,-13-1 15,13 0-15,0 0 0,-14 0 0,14 1 16,-13-1-16,13 0 0,0 0 0,-13-13 16,13 14-16</inkml:trace>
  <inkml:trace contextRef="#ctx0" brushRef="#br0" timeOffset="88895.86">14367 10266 0,'26'-13'16,"-52"26"-16,66-26 0,-27 26 15,0-13-15,0 0 0,0 0 16,1 0-16,-1 13 0,0-13 16,-13 13-16,13-13 0,-13 14 0,0-1 15,0 0-15,14 0 0,-28 0 16,14 1-16,0-1 0,0 0 0,0 0 15,0 1-15,-13-1 0,13 0 16,0 0-16,-13 1 0,13-1 0,0 0 16,-13-13-16,13 13 0,0 0 0,-14 1 15</inkml:trace>
  <inkml:trace contextRef="#ctx0" brushRef="#br0" timeOffset="89105">14340 10438 0,'27'0'16,"-1"0"-16,-12 0 0,-1 0 0,13 0 16,-13 0-16,14 0 0,-1 0 15,-12 0-15,12 0 0,1 0 0,-1 0 16,-13-13-16,14 13 0,-14 0 15,0 0-15,0 0 0,1 0 16</inkml:trace>
  <inkml:trace contextRef="#ctx0" brushRef="#br0" timeOffset="94080.74">12912 10808 0,'-14'0'31,"54"0"0,-27 0-31,14 0 16,-1-13-16,14 13 0,13 0 0,-13-13 0,12 13 16,28-13-16,-27-1 0,13 1 0,0 13 15,0-13-15,-13 0 16,13 13-16,-13-14 0,-13 1 0,13 13 16,-14-13-16,1 13 0,0-13 0,0 13 15,-14-14-15,0 14 0,1 0 16,-14-13-16,14 13 0,-14 0 15,13 0-15,-12-13 0,-1 13 0,13-13 0,-13 13 16,1 0-16,-1 0 0,0-13 0,0 13 16,1 0-16,-1-14 0,0 14 15,0 0-15,1 0 0,-1 0 16,-13-13-16,13 13 0,0 0 16,0 0-1,1-13 1,-1 13 31,0 0-16</inkml:trace>
  <inkml:trace contextRef="#ctx0" brushRef="#br0" timeOffset="95660.85">11417 10716 0,'-27'0'79,"1"0"-79,13 0 0,-27 13 15,-39 0 1,39-13-16,-13 13 0,0-13 0,-53 0 15,-13 14-15,-13-1 16,79-13-16,0 0 16,-13 0-16,13 0 0,0 0 0,13 13 0,-13-13 15,14 0-15,12 0 0,-12 0 16,12 0-16,1 0 0,12 0 0,-12 13 16,0-13-16,-1 0 0,14 0 0,-14 0 15,14 0-15,0 0 16,0 0-16,-14 0 0,14 0 0,0 0 15,0 0-15,-1 0 0,1 0 0,0 0 16,0 0-16,-1 0 0,1 0 16,0 0-16,0 0 0,-1 0 15,1 0-15,0 0 16,0 0 0,0 0-1,-1 0 16,41 0 126,-14 0-142,0 0-15,0 0 16,1-13-16</inkml:trace>
  <inkml:trace contextRef="#ctx0" brushRef="#br0" timeOffset="97195.68">12197 10306 0,'0'-14'0,"0"1"16,-13 13-1,13-13-15,-13 13 16,0-13-1,-1 13-15,14-14 0,-13 14 16,0-13-16,0 13 0,-1 0 16,1-13-16,0 13 0,0 0 15,0 0-15,-1 0 0,1 0 0,0 0 16,0 0-16,-1 0 0,-12 0 0,13 13 16,-1-13-16,-12 13 0,13 1 15,-14-1-15,1 0 0,13 0 16,-14 1-16,1 12 0,13-13 0,-1 14 15,1-14-15,0 13 0,0-12 16,-1 12-16,1-13 0,13 14 0,0-1 16,-13-13-16,13 14 0,0-14 0,0 14 15,13-1-15,-13 0 0,13-12 0,1 12 16,-1-13-16,0 14 0,0-1 16,14-12-16,-1-1 0,1 0 0,-1 0 15,1 0-15,-1-13 0,0 14 0,1-14 16,-1 0-16,1 0 0,-1 0 15,-12 0-15,12 0 0,0 0 0,1 0 16,-14-14-16,14 14 0,-14-13 16,13 13-16,-12-13 0,12 0 15,-13 0-15,0-1 0,1 1 0,12 0 16,-13 0-16,1-1 0,-1 1 0,0-13 16,0 12-16,-13-12 0,13 13 15,1-14-15,-14 14 0,13-13 0,-13 12 16,0-12-16,0 13 0,0-14 0,0 14 15,0 0-15,0 0 0,-13-1 0,13-12 16,-14 13-16,1-1 0,0 1 16,0 0-16,0 0 0,-1 13 0,-12-13 15,13-1-15,-1 14 0,-12-13 16,13 13-16,0 0 0,-14 0 16,14 0-16,0 0 0,-1 0 0,1 13 15,-13-13-15,12 14 0,1-1 0,0 0 16</inkml:trace>
  <inkml:trace contextRef="#ctx0" brushRef="#br0" timeOffset="97972.82">10676 12740 0,'13'0'31,"0"0"-31,1 0 0,-1 0 16,13-14-16,1 14 0,-1-13 0,1 13 16,-1-13-16,1 13 0,-1 0 15,-13-13-15,14 13 0,-14 0 0,0 0 16,0 0-16,1 0 0,-14 13 15,0 0-15</inkml:trace>
  <inkml:trace contextRef="#ctx0" brushRef="#br0" timeOffset="98152.01">10570 12991 0,'0'0'0,"13"13"31,27-26-31,-27 13 15,14 0-15,-1 0 0,1 0 0,12-13 16,-12 13-16,-1 0 0,1-13 0,-1 13 16,1 0-16,-1-14 0,1 14 0,-1-13 15,0 13-15,1-13 0,-1 0 16</inkml:trace>
  <inkml:trace contextRef="#ctx0" brushRef="#br0" timeOffset="98866.66">12052 12594 0,'13'-13'62,"0"13"-62,0 0 16,1 0-16,-1 0 0,0 0 16,0 0-16,1 0 0,-14 13 15,13-13-15,-13 13 0,0 1 16,13-14-16,-13 13 0,-13 0 0,13 0 16,0 1-16,-13-1 0,13 0 15,-14 0-15,14 0 16,0 1-1,14-1-15,-1-13 16,0 13 0,0 0-16,1 1 15,-14-1 1,-14 13-16,1-12 16,0-1-16,0-13 15,-1 13-15,1 0 0,-13-13 0,12 13 16,1-13-16,-13 14 0,13-14 0,-1 0 15,1 0-15,0 13 0,0-13 16</inkml:trace>
  <inkml:trace contextRef="#ctx0" brushRef="#br0" timeOffset="103043.75">18322 5543 0,'133'-13'16,"-80"13"-16,0 0 15,26 0-15,13-13 0,-12 13 16,12 0-16,-12-14 0,12 14 0,-12 0 16,12-13-16,-12 13 0,-14 0 0,-13 0 15,0 0-15,-14 0 0,-12 0 0,-1 0 16,-12 0-16</inkml:trace>
  <inkml:trace contextRef="#ctx0" brushRef="#br0" timeOffset="103237.02">18203 5715 0,'40'0'0,"92"-13"16,-52 13-16,-1 0 15,0 0-15,14-13 0,13 13 0,-14 0 16,1 0-16,0-14 0,-14 14 0,0 0 15,1 0-15,-27-13 0,0 13 16,-14 0-16,-12 0 0</inkml:trace>
  <inkml:trace contextRef="#ctx0" brushRef="#br0" timeOffset="103776.13">19328 6668 0,'172'13'31,"-93"-13"-31,14 0 0,-1 0 16,14 0-16,40 0 0,-14 0 0,14 0 15,-14 0-15,13 0 0,1 0 16,-14 0-16,14 13 0,-40-13 0,-1 0 15,-12 0-15,13 0 0,-14 0 0,1 0 16,-14 13-16,-26-13 0,0 0 16,0 0-16,-26 0 0,-1 0 15,-13 13-15,-66-13 16</inkml:trace>
  <inkml:trace contextRef="#ctx0" brushRef="#br0" timeOffset="104153.03">19288 6826 0,'357'0'32,"-251"0"-32,53 0 0,0 0 15,-1 0-15,14 0 0,-13 0 16,13 13-16,-13-13 0,0 14 15,-14-14-15,1 13 0,-14-13 0,-39 13 16,-1-13-16,1 13 0,-27-13 0,-13 0 16,0 0-16,0 14 0,-27-14 15,14 0-15,-27 0 0,0 0 0,14 0 16,-14 0-16,0 0 0,0 0 16,1 0-1,-1 0 1</inkml:trace>
  <inkml:trace contextRef="#ctx0" brushRef="#br0" timeOffset="106273.11">18640 12303 0,'26'0'15,"-12"-13"1,12 13-16,-13 0 0,14-13 0,-1 13 15,14 0-15,-14-14 0,1 14 16,-1 0-16,1 0 0,-14-13 0,13 13 16,-12 13-16,-1-13 0</inkml:trace>
  <inkml:trace contextRef="#ctx0" brushRef="#br0" timeOffset="106439.46">18534 12502 0,'0'0'0,"27"0"0,-14 0 16,0 0-16,0 0 0,14 0 0,-1 0 15,1-14-15,-1 14 0,14 0 0,-14 0 16,14-13-16,-14 13 0,1 0 16,-1 0-16,1 0 0,-14 0 0,0 0 15,0 0-15,1 0 0</inkml:trace>
  <inkml:trace contextRef="#ctx0" brushRef="#br0" timeOffset="114327.76">20108 12197 0,'27'-13'16,"26"13"0,-40 13-16,0-13 15,-13 14-15,13-14 16,-13 13-16,0 0 0,0 0 16,-13 0-16,0 1 0,13-1 0,-13 0 15,-1-13-15,14 13 0,-13 1 16,13-1-16,0 0 15,0 0-15,13 0 0,1-13 16,-14 14-16,13-1 0,0 0 16,0 0-16,-13 1 0,14-1 0,-14 0 15,-14 0-15,14 1 0,-13-1 16,-13 0-16,12 0 0,-25 14 16,12-14-16,-12-13 0,12 13 0,-13 0 15,14-13-15,0 0 0,12 0 0,-12 14 16,-1-14-16</inkml:trace>
  <inkml:trace contextRef="#ctx0" brushRef="#br0" timeOffset="114804.8">20955 12647 0,'-26'13'16,"12"1"-16,-211 105 31,159-80-31,0-12 0,0-1 0,0 1 0,-40 26 16,66-27-16,1-13 16,12 1-16,14-14 0</inkml:trace>
  <inkml:trace contextRef="#ctx0" brushRef="#br0" timeOffset="114926.92">21087 12951 0,'-132'106'0,"66"-40"16,-40-13-16,0 13 0,-13 1 0,0 12 15</inkml:trace>
</inkml:ink>
</file>

<file path=ppt/ink/ink16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5:32.674"/>
    </inkml:context>
    <inkml:brush xml:id="br0">
      <inkml:brushProperty name="width" value="0.05292" units="cm"/>
      <inkml:brushProperty name="height" value="0.05292" units="cm"/>
      <inkml:brushProperty name="color" value="#0070C0"/>
    </inkml:brush>
  </inkml:definitions>
  <inkml:trace contextRef="#ctx0" brushRef="#br0">8731 11298 0,'53'0'62,"79"0"-62,14-14 16,0 1-16,-1 0 15,-39 0-15,53 0 0,-54 13 16,-38 0-16,12 0 16,-26 0-1,-27 0-15,-12 0 16,12 0-16,-13 0 16,-13-14 218,0-12-234,0-1 16,0-26-16,0 1 15,0-15-15,0 1 0,-13 0 16,13-13-1,-13 39-15,13-119 16,0 106-16,0 40 16,0 0-1,0 0-15,0 0 0,0-1 16,13 1 15,-13 0-15,-26 0 124,-120-40-140,1 26 16,-1-12-16,27 25 16,26-12-16,-39 26 15,26-13-15,40-1 16,-13 14-16,13 0 16,39 0-16,14 0 46,0 0-46,-1 0 16,1 0 15,0 0-31,0 0 16,-1 0 0,1 0 30,13 14 1,-13 12-31,13 14-16,0 26 16,0-26-16,0-1 15,0 1-15,13 13 16,0 13-16,1-26 15,-1-1-15,-13 1 16,13 26-16,-13-39 16,0 12-16,13-12 15,-13-1-15,0-12 16,0-1 0,0 0 15,0 0 0,0 0-15,0 1-1,0-1 32,0 0 109,0 0-109,0 1-15,0-1-1</inkml:trace>
  <inkml:trace contextRef="#ctx0" brushRef="#br0" timeOffset="31757.05">16973 3810 0,'26'0'78,"-12"0"-62,-1 0-16,0 0 0,0 0 16,1 0-16,-1 0 15,0 0-15,0 0 0,14 13 16,-1-13-16,1 0 0,-1 0 0,1 0 0,-1 0 15,14 0-15,-14 0 0,14 0 16,0 13-16,-1-13 0,1 0 16,0 0-16,-1 0 0,1 0 0,-14 14 15,14-14-15,-13 0 0,-1 0 0,14 0 16,-14 0-16,1 0 0,-1 0 16,1 13-16,-14-13 0,13 0 15,1 0-15,-14 0 0,13 0 0,-12 0 0,-1 0 16,0 0-16,0 0 0,1 0 15,-1 0-15,0 0 0,0 0 0,1 0 16,-1 0-16,0 0 16,-39 0 46,26-13-62,-14 13 0,-12 0 16</inkml:trace>
  <inkml:trace contextRef="#ctx0" brushRef="#br0" timeOffset="32740.6">17105 3717 0,'-13'0'62,"0"14"-46,0-14-16,-1 13 16,1-13-16,0 0 0,0 13 15,-1-13-15,1 13 16,0-13-16,0 0 16,0 0-16,13 14 0,-14-14 0,1 0 15,13 13-15,-13-13 16,0 0-16,-1 13 15,1-13-15,0 13 16,0-13 0,13 13-1,-13-13 1,26 14 31,-13-1-47,13-13 15,0 13-15,0-13 0,1 13 16,-1-13 0,0 0-16,0 14 0,1-14 0,12 13 15,-13-13-15,0 13 0,1-13 0,-1 13 16,0-13-16,14 14 0,-14-14 0,0 13 16,0-13-16,1 13 0,-1-13 15,0 0-15,-13 13 0,13-13 16,0 0-16,1 0 0,-1 13 15,0-13 1,0 0 0,1 14-1,-14-1 17</inkml:trace>
  <inkml:trace contextRef="#ctx0" brushRef="#br0" timeOffset="33649.08">18455 3784 0,'0'0'0,"13"0"16,0-14-16,14 28 16,-14-14-16,0 13 15,-13 0 1,0 0-16,0 0 15,-13-13-15,13 14 0,-13-1 16,13 0 0,13 0-1,0-13 1,0 0-16,-13 14 16,14-14-16,-1 0 0,0 13 0,0 0 15,0-13-15,-13 13 16,14-13-16,-14 14 0,0-1 15,0 0 1,0 0-16,-14-13 0,14 13 16,-13-13-16,0 14 0,0-14 15,0 13-15,-1-13 0,1 0 16,0 13-16,0-13 16,-1 0-16,14-13 15,14 0 1,-14-1-1</inkml:trace>
  <inkml:trace contextRef="#ctx0" brushRef="#br0" timeOffset="34074.19">18825 3797 0,'13'-27'31,"1"27"-31,-1 0 16,0 0-16,0 0 15,0 0-15,1 0 0,-1 14 16,0-14-16,-13 13 0,13-13 16,-13 13-16,0 0 0,0 0 15,0 1-15,0-1 0,0 0 16,0 0-16,0 1 0,0-1 0,0 0 16,0 0-16,0 1 15,0-1-15,0 0 0,0 0 0,0 0 16,0 1-16,0-1 15,14 0-15,-14 0 16,13-13-16</inkml:trace>
  <inkml:trace contextRef="#ctx0" brushRef="#br0" timeOffset="34296.96">18812 3942 0,'0'0'0,"0"-13"16,13 13-1,0-13-15,1 13 16,-1 0-16,0 0 0,0 0 16,0 0-16,1-13 0,-1 13 0,13 0 15,-12 0-15,-1 0 0,0 0 16,14 0-16,-14 0 0,0 0 0,0 0 15,0 0-15,1 0 0,-1 0 0,-13-14 16</inkml:trace>
  <inkml:trace contextRef="#ctx0" brushRef="#br0" timeOffset="34697.01">19420 3836 0,'14'0'16,"-41"0"15,14 14-31,0-1 16,0-13-16,-1 13 0,1-13 15,0 13-15,0 1 0,-1-1 16,1-13-16,13 13 0,-13-13 15,13 13-15,-13-13 0,13 14 16,0-1 0,13 0-1,0-13-15,0 0 0,1 0 16,-1 13-16,0-13 0,0 0 0,1 0 16,-1 0-16,0 0 0,0 0 15,0 0-15,1 0 0,-1 0 0,13 0 16,-12 0-16,-1 0 0,0-13 15,0 13-15,0 0 16,1-13 0,-14 0-1</inkml:trace>
  <inkml:trace contextRef="#ctx0" brushRef="#br0" timeOffset="34945.86">19447 3850 0,'0'0'16,"-13"0"0,13 13-1,0 0-15,0 0 0,0 1 16,0-1-16,0 0 0,-14 0 16,14 1-16,0-1 0,0 0 15,14 0-15,-14 0 0,0 1 16,0-1-16,0 0 15,0 0-15,0 1 0,13-14 16,-13 13-16,0 0 16,13-13-1</inkml:trace>
  <inkml:trace contextRef="#ctx0" brushRef="#br0" timeOffset="35377.15">19698 3929 0,'0'0'0,"-13"0"15</inkml:trace>
  <inkml:trace contextRef="#ctx0" brushRef="#br0" timeOffset="36590.12">19725 3889 0,'0'14'31,"0"-1"-31,0 0 15,0 0-15,-14-13 0,14 14 16,0-1-16,0 0 0,0 0 16,-13 0-16,13 1 31,13-41 0,-13 14-31,0 0 16,14 0-16,-14-1 15,13 14-15,-13-13 0,13 0 16,0 13 0,1 0-1,-14 13-15,13-13 0,-13 13 16,13-13-16,-13 14 0,13-1 16,-13 0-1,14 0 1,-1-26 31,0 0-47,-13 0 15,13 13-15,0-14 16,1 14 0,-1 0-1,0 0-15,-13 14 0,13-14 16,-13 13-16,14 0 15,-14 0-15,0 0 16,13-13-16,-13 14 16,0-1-1,13 0 1</inkml:trace>
  <inkml:trace contextRef="#ctx0" brushRef="#br0" timeOffset="37145.55">20069 3929 0,'0'-13'0,"13"39"47,-13-12-31,0-1-16,0 0 15,0 0 1,13-13-16,-13 13 16,13-13-1,1-13 1,-14 0 0,13 13-16,-13-13 0,13 0 15,0 13-15,-13-14 16,13 14-16,1 0 31,-1 0-31,-13 14 16,13-1-1,-13 0 17,13-13-1,1 0-16,-1-13 1,0 13-16,0 13 16,1-13-1,-1 0-15,0 0 16,-26 13 31,0-13-47</inkml:trace>
  <inkml:trace contextRef="#ctx0" brushRef="#br0" timeOffset="40026.07">17370 4075 0,'0'-14'31,"-13"14"16,13 14-31,-14-1-16,14 0 31,0 0-31,0 1 16,-13-14-16,13 13 0,0 0 15,0 13 1,0-12-16,0-1 15,-13 0-15,13 0 16,0 1-16,0-1 16,0 0-16,-13 0 15,13 0-15,0 1 16,0-1-16,-13 0 16,13 0-1,0 1 1,0-1 15,-14-13 63</inkml:trace>
  <inkml:trace contextRef="#ctx0" brushRef="#br0" timeOffset="40513.21">17238 4339 0,'0'13'79,"13"1"-79,-13-1 15,0 0 1,0 0-16,0 1 15,13-14-15,-13 13 16,0 0-16,0 0 31,13-13-15,14 0 0,-14 0 15,0-13-31,0 13 0,1 0 15,-1 0 1,-13-13 0,13 13-16,0-13 15,1 13 17,-14 13-17</inkml:trace>
  <inkml:trace contextRef="#ctx0" brushRef="#br0" timeOffset="41457.01">17555 4538 0,'-13'0'15,"53"-14"1,-27 14-1,0 0-15,0 0 0,0 0 0,1 0 16,-1 0-16,0 0 0,0 0 16,1 0-16,-1 0 15,0-13-15</inkml:trace>
  <inkml:trace contextRef="#ctx0" brushRef="#br0" timeOffset="41710.12">17846 4458 0,'0'0'15,"-13"13"32,13 1-47,-13-1 16,13 0-16,0 0 0,0 1 15,0-1-15,0 0 16,0 0-16,0 1 16,13-1-16,-13 0 15,13-13-15</inkml:trace>
  <inkml:trace contextRef="#ctx0" brushRef="#br0" timeOffset="42252.88">17978 4498 0,'0'0'16,"14"-13"-16,-1 13 15,0 0-15,0 0 16,1 13-16,-1 0 15,-13 0-15,-13 1 16,13-1-16,0 0 16,-14-13-16,14 13 0,-13 1 0,0-1 15,0 0 1,-1 0-16,1 0 16,13 1 30,13-14-46,1 0 16,-1 0 0,0 0-16,0 0 15,1 0 1,-1-14 0,0 14-16,0 0 15,1 0-15,-14-13 0</inkml:trace>
  <inkml:trace contextRef="#ctx0" brushRef="#br0" timeOffset="42618.08">18243 4485 0,'-13'0'0,"26"0"0,0-14 47,0 14-47,1 0 16,-1 14-16,0-14 16,0 0-1,-13 13-15,14 0 16,-14 0-16,0 14 15,0-14 1,0 0-16,0 1 16,0-1-16,0 0 15,0 0-15,0 0 16,13-13-16,-13 14 0,13-1 16</inkml:trace>
  <inkml:trace contextRef="#ctx0" brushRef="#br0" timeOffset="42824.27">18243 4657 0,'-26'-14'16,"52"1"15,-13 13-31,0 0 15,1 0 1,-1 0-16,0 0 0,0 0 16,1 0-16,-1 0 0,0 0 0,0 0 15</inkml:trace>
  <inkml:trace contextRef="#ctx0" brushRef="#br0" timeOffset="43096.98">18600 4538 0,'0'-14'31,"0"1"-15</inkml:trace>
  <inkml:trace contextRef="#ctx0" brushRef="#br0" timeOffset="43773.22">18785 4511 0,'14'0'31,"-1"0"-31,-13 13 16,-13 1 0,13-1-16,-14-13 0,14 13 0,-13 0 15,0 1-15,0-1 16,13 0 0,-14-13-16,14 13 15,14 0 1,-1-13 15,53-13-15,-53 13-16,80 0 62</inkml:trace>
  <inkml:trace contextRef="#ctx0" brushRef="#br0" timeOffset="44662.26">17330 3731 0,'0'-14'0,"0"-12"31,13 13-31,-13-1 0,0 1 16,0-13-16,0 13 0,0-1 16,0-12-16,0 13 0,0-1 15,0 1-15,0-13 0,0 12 0,0 1 16,0 0-16,0 0 0,0 0 0,14-1 15,-14 1 1,0 0-16,0 0 16,0-1-16,0 1 15,0 0 1</inkml:trace>
  <inkml:trace contextRef="#ctx0" brushRef="#br0" timeOffset="44925.02">17370 3334 0,'0'-13'16,"-27"26"15,14 0-31,0-13 0,13 13 16,-13-13-16,13 13 0,-13 1 0,-1-14 16,14 13-16,-13-13 0,13 13 15,-13-13-15,13 13 0,-13-13 16,-1 14-16,1-1 15</inkml:trace>
  <inkml:trace contextRef="#ctx0" brushRef="#br0" timeOffset="45138.32">17330 3347 0,'13'0'0,"14"0"31,-14 13-15,0-13 0,1 13-16,-1-13 15,0 0 1</inkml:trace>
  <inkml:trace contextRef="#ctx0" brushRef="#br0" timeOffset="45582.13">17370 2897 0,'0'-13'16,"-13"26"15,13 0-31,0 1 16,0-1-16,0 0 0,0 0 15,0 1-15,0-1 16,0 0-16,0 0 0,0 0 16,0 1-16,0-1 0,0 0 15</inkml:trace>
  <inkml:trace contextRef="#ctx0" brushRef="#br0" timeOffset="45792.83">17264 3029 0,'13'-13'16,"14"13"-1,-14 0-15,0-13 16,0 13-16,1 0 0,-1 0 15,0 0-15,0 0 0,1 0 0,-1-13 16,0 13-16</inkml:trace>
  <inkml:trace contextRef="#ctx0" brushRef="#br0" timeOffset="46041.98">17674 2831 0,'-13'27'31,"13"-14"-15,0 0-16,0 0 0,0 0 15,0 1-15,0-1 16,13 0-16,-13 0 0,0 1 15,0-1-15,0 0 16</inkml:trace>
  <inkml:trace contextRef="#ctx0" brushRef="#br0" timeOffset="46561.22">17833 2844 0,'26'0'0,"-52"0"0,66 0 0,-27-13 0,13 26 16,-12-13 0,-1 0-16,-13 14 15,0-1-15,0 0 16,0 0-16,-13 0 0,-1 1 15,14-1-15,-13 0 16,0 0-16,13 1 0,-13-14 16,13 13-16,-14 0 0,1-13 15,13 13 1,13 0 0,1-13-1,-1 0-15,0 0 16,0 0-16,1 0 15,-1 0-15,0-13 0,0 13 16,0 0-16,1 0 16,-1-13-16,0 13 0</inkml:trace>
  <inkml:trace contextRef="#ctx0" brushRef="#br0" timeOffset="47024.17">18124 2791 0,'0'-13'0,"13"13"0,0 0 16,1-13-16,-1 13 16,13 0-16,-12 0 15,-1 13-15,0-13 0,0 0 16,0 0-16,-13 13 15,14-13-15,-14 14 16,13-1-16,-13 0 16,0 0-16,0 1 15,0-1-15,13 0 0,-13 0 16,0 0-16,0 1 16,0-1-16,13-13 0,-13 13 15,0 0-15,14 1 16</inkml:trace>
  <inkml:trace contextRef="#ctx0" brushRef="#br0" timeOffset="47217.92">18177 2963 0,'0'0'0,"26"-13"31,-12 13-15,-1 0-16,0-13 0,0 13 0,0 0 16,1 0-16,12 0 0,-13-13 15,1 13-15,12 0 0,-13 0 16,1 0-16,-1 0 0</inkml:trace>
  <inkml:trace contextRef="#ctx0" brushRef="#br0" timeOffset="47930.84">18759 2686 0,'13'0'0,"-26"0"0,39-14 16,-12 14 0,12 14-16,-13-1 15,-13 0-15,0 0 16,0 0-16,-13 1 0,13 12 15,-13-13-15,13 1 0,-13-1 16,-1 0-16,14 0 0,-13 1 16,13-1-16,-13-13 0,13 13 0,-13 0 15,13 0 1,0 1 0,13-14-16,0 0 15,0 0-15,1 0 0,-1 0 0,0 0 16,0-14-16,14 14 0,-14 0 15,0 0-15,0 0 0,1-13 0,-1 13 16,0 0-16,0 0 0</inkml:trace>
  <inkml:trace contextRef="#ctx0" brushRef="#br0" timeOffset="48469.14">17899 3162 0,'0'0'0,"27"0"31,-14 0-15,0 0-16,13-13 0,1 13 15,-14 0-15,14 0 0,12 0 0,-12 0 16,-1 0-16,14-14 0,-14 14 0,1 0 16,-1 0-16,1 0 0,-1 0 15,1 0-15,-14-13 0,13 13 0,1 0 16,-14 0-16,13 0 0</inkml:trace>
  <inkml:trace contextRef="#ctx0" brushRef="#br0" timeOffset="48824.23">18587 2910 0,'-13'0'31</inkml:trace>
  <inkml:trace contextRef="#ctx0" brushRef="#br0" timeOffset="54918.06">6853 5781 0,'0'0'0,"-14"0"15,1 13-15,13 1 0,-13-14 16,13 13-16,-13 13 16,13-12-16,0-1 0,-13 0 0,13 0 15,0 0-15,0 14 0,0-14 0,13 14 16,-13-14-16,0 13 15,13 1-15,-13-14 0,13 13 0,0-12 16,-13 12-16,14-13 0,-1 1 0,0 12 16,0-13-16,1-13 0,-1 13 15,13 1-15,-12-14 0,-1 13 0,0-13 16,0 0-16,0 13 0,1-13 0,12 0 16,-13 0-16,1-13 0,-1 13 15,13 0-15,-12 0 0,12-13 16,0 13-16,1-14 0,-1 1 0,14 0 15,-14 0-15,14 0 0,-13-1 0,12-12 16,1 13-16,0-1 0,-1 1 0,28-13 16,-15 12-16,15-12 0,-14 13 0,13 0 15,-13-1-15,13 1 0,0 0 16,-13 0-16,13-1 0,0 1 16,0 0-16,0 13 0,14-13 0,-14 13 15,13 0-15,-13-13 0,1 13 0,-1 0 16,26 0-16,-12 0 0,-1 0 15,14 0-15,-14 0 0,0 0 16,1 13-16,-1-13 0,1 0 0,-1 13 0,0-13 16,1 13-16,-1-13 0,0 13 15,1-13-15,-14 14 0,13-14 0,1 13 16,-1 0-16,-13 0 0,14 1 0,-14-1 16,13 0-16,-13 13 0,0-12 15,1-1-15,-15 13 0,15-12 0,-14 12 16,-1-13-16,1 1 0,0 12 15,-13-13-15,0 0 0,-1 14 0,1-14 16,-14 0-16,14 1 0,-27-1 16,14 0-16,-1-13 0,-12 13 0,12 1 15,-13-14-15,0 13 0,1-13 0,-1 13 16,0-13-16,0 13 16,1-13-16,-1 0 15,0 0-15,0 0 16,-13-13-16,14 0 0,-14 0 15,13-1-15,-13 1 0,13 0 16,-13 0-16,13-1 0,0-12 16,14-1-16,-14 14 0,14-13 0,-1 13 15,1-14-15,-1 14 0,0-14 16,14 14-16,0 0 0,-1 0 0,1-1 16,13 1-16,-13 0 0,26 0 0,-13 0 15,13-1-15,0 1 0,13 13 0,1-13 16,-1 13-16,1-13 0,-1 13 15,0-14-15,14 14 0,0 0 16,-1 0-16,1-13 0,-1 13 0,1 0 0,0 0 16,-1 0-16,14-13 0,-13 13 15,12 0-15,-12 0 0,13 0 0,0 0 16,0 0-16,-1 0 0,-12 0 16,13 0-16,0 0 0,0 0 0,-1 0 15,1 0-15,0 0 0,-13 13 16,12-13-16,-12 0 0,13 0 0,-13 13 15,-1-13-15,1 0 0,-1 0 0,-12 0 16,-1 0-16,14 0 0,-27 14 16,13-14-16,-13 0 0,0-14 0,-13 14 15,0 0-15,0 0 0,0 0 0,-13 0 16,0-13-16,-14 13 0,0 0 16,1 0-16,-14-13 0,0 13 15,14 0-15,-14-13 0,0 13 0,1-13 16,-1-1-16,0 1 15,0 0 1</inkml:trace>
  <inkml:trace contextRef="#ctx0" brushRef="#br0" timeOffset="56037.79">15849 6231 0,'-14'13'32,"1"0"-32,13 1 0,-13-1 15,0 13-15,13-12 0,-14 12 16,1-13-16,13 0 0,0 14 0,0-14 15,13 0-15,1 14 0,-1-14 16,13 14-16,1-14 0,12 0 0,1 0 16,13 0-16,0-13 0,0 14 0,0-14 15,13 0-15,-13 0 0,13 0 16,-13 0-16,0 0 0,0-14 0,0 14 16,-14 0-16,1-13 0,-13 13 0,-1 0 15,0 0-15,-12 0 0,-1-13 0,0 13 16,0 0-16,1-13 15,-1 0-15</inkml:trace>
  <inkml:trace contextRef="#ctx0" brushRef="#br0" timeOffset="56301.69">16431 6257 0,'26'0'15,"1"0"1,-14 14-16,13-1 0,14 0 0,0 0 16,-1 1-16,-12-1 0,12 0 0,1 13 15,-13-12-15,-1 12 0,1-13 0,-1 1 16,-13 12-16,0-13 16,1 1-16,-14 12 0,13-13 0,-13 0 15,0 1-15,-13 12 0,-1-13 0,14 14 16,-26-1-16,13 1 0,0-14 15,-1 0-15,-12 0 0,13 1 0,13-1 16,-14-13-16,14 13 0</inkml:trace>
  <inkml:trace contextRef="#ctx0" brushRef="#br0" timeOffset="56906.62">17806 6284 0,'-92'26'31,"65"-12"-15,14-1-16,-13 0 0,12 0 0,1-13 15,0 13-15,0 1 0,0 12 16,26-13-16,-13 1 16,13-1-16,0-13 0,0 13 15,14 0-15,-14 1 0,14-1 0,-14 0 16,13-13-16,-12 13 0,-1-13 0,0 13 15,0 1-15,0-14 16,-26 13 0,0 0-16,0-13 0,-14 13 0,1 1 15,-1-14-15,1 0 0,-1 13 16,1-13-16,0 0 0,-1 0 0,14 0 16,-14 0-16,14 0 0,0 0 15,0 0-15,-1 0 0</inkml:trace>
  <inkml:trace contextRef="#ctx0" brushRef="#br0" timeOffset="59224.89">18719 6469 0,'0'0'15,"13"13"1,1-13-16,-1 0 15,0 14-15,0-14 0,1 0 16,12 0-16,-13 0 0,1 0 0,12 0 16,-13 0-16,14 0 0,-1 13 0,1-13 15,-1 0-15,1 0 16,-1 0-16,0 0 0,14 13 0,-13-13 16</inkml:trace>
  <inkml:trace contextRef="#ctx0" brushRef="#br0" timeOffset="59789.65">20042 6403 0,'0'0'16,"27"0"-16,-1 0 15,-13 0-15,1 13 16,-14 0-16,0 1 16,0-1-16,0 0 15,0 0-15,0 1 0,0-1 16,13 0-16,0 0 15,0-13-15,0 13 16,1 1-16,-1-14 0,-13 13 16,13-13-16,0 13 0,-13 0 15,0 1 1,0-1-16,-13-13 16,13 13-16,-13-13 0,0 0 0,13 13 15,-14-13-15,1 14 0,0-14 0,0 0 16,0 13-16,-1-13 15,1 0-15,0 0 16</inkml:trace>
  <inkml:trace contextRef="#ctx0" brushRef="#br0" timeOffset="60081.82">20426 6376 0,'26'-13'15,"-12"26"-15,25 1 16,-26-14 0,-13 13-16,0 0 0,0 0 0,0 1 15,14-1-15,-14 0 0,0 0 0,0 1 16,0-1-16,-14 0 0,14 0 0,0 0 15,0 1-15,0-1 0,0 0 16,0 0-16,0 1 0,0-1 16,0 0-16,0 0 15</inkml:trace>
  <inkml:trace contextRef="#ctx0" brushRef="#br0" timeOffset="60245.37">20320 6588 0,'0'0'0,"-13"0"0,26-13 32,0 0-32,0 13 15,1 0-15,-1 0 0,0 0 0,0-14 16,1 14-16,12 0 0,-13 0 0,14 0 16,-1 0-16,-13-13 0,14 13 15,-14 0-15</inkml:trace>
  <inkml:trace contextRef="#ctx0" brushRef="#br0" timeOffset="60668.78">20862 6416 0,'0'-13'31,"-13"13"-15,-13 13-16,12 0 15,1 1-15,0-1 0,0-13 16,0 13-16,-1 0 0,14 1 15,-13-1-15,13 0 0,-13-13 0,13 13 16,0 0-16,0 1 16,0-1-16,13-13 0,0 13 15,1-13 1,-1 0-16,0 0 0,0-13 0,0 13 16,1 0-16,-1-13 0,-13-1 15,13 1-15,0 0 0,1 0 16,-1 0-16,-13-1 0,0 1 0,0 0 15,0 0-15,-13 26 47,-1 0-47,14 0 0,-13 1 0,13-1 16,-13 0-16,13 13 0,0-12 16,0-1-16,13 13 0,-13-12 0,0-1 15,13 0-15,-13 14 0,0-14 0,14 0 16,-14 0-16,0 0 0,13 1 0,-13-1 15,0 0 1</inkml:trace>
  <inkml:trace contextRef="#ctx0" brushRef="#br0" timeOffset="61452.03">19182 7144 0,'133'13'16,"-107"-13"0,1 0-16,-1 0 0,14 0 0,-14 0 15,1 0-15,-1 0 0,0 0 16,1 0-16,-1 0 0,1 0 0,-14 0 15,0 0-15,1 0 0,-1 0 0,0 0 16,0 0-16,0 0 16,1 0-16,-1 0 15</inkml:trace>
  <inkml:trace contextRef="#ctx0" brushRef="#br0" timeOffset="65905">20399 5913 0,'14'0'0,"-28"0"0,41 0 0,-14 0 15,0 0-15,1 0 16,-1 0-1,0 0-15</inkml:trace>
  <inkml:trace contextRef="#ctx0" brushRef="#br0" timeOffset="66536.36">20439 5424 0,'-13'26'31,"13"-12"-15,0-1-16,-13 0 16,13 0-16,0 1 0,0-1 0,0 0 15,0 0-15,0 0 0,0 1 0,0-1 16,0 0-16,0 0 0,0 1 15</inkml:trace>
  <inkml:trace contextRef="#ctx0" brushRef="#br0" timeOffset="66894.5">20638 5424 0,'13'0'15,"0"0"1,-13 13 0,0 0-16,-13 1 0,13-1 15,-13 0-15,-1 0 0,1 1 0,13-1 16,-13 0-16,13 0 0,-13-13 15,13 13-15,-14-13 0,14 14 16,0-1-16,0 0 16,14-13-1,-1 0-15,13 0 16,-12 0 0,-1 0-16,0 0 0,0 0 15,0 0-15,1-13 16,-1 13-16,0 0 15</inkml:trace>
  <inkml:trace contextRef="#ctx0" brushRef="#br0" timeOffset="67166.08">20889 5384 0,'13'14'15,"-13"-1"-15,13-13 16,-13 13-16,0 0 0,0 0 0,0 1 16,0-1-16,0 0 15,0 0-15,0 1 0,0-1 16,14 0-16,-28 0 0,14 0 15</inkml:trace>
  <inkml:trace contextRef="#ctx0" brushRef="#br0" timeOffset="67314.06">20849 5556 0,'0'-13'15,"13"0"1,1 13-16,-1 0 15,0-13-15,0 13 0,1 0 16,-1 0-16,0 13 0,0-13 16,0 0-16,14 13 0</inkml:trace>
  <inkml:trace contextRef="#ctx0" brushRef="#br0" timeOffset="67813.06">20638 6879 0,'0'13'16,"0"1"-1,0-1-15,0 0 16,0 0-16,13 1 15,-26-1-15,13 0 0,0 0 16,-14 14 0,14-14-16</inkml:trace>
  <inkml:trace contextRef="#ctx0" brushRef="#br0" timeOffset="67996.91">20532 7011 0,'13'-13'16,"0"13"0,0-13-16,1 13 15,-1 0-15,0 0 0,0 0 16,14 0-16,-14 0 16,0 13-1</inkml:trace>
  <inkml:trace contextRef="#ctx0" brushRef="#br0" timeOffset="68274.03">20466 7395 0,'0'13'0,"0"1"15,13-1-15,-13 0 0,0 0 16,0 0-16,0 1 0,0-1 16,0 13-16,0-12 0,13-1 15,-13 0-15,0 0 0,0 1 16,13-1-16,-13 0 15</inkml:trace>
  <inkml:trace contextRef="#ctx0" brushRef="#br0" timeOffset="68641.53">20677 7395 0,'13'-13'0,"14"13"32,-14 0-32,0 13 15,-13 0-15,0 14 16,-13-14 0,13 0-16,0 0 0,-13-13 15,13 14-15,0-1 0,-13 0 16,13 0-1,0 1 1,13-14 0,0 0-1,0 0-15,1 0 16,-1 0-16,0-14 0,0 14 0,0 0 16,1 0-16,-1-13 0,0 0 15,0 13-15,1-13 16,-1 13-16</inkml:trace>
  <inkml:trace contextRef="#ctx0" brushRef="#br0" timeOffset="68901.97">20968 7329 0,'13'-13'0,"1"26"32,-1-13-32,-13 13 0,0 0 0,13 1 15,-13-1-15,0 0 16,0 0-16,13 1 0,-13-1 0,0 0 16,0 0-16,0 0 0,0 1 15,0-1 1,0 0-16</inkml:trace>
  <inkml:trace contextRef="#ctx0" brushRef="#br0" timeOffset="69084.92">20968 7461 0,'27'0'31,"-14"-13"-16,0 13-15,0 0 0,1 0 16,-1-13-16,0 13 0,0 0 0,1-13 0,-1-1 16,0 1-16,0 0 0,0 13 15,1-27-15,-1 27 0,0-26 16</inkml:trace>
  <inkml:trace contextRef="#ctx0" brushRef="#br0" timeOffset="70348.89">21272 5331 0,'27'-13'0,"-14"13"16,0 0-16,1 0 0,-1 0 0,-13 13 16,53 14-1,-40-14-15,-13 14 0,0-1 16,13 14-16,-13 13 0,-13-14 0,13 14 16,0-13-16,-13 13 0,0-14 15,13 1-15,-14 0 0,14 13 0,0-27 16,-13 14-16,13-14 0,0-12 0,0 12 15,0-13-15,0 0 16,13 1-16,-13-1 0,0 0 0,14 0 16,-14 1-16,13-14 0,0 0 15,0 0-15,0 0 16,1-14-16,-1 14 0,-13-13 16,13 13-16,0-13 0,1 13 15,-14 13 1,0 0-16,-14 1 15,14-1-15,-13 13 0,13 1 0,-13 12 16,13 1-16,-13 13 0,13-13 0,0 13 16,0 0-16,13 13 0,-13-13 15,13 13-15,0-13 0,1 13 16,12 40-16,-13-53 0,-13-14 16,14 1-16,-1 0 0,0-1 15,-13 1-15,13-13 0,-13-1 0,0-13 16,0 14-16,0-14 0,0 0 0,-13 14 15,13-14-15,-13 0 0,13 0 0,-13 0 16,-14 1-16,1-1 16,12 0-16,1-13 0,0 0 15,0 0-15,-1 13 0,-12-13 0,13 0 16,0-13-16,-14 13 0,14 0 16</inkml:trace>
  <inkml:trace contextRef="#ctx0" brushRef="#br0" timeOffset="77988.42">21524 6469 0,'40'0'47,"-27"0"-47,13 0 0,1 0 0,-1 0 16,1-13-16,12 13 0,1 0 0,0 0 15,-1 0-15,1-13 0,0 13 16,-1 0-16,14 0 0,-26-14 0,12 14 15,-12 0-15,13 0 0,-27 0 16,53-13 0,-53 13-16,0 0 0,1 0 0,-1 0 15,0 0-15,0 0 0</inkml:trace>
  <inkml:trace contextRef="#ctx0" brushRef="#br0" timeOffset="78348.92">22199 6297 0,'39'13'31,"-26"-13"-31,1 14 16,25-1-16,-25 0 0,12-13 16,-13 13-16,1 0 0,12 1 0,-13-14 15,0 13-15,1 0 0,-1 0 16,0 1-16,-13-1 0,0 0 15,0 0-15,0 1 0,-26 12 16,12-13-16,1 0 0,0 1 16,-13-1-16,12 0 0,1 0 0,0 1 15,0-1-15,-1-13 0,14 13 0,-13-13 16,13 13-16</inkml:trace>
  <inkml:trace contextRef="#ctx0" brushRef="#br0" timeOffset="78969.05">23283 6310 0,'27'-26'32,"-14"26"-32,0 0 0,0 0 15,1 0-15,-1 0 16,-13 13 0,0 0-16,-13 1 0,13-1 15,-14-13-15,1 13 0,13 0 0,-13-13 16,13 13-16,0 1 0,-13-14 15,13 13-15,0 0 16,13-13-16,-13 13 0,13-13 16,0 14-16,1-14 15,-1 13-15,0-13 0,0 13 16,1 0-16,-14 1 31,-14-1-31,1 0 16,0-13-16,0 13 15,-1-13-15,1 0 0,0 13 16,0-13-16,0 0 16</inkml:trace>
  <inkml:trace contextRef="#ctx0" brushRef="#br0" timeOffset="79722">23667 6310 0,'13'-13'15,"0"13"1,-13-13 0,14 13-16,-1 0 0,0 0 15,0 0-15,1 13 16,-14 0 0,0 1-16,0-1 15,0 0-15,0 0 0,0 0 16,-14 1-16,14-1 0,0 0 15,-13 0-15,13 1 16,0-1-16,0 0 0,-13-13 0,13 13 0,0 1 16,0-1-1,0 0-15,-13 0 16</inkml:trace>
  <inkml:trace contextRef="#ctx0" brushRef="#br0" timeOffset="79897.21">23588 6496 0,'0'-14'0,"0"1"15,13 13 1,0 0-16,0 0 0,-13-13 16,14 13-16,-1 0 0,0 0 0,0 0 15,0 0-15,14 0 0,-14 0 16,0-13-16,1 13 0,12 0 15</inkml:trace>
  <inkml:trace contextRef="#ctx0" brushRef="#br0" timeOffset="80257.2">24130 6310 0,'-40'14'47,"27"-14"-47,0 13 15,0-13-15,-14 13 0,14 0 0,0 0 16,-1-13-16,1 14 0,0-1 16,0-13-16,0 13 0,-1-13 0,1 13 15,13 1-15,-13-14 16,13 13-16,13 0 15,0-13-15,1 0 16,-14 13-16,13-13 0,13 0 0,-13 0 16,1 0-16,-1 0 0,13 0 15,-12 0-15,-1 0 0,0 0 16,14 0-16,-14 0 0,13 0 16,-13 0-16,1 0 0,-14-13 15,13 13-15,0-13 16</inkml:trace>
  <inkml:trace contextRef="#ctx0" brushRef="#br0" timeOffset="80457">24170 6324 0,'-40'13'32,"27"0"-32,0 0 0,13 0 15,0 1-15,-14-1 0,14 0 16,0 14-16,0-14 0,-13 0 15,13 0-15,0 14 0,0-14 0,0 0 16,0 0-16,0 1 0,-13-1 16,13 0-16,0 0 0,0 1 0,-13-1 15,13 0-15,0 0 0,-14 1 0</inkml:trace>
  <inkml:trace contextRef="#ctx0" brushRef="#br0" timeOffset="81753.23">23402 6760 0,'27'0'15,"-1"0"-15,-12 0 0,12 0 0,0 0 16,14 0-16,0 0 0,13 0 0,-14 0 15,14 0-15,0 0 0,-13-13 16,13 13-16,-13 0 0,12 0 0,-12 0 16,0-13-16,0 13 0,-1 0 0,1-14 15,-14 14-15,14-13 0,-13 13 16,-1-13-16,14 0 0,-27 13 16,13-13-16,1-1 0,-14 1 0,14 0 15,-14 0-15,0-1 0,0-12 0,0 13 16,1-14-16,-14 14 0,13-13 15,-13-1-15,13 1 0,-13 12 0,0-12 16,0 13-16,0-14 0,0 1 0,0-1 16,-13 1-16,0 13 0,-1-27 15,1 13-15,0 1 0,-13 0 0,-1-1 16,1 1-16,-1-1 0,-13 14 0,14-14 16,0 14-16,-14 0 0,0-13 15,0 26-15,1-14 0,-14 1 16,0 0-16,0 13 0,0 0 0,0-13 15,0 13-15,0 13 0,0-13 16,1 0-16,-1 13 0,13 0 0,-13 1 16,0-1-16,13 0 0,-13 0 0,14 0 15,-1 14-15,14-14 0,-14 14 16,14-1-16,-1 1 0,1-1 16,-1 0-16,14 1 0,0-1 0,-1 1 0,1-14 15,0 14-15,13-1 0,0 0 16,0 1-16,0-1 0,13 1 0,0-1 15,1 14-15,-1-14 0,13 1 0,1-1 16,-14 1-16,14-14 0,-1 14 0,0-14 16,1 0-16,-1 0 15,1 0-15,-14 1 0,13-14 0,1 13 16,-1-13-16,1 13 0,-14-13 0,14 0 16,-14 0-16,0 0 0,13 13 15,-12-13-15,-1 0 0,0 0 0,0 0 16,1 0-16,-1 0 0,0 0 15,0 0-15,1 0 16,-1 0-16,0 0 31,0 0-31,0 0 32,1 0-1,-1-13 109,0 0 173,-26 13-313,13-13 16,-13-1-16,-1 1 15,1 0-15</inkml:trace>
  <inkml:trace contextRef="#ctx0" brushRef="#br0" timeOffset="84802.09">23138 5173 0,'-13'0'15,"26"-14"32,0 14-31,0-13-16,1 13 16,-1-13-1,-53 26 16,27-13-15,0 13-16,-1-13 16,1 14-1,0-14-15,26 13 32,0-13-32,1 13 0,-1-13 15,0 0-15,0 0 16,1 0-16,-1 13 0,0-13 0,0 0 15,0 14-15,-13-1 32,0 0-32,-13-13 0,13 13 15,-13-13-15,0 0 0,13 13 16,-13-13-16,-1 14 16,1-14-16,0 0 15,13 13-15,-13-13 16,-1 0-1</inkml:trace>
  <inkml:trace contextRef="#ctx0" brushRef="#br0" timeOffset="85982.01">23469 5093 0,'-14'-13'32,"1"26"-32,13 0 15,0 1-15,-13-1 16,13 0-1,0 0-15,13 1 0,-13-1 16,13-13-16,-13 13 0,14-13 16,-1 13-16,0-13 15,0 0-15,0 0 16,1 0-16,-1 0 16,0 0-1,-13-13-15,0 0 0,0 0 16,-13-1-1,0 1 1,-1 0-16,1 13 16,0-13-16,0 13 15,0 0 1</inkml:trace>
  <inkml:trace contextRef="#ctx0" brushRef="#br0" timeOffset="86318.14">23680 5040 0,'-26'14'15,"26"-1"-15,0 0 16,0 0-16,0 0 0,0 1 15,0-1-15,13 0 0,-13 0 16,13 1-16,0-1 0,1-13 16,-1 13-16,0-13 0,0 0 0,1 13 15,-1-13-15,0 0 0,0-13 16,14 13-16,-14-13 16,-13 0-16,0-1 15,0 1-15,-13 0 16,-1 13-16,14-13 0,-13 13 0,0-14 15,0 14-15,0-13 0,-1 13 0,1 0 16,0 0-16,0 0 0,-1 0 16,1 0-16,0 13 0,0-13 0</inkml:trace>
  <inkml:trace contextRef="#ctx0" brushRef="#br0" timeOffset="88446.48">23402 7527 0,'14'-13'32,"-1"13"-32,0 0 15,0 0-15,1 13 16,-14 1-16,0-1 16,0 0-16,0 0 0,0 1 0,-14-1 15,14 0-15,-13 13 0,0-12 16,0-1-16,-1 0 0,14 0 0,-13 1 15,0-1-15,13 0 0,-13-13 0,13 13 16,-14-13-16,14 14 16,0-1-16,14-13 15,-1 0 1,0 0-16,0 0 16,1-13-16,-1 13 0,0 0 15,0 0-15,1-14 0,-1 14 0,0 0 16,0 0-1,0-13-15,1 13 0,-1 0 16,-13-13-16,13 13 0,0-13 16,1 13-16,-14-14 0</inkml:trace>
  <inkml:trace contextRef="#ctx0" brushRef="#br0" timeOffset="88853.49">23839 7514 0,'13'0'32,"-39"0"-32,-1 0 15,14 0-15,0 13 0,0-13 16,-1 0-16,1 14 0,0-14 15,0 13-15,-1 0 16,28 0 0,-1-13-1,-13 14-15,13-14 0,0 0 0,1 13 16,-1-13-16,0 13 16,0-13-16,-13 13 15,13-13-15,-13 13 0,0 1 16,0-1-16,-13 0 15,0 0-15,0-13 0,13 14 16,-13-1-16,-1-13 0,1 13 16,0-13-16,0 13 0,-1-13 0,1 0 15,13 14-15</inkml:trace>
  <inkml:trace contextRef="#ctx0" brushRef="#br0" timeOffset="89146.25">23918 7594 0,'0'26'47,"0"-13"-47,0 0 0,0 1 16,0-1-16,14-13 15,-1 13-15,0 0 0,0-13 16,0 0-16,1 0 0,-1 0 0,0 0 15,0-13-15,1 13 16,-1-13-16,0 0 16,-13-1-16,0 1 0,0 0 15,0 0-15,0 0 0,0-1 0,0 1 16,-13 0-16,13 0 16,-13 13-16,13-14 0,-14 14 0,1 0 15,0 0-15,0 0 0,-1 0 0,-12 0 16,13 0-16,-14 0 0</inkml:trace>
  <inkml:trace contextRef="#ctx0" brushRef="#br0" timeOffset="90032.59">23336 7422 0,'93'-14'0,"-1"1"15,-39 0-15,-13 13 0,13-13 16,-13 13-16,13 0 0,-27-14 0,14 14 16,-14 0-16,1 0 0,-1-13 15,1 13-15,-14 0 0,13 0 16,-13 0-16,1 0 0,-14-13 0,13 13 0,0 0 15,0 0-15,1 13 16,-1 0 0,-13 1-16,13-1 15,-13 0-15,0 0 0,0 1 16,0-1-16,0 0 0,0 0 16,13 0-16,-13 14 0,0-14 0,14 0 15,-14 14-15,0-14 0,0 0 0,13 1 16,-13 12-16,13-13 0,-13 0 15,0 14-15,13-14 0,-13 0 0,13 1 16,-13-1-16,0 0 0,0 0 0,14 1 16,-14-1-16,0 0 0,0 0 15,0 0-15,0 1 0,0-1 0,0 0 16,0 0-16,0 1 16,0-1-16,-14-13 0,14 13 15,-13 0-15,0 1 16,0-14-16,0 0 0,-1 13 15,-12-13-15,13 13 0,-14-13 0,-13 0 16,1 13-16,-1-13 0,14 0 16,-14 0-16,13 0 0,-12 13 15,12-13-15,-12 0 0,12 0 0,1 0 0,-1 0 16,1 0-16,-1 0 0,14 0 16,0 0-16,0 0 0,-1 0 0,1 0 15,0 0-15,-27-13 31,27 13-31,13-13 16,-13 13-16,13-13 0,0 0 16,-13-1-16,13 1 15,0-13-15,0 12 0,0 1 0,0-13 16,-14 12-16,14-12 0,0 13 0,0-14 16,0 1-16,0 13 0,0-14 0,0 14 15,0-14-15,14 14 0,-14 0 16,0-13-16,13-1 0,-13 1 0,0-1 15,13 1-15,0-14 0</inkml:trace>
  <inkml:trace contextRef="#ctx0" brushRef="#br0" timeOffset="90660.88">22926 5054 0,'-13'26'15,"13"-13"-15,0 0 0,-13 1 0,13 12 16,-14-13-16,14 14 0,-13-1 0,13 1 16,0-1-16,-13-13 0,13 14 15,0-14-15,0 14 0,0-14 0,0 0 16,0 0-16,13 1 0,-13-1 0,0 0 15,0 0-15,13-13 0</inkml:trace>
  <inkml:trace contextRef="#ctx0" brushRef="#br0" timeOffset="91201.03">22926 4895 0,'252'-66'31,"-186"52"-31,0 14 0,13-13 16,1 0-16,-1 0 0,0 13 0,1 0 16,-14-14-16,13 14 0,1-13 15,-14 13-15,0 0 0,-13 0 0,13 0 16,-13 0-16,-13 0 0,-1-13 0,-12 13 15,-1 0-15,1 13 0,-1-13 16,-13 0-16,1 0 0,-1 0 0,0 0 16,0 0-16,0 13 0,1 1 15,-14-1-15,0 0 16,0 0-16,0 1 0,0-1 0,0 13 16,0-12-16,0 12 0,0 0 0,-14 1 15,14-1-15,0 1 16,14-1-16,-14 27 0,0-26 0,13-1 15,-13 1-15,0-14 0,13 13 16,-13-12-16,0 12 0,13-13 16,-13 0-16,0 1 0,0-1 15,-13 0-15,13 0 0,-13 1 0,-14-14 16,1 13-16,0 0 0,-14-13 0,-13 13 16,13-13-16,-13 14 0,-13-14 15,13 0-15,-26 0 0,-1 13 0,1-13 16,0 0-16,-1 0 0,14 13 0,-13-13 15,26 0-15,0 0 0,0 0 16,13 0-16,14 0 0,-1 13 0,14-13 16,0 0-16,0 0 0,0 13 0,-1-13 15</inkml:trace>
  <inkml:trace contextRef="#ctx0" brushRef="#br0" timeOffset="92596.73">23376 7779 0,'-27'13'0,"14"-13"16,0 13-16,0-13 0,0 0 0,-1 0 15,-12 13-15,13-13 0,-14 0 16,1 0-16,-1 14 0,1-14 16,-1 0-16,1 13 0,-1-13 0,1 0 15,0 0-15,-1 0 0,14 13 16,0-13-16,-14 0 0,14 0 0,0 0 16,-1 0-16,1-13 0,0 13 15,13-13-15,-13 13 0,0-14 16,13 1-16,0-13 0,0 13 0,-14-1 15,14-12-15,0-1 0,0-12 0,0-1 16,0 0-16,0 1 0,0-14 16,0 13-16,14-13 0,-14 13 15,0-13-15,0 1 0,0-1 0,0 0 16,13-13-16,-13-1 0,0 15 0,0-1 16,0-14-16,0 15 0,0-15 15,0 15-15,-13-15 0,13 14 0,-14-13 16,14 27-16,-13-14 0,13 13 15,-13-13-15,0 0 0,13 13 0,-14-12 16,1 12-16,13 0 0,-13 0 0,0 1 16,13-1-16,-14 0 0,14 1 0,-13-1 15,13-13-15,0 27 16,-13-1-16,13 1 0,0 13 0,0-14 16,0 14-16,0-14 0,0 14 15,0 0-15,-13-14 0,13 14 16,0 0-16,0 0 0,0 0 15,0-1-15,-13 1 16,-1 0 0,1 0-1,26-1 32,1 14-47,-1-13 0,0 13 16,0 0-16,0-13 0,1 13 15,12-13-15,-13 13 0,1-13 16,-1 13-16,0 0 0,0-14 0,1 14 16,-1-13-16,0 13 0,-13-13 15,13 13-15</inkml:trace>
  <inkml:trace contextRef="#ctx0" brushRef="#br0" timeOffset="92878.95">22820 5265 0,'14'0'16,"12"0"-16,-13 0 15,-13 13-15,13-13 0,1 0 16,-14 14-16,13-1 0,-13 0 16,0 0-1,-13 1-15,13-1 0,0 0 0,-14-13 16,14 13-16,-13 1 0,0-1 0,13 0 16,-13 0-16,13 0 15,-13 1-15,13-1 0,0 0 16</inkml:trace>
  <inkml:trace contextRef="#ctx0" brushRef="#br0" timeOffset="93678.55">23217 7699 0,'0'0'0,"27"27"31,-14-27-15,0 13 0,0-13-16,1 13 0,-1-13 15,0 0-15,-13 14 0,13-14 0,0 0 16,-13 13-16,14-13 16,-14 13-16,0 0 15,-14 0-15,1 1 0,0-1 0,0 0 16,0 0-16,-14 1 0,1 12 15,-1-13-15,1 1 0,13-1 0,-14 0 16,14 0-16,-14 0 0</inkml:trace>
  <inkml:trace contextRef="#ctx0" brushRef="#br0" timeOffset="113326.15">18640 939 0,'26'0'47,"-12"0"-31,-14-13-16,26 13 15,-13 0 1,0 0-16,-52 13 47,12-13-47,14 13 0,0-13 15,-14 0-15,1 0 0,13 0 16,-14 14-16,14-14 0,0 0 0,0 13 16,-1-13-16,1 0 0,0 13 15,13 0 1,13 1-1,0-14-15,1 0 0,-1 13 0,0-13 16,0 13-16,1-13 0,12 0 0,-13 13 16,0-13-16,1 14 0,-1-14 15,-13 13-15,13-13 0,0 13 16,-13 0 0,-13 0-16,0 1 15,0-1-15,-1-13 0,1 13 16,0-13-16,0 13 0,0-13 0,-1 0 15,1 0-15,0 14 0,0-14 16,-1 0-16,1 0 0,13 13 16,-13-26-1</inkml:trace>
  <inkml:trace contextRef="#ctx0" brushRef="#br0" timeOffset="113649.08">18759 952 0,'0'0'0,"0"14"47,0-1-47,0 0 16,0 0-16,13-13 0,-13 14 16,13-1-16,1 0 0,-1 0 0,0-13 15,0 14-15,1-14 0,-1 0 0,13 0 16,-13 0-16,1 0 0,-1 0 15,0 0-15,0-14 0,1 14 0,-1-13 16,0 0-16,-13 0 16,-13-1-16,13 1 0,-13 0 15,-1 0-15,1-1 0,0 14 16,0 0-16,-1-13 0,1 13 16,0 0-16,0 0 0,0 0 0,-1 0 15,1 0-15,0 13 0,0-13 16,-1 0-16,14 14 0</inkml:trace>
  <inkml:trace contextRef="#ctx0" brushRef="#br0" timeOffset="114374.86">19262 900 0,'0'26'47,"13"-13"-47,-13 0 0,13 1 31,-13-1-31,0 0 31,13-39 1,-13 12-17,14 14-15,-1 0 16,0 0-1,0 0-15,1 0 16,-1 0-16,0 14 31,0-1 1,-13-26-1,13-1-16,1 14 17,-1 0-32,0 0 15,0 0 1,1 0-16,-1 14 16,0-14-16,0 0 15</inkml:trace>
  <inkml:trace contextRef="#ctx0" brushRef="#br0" timeOffset="114945.21">19698 966 0,'0'0'0,"0"-14"16,13 14-16,-13-13 16,0 0-1,0 0-15,0 0 16,0-1 0,-13 41 30,13-14-46,0 0 16,0 0-16,13-13 31,1 0-15,-1 0-16,0 0 16,0 0-16,1 0 15,-1-13 1,0 13-16,0 0 15,1 13-15,-1-13 16,0 0 0,0 0-1,0 0 17,1 0-32,-1 0 15,0 0 1,0 0-1,1 0-15,-1 0 0,0 0 16,0 14 0,0-14-16</inkml:trace>
  <inkml:trace contextRef="#ctx0" brushRef="#br0" timeOffset="115341.28">19354 1257 0,'0'0'0,"27"-13"15,-14-1-15,13 1 0,1 0 16,13 13-16,12-13 0,-12-1 15,13 1-15,-13 0 0,13 0 0,-14 13 16,14-14-16,-13 1 0,0 13 0,-14 0 16,1 0-16,-1-13 0,-13 13 15,0 0-15,1 13 0</inkml:trace>
  <inkml:trace contextRef="#ctx0" brushRef="#br0" timeOffset="115517">19341 1363 0,'0'0'0,"27"-14"15,-14 1-15,13 13 0,1-13 16,-1 0-16,14-1 0,13 1 0,-14 0 16,28 0-16,-28 0 0,14-1 0,-13 1 15,13 13-15,-14-13 0,14 0 16,-13-1-16,0 1 0</inkml:trace>
  <inkml:trace contextRef="#ctx0" brushRef="#br0" timeOffset="115770.18">20452 952 0,'40'0'32,"-27"0"-32,0 0 0,1 0 0,12 0 15,1-13-15,-1 13 0,-13 0 0,14 0 16,-1 0-16,1-13 0,-1 13 16,1 0-16,-14 0 0,0 0 15,13 0-15,-12 0 0,-1 0 0,0-13 16</inkml:trace>
  <inkml:trace contextRef="#ctx0" brushRef="#br0" timeOffset="115992.88">20704 794 0,'66'13'31,"-53"0"-31,0-13 15,14 13-15,-14-13 0,0 14 0,14-1 0,-14-13 16,0 13-16,14 0 0,-27 1 16,13-1-16,0 0 0,-13 0 0,13 0 15,-13 1-15,-13-1 0,0 0 16,13 14-16,-27-1 0,14-13 16,0 14-16,0-14 0,-1 0 0,1-13 15</inkml:trace>
  <inkml:trace contextRef="#ctx0" brushRef="#br0" timeOffset="118664.26">21908 1177 0,'13'27'32,"-13"-14"-32,0 0 15,0 14-15,0-14 0,0 0 0,0 0 16,0 1-16,0 12 0,0-13 16,0 1-16,13-1 0,-13 13 0,0-12 15,0-1-15,-13 0 0,13 0 16,0 0-16,13 1 15,-13-1-15</inkml:trace>
  <inkml:trace contextRef="#ctx0" brushRef="#br0" timeOffset="119665.69">22225 1177 0,'0'0'0,"0"-13"15,-13 13-15,0 13 32,-1-13-32,14 14 0,-13-1 15,13 0-15,-13 14 0,13-14 0,-13 0 0,13 13 16,0-12-16,0-1 0,0 13 16,0-12-16,0-1 0,0 0 0,0 0 15,13 1-15,-13-1 0,13-13 0,0 13 16,-13 0-16,14-13 0,-1 13 15,0-13-15,0 0 16,0 0 0,-13-13-1,0 0-15,0 0 0,-13 0 16,13-1 0,-13 1-1,0 0-15,-14 26 16</inkml:trace>
  <inkml:trace contextRef="#ctx0" brushRef="#br0" timeOffset="120004.42">22410 1244 0,'0'0'0,"-13"26"31,13-13-31,0 0 16,0 1-16,0-1 0,0 0 0,0 0 15,0 1-15,13-14 0,-13 13 0,13 0 16,1-13-16,-1 13 0,0-13 16,0 0-16,1 14 0,-1-14 0,0 0 15,13-14 1,-12 14-1,-14-13-15,0 0 0,0 0 16,-14 13-16,14-14 0,0 1 0,-13 0 16,13 0-16,-13-1 0,0 1 15,13 0-15,-13 13 16,-1-13-16,1 13 0,0 0 16,0 13-16</inkml:trace>
  <inkml:trace contextRef="#ctx0" brushRef="#br0" timeOffset="120737.14">22820 1177 0,'0'-13'15,"-13"13"1,-13 13-1,12 1-15,14-1 16,-13 0-16,0 0 0,13 1 16,-13-1-16,13 0 0,-14 0 15,14 0-15,0 1 0,0-1 16,0 0-16,0 0 0,0 1 16,0-1-16,0 0 15,14 0 1,-14 1-16,13-14 31,0-14-31,0 14 16,-13-13-16,14 13 15,-1-13-15,-13 0 16,13 13 0,0-14-16,1 1 31,-1 13-16,0 13 1,0-13 0,-13 14-16,13-14 15,1 13 1,-1-13 31,0 0-47,0 0 31,1 0-31,-14 13 0,13-13 16,0 0-1,-13 13 1,13-13 0,1 0-1,-1 0 1,0 0-1,0 0-15,0 0 16,1-13 0,-1 13-1,0-13-15,0 13 16,-13-13-16</inkml:trace>
  <inkml:trace contextRef="#ctx0" brushRef="#br0" timeOffset="123836.65">21788 357 0,'0'-13'16,"-13"0"125,26 39 46,-13-13-187,14-13 16,-14 14-16,0-1 15,0 0-15,0 0 0,13 1 16,-13-1 0,0 0-1,0 0-15,0 0 16,-13-13-16,13 14 16,0-1-16,0 0 15,-14 0-15,14 1 16,0-1-1,0 0 1,14-13 0,-1 0-1</inkml:trace>
  <inkml:trace contextRef="#ctx0" brushRef="#br0" timeOffset="124072.18">21709 529 0,'40'-13'46,"-27"13"-30,0 0-16,0 0 0,1 0 16,-1 0-16,0-13 0,0 13 15,1 0-15</inkml:trace>
  <inkml:trace contextRef="#ctx0" brushRef="#br0" timeOffset="124437.68">22066 370 0,'13'0'0,"-26"0"0,40 0 15,-27 14 1,13-14-16,-13 13 0,0 0 15,0 0-15,0 1 16,-13-1-16,13 0 0,-14 0 0,14 0 16,0 1-16,-13-1 0,13 0 0,-13-13 15,13 13-15,0 1 16,-13-1-16,26 0 31,13-13-15,-12 0-1,-1-13-15,0 13 0,0 0 0,1-13 16,12 13-16,-13-14 0,1 14 16,-1 0-16,13-13 0</inkml:trace>
  <inkml:trace contextRef="#ctx0" brushRef="#br0" timeOffset="124724.22">22357 423 0,'-13'14'0,"0"-14"0,13 13 16,13 0-16,-13 0 16,13-13-1,-13 13-15,14-13 0,-1 0 16,0 0-16,0 0 16,-13-13 15,-13 0-31,0 0 15,0 0-15,-1 13 16,14-14-16,-13 14 0,0 0 16,0-13-16,-1 13 15,1 0 1</inkml:trace>
  <inkml:trace contextRef="#ctx0" brushRef="#br0" timeOffset="125086.48">23164 212 0,'14'0'31,"-14"13"0,0 0-31,0 14 16,0-14-16,0 0 16,0 0-16,13-13 15,-13 14-15,0-1 0</inkml:trace>
  <inkml:trace contextRef="#ctx0" brushRef="#br0" timeOffset="125376.15">23429 238 0,'-27'13'32,"14"1"-32,0-1 15,0 0 1,-1 0-16,1 1 15,13-1-15,0 0 16,0 0 0,13-13-16,1 13 0,-1-13 15,0 0-15,0 0 0,1 0 0,-1 0 16,0 14-16,0-14 0,1 0 16,-1 0-16,0 0 0,0 0 0,14 0 15</inkml:trace>
  <inkml:trace contextRef="#ctx0" brushRef="#br0" timeOffset="125593.55">23535 225 0,'-27'0'0,"14"26"16,0-12-1,13-1-15,-13-13 0,13 13 16,0 0-16,-14 1 0,14-1 0,0 0 16,-13 0-16,13 0 0,0 1 0,0-1 15,0 0-15,13 0 16</inkml:trace>
  <inkml:trace contextRef="#ctx0" brushRef="#br0" timeOffset="125934.16">23641 291 0,'0'0'0,"-14"0"0,1 13 16,0 1 0,0-1-16,13 0 15,0 0-15,-14 0 0,28-13 16,-14 14-16,13-1 15,0-13-15,-13 13 0,13-13 16,1 0-16,-1 0 0,0 0 16,0 0-16,0 0 0,-13-13 15,14 13-15,-14-13 0,0-1 16,0 1-16,0 0 16,0 0-16,-14 0 15,1-1-15,0 14 16,-13 0-1,12 0 1,1 14 0</inkml:trace>
  <inkml:trace contextRef="#ctx0" brushRef="#br0" timeOffset="126318.31">23892 278 0,'0'26'62,"-13"-26"-62,13 14 16,0-1 0,13 0-16,-13 0 15,13-13-15,0 13 31,1-13-31,-1 0 16,0 0 0,-13 14-1,13-14-15,0 0 16,1 0 0,-1 0-16,0-14 15,14 14-15,-14 0 16,0 0-16,0 0 0,1-13 15,-1 13-15,0 0 0,0 0 16</inkml:trace>
  <inkml:trace contextRef="#ctx0" brushRef="#br0" timeOffset="127077.25">23402 2342 0,'0'26'31,"0"-13"-31,0 0 0,-13-13 0,13 14 16,0-1-16,0 0 0,0 0 16,0 1-16,0-1 15,0 0-15</inkml:trace>
  <inkml:trace contextRef="#ctx0" brushRef="#br0" timeOffset="127822.16">23760 2355 0,'0'0'0,"-14"0"0,1 0 15,0 0 1,0 0-1,13 13-15,-14-13 16,14 13-16,0 0 0,0 1 16,0-1-16,-13 0 15,13 0-15,0 1 0,-13-14 16,13 13-16,0 0 0,-13-13 16,13 13-16,-13-13 15,13 14-15,13-41 31,-13 14-15,13 0-16,0 13 0,0-14 0,-13 1 16,14 0-16,-1 0 15,0-1-15,-13 1 0,13 13 0,-13-13 16,0 0-16,14 0 0,-14-1 16,0 1-16,-14 13 15,14-13-15,-13 0 16,0 13-16,0 0 15,-1 13 1,1-13-16,13 13 0,-13-13 16</inkml:trace>
  <inkml:trace contextRef="#ctx0" brushRef="#br0" timeOffset="128163.95">23879 2328 0,'-14'27'32,"14"-14"-17,-13-13-15,13 13 0,0 0 16,0 1-16,0-1 16,0 0-16,13 0 15,1-13-15,-1 0 16,0 0-16,0 0 15,1 0-15,-1 0 16,-13-13-16,13 13 0,-13-13 16,13 13-16,-13-13 0,13-1 15,-13 1-15,0 0 16,-13 0-16,13 0 0,0-1 16,-13 14-16,13-13 0,-13 13 15,0 0-15,-1 0 0,1 0 16,0 0-16,0 0 15,-1 0-15</inkml:trace>
  <inkml:trace contextRef="#ctx0" brushRef="#br0" timeOffset="128721.85">24289 2289 0,'0'0'0,"-13"13"16,-1-13-16,14 13 16,-13-13-16,13 13 0,-13-13 0,13 14 15,0-1-15,-13 0 16,26 0 0,-13 0-16,13 1 15,0-14-15,1 0 16,12 0-1,-13 0-15,-13-14 0,13 14 0,1 0 16,-1 0 0,0 0-16,0 0 15,1 0 1,-1 0 0,0 0-1,0 0-15,1 0 0,-1 0 16,0 0-16,0 0 0,0 0 15,1 0-15,-1 0 16,13 0-16,-26-13 16,14 13-16,-1 0 15,0 0-15,-13-13 16</inkml:trace>
  <inkml:trace contextRef="#ctx0" brushRef="#br0" timeOffset="129349.1">22304 2037 0,'14'27'31,"-14"-14"-31,0 0 16,13 0-16,-13 1 0,0-1 15,0 0-15,0 0 0,13 1 0,-13-1 16,0 0-16,13 0 0,-13 0 0</inkml:trace>
  <inkml:trace contextRef="#ctx0" brushRef="#br0" timeOffset="129821.18">22040 2249 0,'39'-13'31,"-39"-1"-31,14 14 16,-1 0-16</inkml:trace>
  <inkml:trace contextRef="#ctx0" brushRef="#br0" timeOffset="132118.49">21167 635 0,'26'0'31,"1"0"-31,-14 0 16,0 0-16,0 0 0,0-13 0,1 13 16,-1 0-16,13-13 0,-12 13 15</inkml:trace>
  <inkml:trace contextRef="#ctx0" brushRef="#br0" timeOffset="132829.72">21696 423 0,'0'0'0,"-27"14"15,14-1-15,13 0 16,-13 0 0,13 0-16,0 1 15,13-1-15,-13 0 16,13-13-16,1 0 16,-1-13-1,0 13-15,0-13 0,1-1 16,-14 1-16,13 13 0,-13-13 15,0 0-15,0 0 16,0-1 0,-27 41-1,27-14 1,-13 0 0,13 0-16,0 1 0,13-14 15,-13 13-15,14-13 16,12-13-1,-13-1-15,0 1 0,1 13 16,-14-13-16,13 0 0,-13 0 16,0-1-16,13 14 0,-13-13 15,0 0-15,-13 13 0,-14 0 16,14 13 0,13 0-16,-13 1 0,0-1 15,0 0-15,13 0 0,-14 27 16,1-27-16,13 0 0,0 1 0,0-1 15,0 0-15,0 0 16,13-13-16,1 14 16,12-28-16,-13 14 0,0-13 15,1 0-15,-14 0 0,13 13 16,0-14-16,-13 1 0,0 0 16,0 0-16,0-1 15,-13 1-15,0 13 0,-1 0 16,1 0-16,0 13 15,0 1-15,-14-1 0,14 13 0,0 1 16,0 13-16,-1 12 0,1-25 16,13-1-16,13 1 0,-13-1 15,14 14-15</inkml:trace>
  <inkml:trace contextRef="#ctx0" brushRef="#br0" timeOffset="133373.01">22066 2117 0,'0'13'16,"0"0"-16,0 0 16,0 1-16,0 12 0,-13-13 15,13 0-15,0 1 0,0-1 16,13 0-16,-13 0 16,0 1-16,0-1 0,13 0 15</inkml:trace>
  <inkml:trace contextRef="#ctx0" brushRef="#br0" timeOffset="134116.49">22265 2103 0,'0'-13'0,"13"13"15,0 0 1,0 0-16,1 13 15,-14 1-15,13-14 16,-13 13-16,0 0 0,0 0 0,-13 1 16,13-1-16,-14 0 0,14 0 15,-13 0-15,0 1 16,13-1-16,-13 0 16,13 0-1,0 1 1,13-28-1,13 14 1,1 0-16,-14-13 0,14 13 0,-1-13 16,0 0-16,41-14 0,-28 14 15,-12 0-15,-1 0 0,1-1 16,-14 1-16,0 0 0,0 0 16,1 13-16,-1-14 0,0 14 0,0-13 15,0 0-15,-13 0 16,0 52 31,0-25-32,14-14-15,-14 13 16,13-13 0,0 0-16,14-13 15,-14 13-15,-13-14 16,13 14-16,0-13 15,1-53 17,-28 53-32,1 26 15,-146 80 17</inkml:trace>
  <inkml:trace contextRef="#ctx0" brushRef="#br0" timeOffset="134300.71">22146 2474 0,'53'-27'16,"-106"54"-16,132-67 0,-39 27 16,-1 0-16,1-1 0,0 1 0,-1 0 15,1 0-15,13 0 0,-27-1 16,14 14-16,0-13 0,-14 13 0,-12 0 15,25-13-15,-26 13 16,1 0-16,-1 0 0,0 0 0</inkml:trace>
  <inkml:trace contextRef="#ctx0" brushRef="#br0" timeOffset="134471.96">22291 2500 0,'-13'14'16,"26"-28"-16,0 14 31,14-13-31,-14 0 0,27 0 0,-1-1 16,28-25-16,-28 25 0,41-25 15,-54 12-15,14 1 16,-14-1-16,1 1 0</inkml:trace>
  <inkml:trace contextRef="#ctx0" brushRef="#br0" timeOffset="134838.97">22185 833 0,'27'-13'16,"12"0"-16,-12 0 15,-1 13-15,27-13 0,-26-1 16</inkml:trace>
  <inkml:trace contextRef="#ctx0" brushRef="#br0" timeOffset="135018.01">22199 873 0,'0'0'0,"26"-13"32,0 13-32,1-13 0,13 13 15,-1-14-15,14 14 0,40-26 16,-40 26-16</inkml:trace>
  <inkml:trace contextRef="#ctx0" brushRef="#br0" timeOffset="135666.94">24077 701 0,'-13'13'0,"0"146"31,-1-93-31,14-13 0,0 27 16,0-1-16,-13-13 0,13 13 0,0 1 16,0-1-16,-13 1 0,13-14 15,0 0-15,0 0 0,0-13 0,0 0 16,0-13-16,-13 26 0,13-40 16,0 14-16,0-27 15,13 0-15,-13 1 0,0-1 16,0 0-16,0 0 0</inkml:trace>
  <inkml:trace contextRef="#ctx0" brushRef="#br0" timeOffset="135978.29">23733 1865 0,'0'27'32,"0"-14"-32,13 0 0,-13 0 0,0 1 15,0-1-15,14 0 0,-14 0 16,13 1-16,-13-1 0,13 0 0,0 0 16,-13 1-16,13-14 0,1 13 15,-1 0-15,0-13 16,0 13-16,1-13 0,-1 0 0,0 0 15,14 0-15,-14-13 0,26 0 16,-25 0-16,12-1 0,1-12 16,-14-1-16,13 1 0,14-27 15,-27 13-15,0 14 0,1-14 0,-1 0 16,-13 1-16,13-1 0</inkml:trace>
  <inkml:trace contextRef="#ctx0" brushRef="#br0" timeOffset="136520.54">23958 569 0,'-26'26'31,"26"-12"-31,-14-1 0,1 0 0,0 13 15,0-12-15,-1-1 0,-12 13 16,13-12-16,-1 12 0,1-13 16,0 1-16,0-1 0,0 0 15,13 0-15,0-39 32,13 13-17,0-1-15,0 1 0,0 0 0,-13-14 16,27 14-16,-14 0 0,0 0 15,1 13-15,-1-14 0,0 14 0,0-13 16,1 13-16,-1 0 0,0 13 16,0-13-16,0 14 0,1-14 15,-1 13-15,0 0 0,0 0 0,27 1 16,-27-1-16,1 0 0,-1 0 16,0 1-16,0-1 0,-13 0 15,13 0-15,1 0 0,-1 1 0,0-1 16,-13 0-16</inkml:trace>
  <inkml:trace contextRef="#ctx0" brushRef="#br0" timeOffset="141004.95">17820 11218 0,'0'-13'16,"0"26"-16,-14 1 15,14-1-15,-13 13 16,13-13-16,0 14 0,-13-1 16,13 1-16,-13 13 0,13-14 15,0 0-15,0 1 0,-13-1 0,13-12 16,0 12-16,0-13 0,0 1 16,0-1-16,0 0 0,0 0 15,13-39 1,-13-1-1,13 14-15,-13-13 0,0-1 16,0 1-16,0-54 0,0 27 16,13 27-16,-13-1 0,0 1 0,0 0 15,0 12-15,0 1 16,0 0-16,0 0 0,0-1 0,0 1 16,13 26-1,-13 1 1,14-1-16,-14 0 0,0 0 0,13 14 15,-13-14-15,13 0 0,-13 0 0,13 1 16,-13-1-16,14 0 0,-1 0 16,0-13-16,0 0 15,1-13-15,-1 0 0,0 0 0,13-14 16,-12 1-16,-1-1 0,0 1 16,0 13-16,1-14 0,-1 14 15,-13 0-15,13-1 0,0 14 16,1 14-16,-14-1 15,0 0-15,0 14 0,0-1 16,0 1-16,0 12 0,0-12 16,0 12-16,0 1 0,0-13 0,0-1 15,0 0-15,0 1 0,0-14 16,0 14-16,13-14 0,-13 13 0,0-12 16,0-1-16,0 0 0,13 0 15,0-13-15,0 0 0</inkml:trace>
  <inkml:trace contextRef="#ctx0" brushRef="#br0" timeOffset="142161.19">18203 11615 0,'0'0'0,"27"0"15,-14-13-15,0 13 16,0-13-16,14-14 0,13 14 0,-27-13 0,13-1 15,1 14-15,-14-14 0,13 1 16,-12 0-16,-14-1 0,13 1 16,-13 12-16,0 1 0,0-13 0,0 12 15,0 1-15,0 0 0,-13 13 0,13-13 16,-14 13-16,1-13 0,0 13 16,13 13-16,-26-13 0,12 13 0,1 0 15,0 0-15,0 14 0,-1 13 16,1-14-16,0 1 0,13-1 15,-13-13-15,13 14 0,13-14 16,-13 13-16,0-12 0,13-1 0,-13 0 16,13 0-16,1 1 0,-1-1 0,13 0 15,-12-13-15,-1 13 0,13-13 16,1 0-16,-14 0 0,13 0 0,1 0 16,-1-13-16,1 13 0,12-13 0,-12 0 15,-1 13-15,1-14 0,-1 1 16,1 13-16,-14-13 0,13 13 0,-12-13 15,-1-1-15,0 14 0,-13-13 0,13 0 16,-13 0-16,0-1 0,0 1 16,0 0-16,0 0 15,0 0-15,-13-1 0,0 1 16,13 0-16,-13 13 16,-1-13-16,-12 13 15,13 0-15,-1 13 16,1 0-16,0 0 15,13 1-15,-13-14 0,13 13 0,-13 0 16,13 0-16,0 0 0,0 1 0,0-1 16,0 0-16,0 0 0,13-13 15,-13 14-15,13-1 16,0-13 0,0-13-16,1 13 0,-1-14 15,-13 1 1,13 13-16,-13-13 0,13 0 0,1 13 15,-14-14-15,13 14 0,-13-13 0,13 13 16,-13-13-16,13 13 0,1 0 16,-1 0-1,0 0-15,-13 13 0,13-13 16,-13 13-16,13 1 0,-13-1 16,14 0-1,-14 0-15,13 1 16,0-14 15,0-14-31,1 1 16,-1 13-16,0-13 15,0 13-15,1 0 16,-14-13-16,13 13 0,0 0 16,13 0-16,-12 0 0,-1-14 15,27 14-15,-14 0 0,1 0 16,25-13-16,-25 13 0,-1 0 15,1-13-15,-1 13 0</inkml:trace>
  <inkml:trace contextRef="#ctx0" brushRef="#br0" timeOffset="142741.89">20016 10835 0,'-14'26'16,"14"-13"0,0 1-16,-13 12 0,13-13 0,0 14 15,0 12-15,0 1 0,0 0 0,0-1 0,0-12 16,0 13-16,0-14 0,0 1 15,0 25-15,0-25 16,0-14-16,0 14 0,0-14 0,0 0 16,13 0-16,-13 1 0,0-1 15,0 0-15,0-39 32,-13-14-17,13 27-15,0-14 0,-13-13 16,13 1-16,0-1 0,0-13 15,0 13-15,0-12 0,0-1 0,13 13 16,0 0-16,1-13 0,-1 27 0,0-14 0,14 14 16,-14 13-16,13-1 15,1 14-15,-14 0 0,13 0 0,14 14 16,0-1-16,0 13 0,-14 1 0,0 12 16,1 1-16,-14 0 0,0-1 0,-13 1 15,-13 0-15,13 13 0,-26-14 16,-1 14-16,1 0 0,-1-13 0,-12 0 15,-41 39-15,41-53 0,-1 1 16,13-14-16,-12 0 0,-1 1 16,14-1-16,-1-13 0,14 13 0,-14-26 15,14 13-15,0-13 16,13-1-16,0 1 0,13 0 16,0 0-16,1-1 0,12-12 15</inkml:trace>
  <inkml:trace contextRef="#ctx0" brushRef="#br0" timeOffset="143630.85">20690 11351 0,'14'-27'31,"-14"14"-31,0 0 0,13-1 16,-13 1-16,0 0 0,0-13 0,0 12 15,-13 1-15,13 0 0,0 0 0,0-1 16,-14 1-16,1 0 15,0 13-15,0 13 16,13 0-16,-13 1 16,13-1-16,-14 0 0,14 0 15,0 1-15,0-1 0,0 0 0,14-13 16,-14 13-16,13 0 0,0 1 0,0-14 16,0 13-16,1-13 0,-1 0 15,0 13-15,0-26 0,1 13 16,-1 0-16,0 0 0,0-13 0,0 13 0,1-14 15,-1 1-15,0 0 0,0 0 16,1 0-16,-1-1 0,-13 1 16,13 13-16,-13-13 0,13 13 15,-13-13-15,14 13 0,12 0 32,-26 13-32,13-13 0,-13 13 0,13 0 15,1 1-15,-1-1 0,-13 0 16,13 0-16,-13 0 0,13-13 15,-13 14-15,14-1 0,-1 0 16,-13 0-16,13-13 0,-13 14 16,13-1-1,-13-26 17,0-14-17,14 27-15,-14-13 0,0 0 0,0-1 16,13-12-16,-13 13 0,13 0 15,-13-1-15,13 1 0,-13 0 0,13 13 16,1-13-16,-1-1 0,-13 1 16,13 13-16,14-13 0,-14 0 15,0 13-15,0-14 0,0 14 16,1 0-16,-1 0 16,0-13-16,0 13 0,1 0 0,-1 0 15,0 13-15,0-13 0,-13 14 16,14-14-16,-14 13 0,13 0 15,-13 0 1,0 1-16,0-1 0,0 0 0,0 0 16,0 1-16,0-1 0,-13 0 15,13 0-15,0 0 16</inkml:trace>
  <inkml:trace contextRef="#ctx0" brushRef="#br0" timeOffset="143754.14">21431 10821 0,'-13'0'15,"0"0"-15,13 14 0,-13-1 0</inkml:trace>
  <inkml:trace contextRef="#ctx0" brushRef="#br0" timeOffset="144540.01">21669 11007 0,'-13'0'16,"26"0"-16,-39 0 15,13 0-15,-1 13 0,1-13 16,0 13-16,0-13 16,0 13-16,-1 1 0,1-1 15,13 0-15,-13-13 0,13 13 0,0 0 16,13 1 0,0-14-1,1-14-15,12 14 0,-13 0 16,0 0-16,1 0 15,-1 0-15,0 0 16,-13 14 0,13-14-16,1 0 0,-14 13 15,13-13-15,0 0 0,14-13 16,-14 13-16,0-14 0,13 1 16,-12 0-16,12 0 0,1-14 0,-14 1 15,13-1-15,-12 1 0,12-14 16,0-26-16,-12 26 0,-1 14 15,0-27-15,-13 40 16,13 0-16,-13-1 0,0 1 16,14 40-1,-14-14-15,0 40 16,-14-27-16,14 40 16,0-39-16,0 13 0,-13-1 15,13-12-15,0-1 0,-13-13 0,13 14 16,-13-14-16,13 0 0,-14 0 0,14 1 15,-13-1-15,0-13 0,13 13 16,-13-13-16,-14 0 16,14 0-16,13-13 15,-13 13-15,26-13 16,-13-1-16,0 1 16,13 0-16,1 0 0,12 0 0,-13-1 0,0 1 15,14 0-15,-14 0 0,14-1 16,12-12-16,-26 13 0,1 13 15,-1-13-15,0 13 0,0 0 16,1 0-16,-14-14 0,26 28 16,-13-14-16,-13 13 0,14 0 15,-14 0-15,0 0 16,0 1-16,0-1 16,0 0-16,0 0 0,0 1 15,0-1-15,0 0 16,-14 0-16</inkml:trace>
  <inkml:trace contextRef="#ctx0" brushRef="#br0" timeOffset="144654.5">22278 10729 0,'-27'-13'0,"54"26"0,-67-40 16,27 27-1</inkml:trace>
  <inkml:trace contextRef="#ctx0" brushRef="#br0" timeOffset="145068.01">22529 10835 0,'-13'39'16,"26"-78"-16,-39 78 0,26-25 0,0-1 15,0 0-15,-13-13 0,13 13 0,0 1 0,0-1 16,0 0 0,13-13-16,13-13 15,-13 13-15,1-13 0,-1-1 16,13-12-16,-12-1 16,-1 14-16,0-13 0,0 12 0,1 1 15,-14 0-15,13 0 0,-13 0 0,0-1 16,-27 28 15,14-1-31,13 0 0,-13-13 16,13 26-16,0-12 15,13-1-15,0 0 16,1-13-16,-1 13 0,0-13 0,0 0 16,0 0-16,14 0 0,-14 0 15,0 0-15,1 0 0,-1 0 0,0 0 16,0 0-16,1 0 0,-1 14 15,-26-1-15,-14 0 16,1 0-16,-27 14 16,0-1-16,-13 1 0,-1-1 0</inkml:trace>
  <inkml:trace contextRef="#ctx0" brushRef="#br0" timeOffset="145344.45">19063 11946 0,'53'-27'15,"0"14"-15,13 0 0,27-13 16,26-1-16,13 1 0,0-1 0,27 1 16,0-1-16,13 1 0,754-93 31,-741 92-31,-13 14 0,185-13 15,-198 26-15,-13-14 0,-1 14 0,-39 0 16,-13 0-16,-14 0 0,0 0 16,-26 0-16,-13 0 0,-14 0 0,-26 14 15,14-14-15,-54 13 16,-13 0-16,-26-13 0</inkml:trace>
  <inkml:trace contextRef="#ctx0" brushRef="#br0" timeOffset="145605.29">17965 12118 0,'0'13'0,"27"0"16,-1-13-16,40-13 0,14 13 0,12 0 15,41-13-15,12 0 0,14-1 0,0 1 16,26 0-16,0-13 0,0 12 15,0 1-15,14 0 0,-14-14 16,0 14-16,-26 0 0,13 0 0,-26-1 16,-14 1-16,-13 0 0,-27 0 0,1 0 15,-27-1-15,0 14 0,-26-13 16,0-13-16,-14 12 0,-13-12 0,-13 13 16,-13-14-16</inkml:trace>
  <inkml:trace contextRef="#ctx0" brushRef="#br0" timeOffset="145958.99">18547 10451 0,'225'-26'0,"-450"52"0,569-66 16,-211 40-16,-1-13 0,159-13 16,-132 12-16,-1 14 0,14-13 15,146 0-15,-159 0 0,-1 13 16,1 0-16,-13-13 0,-14 13 15,0 0-15,-26-14 0,-13 14 0,-1 0 16,-12 0-16,-27 0 0,-14 0 0,-26 0 16,1 0-16,-67 0 15,-27-13-15</inkml:trace>
  <inkml:trace contextRef="#ctx0" brushRef="#br0" timeOffset="146251.09">17608 10755 0,'198'0'16,"-118"0"-16,899-79 31,-781 66-31,54-1 0,-41 1 0,54-13 16,-54 26-16,54-27 0,-66 14 0,12 13 15,1-13-15,39 0 0,-52-1 0,-1 14 16,173-13-16,-213 0 0,1 13 16,0 0-16,-27 0 15,-26 0-15,0 0 0,-14 0 0,-12 0 16,-14 0-16,-13 0 0,0 0 0,-14 13 16,-12-13-16,-1-13 0,-12 13 0,-1 0 15,0 0-15</inkml:trace>
  <inkml:trace contextRef="#ctx0" brushRef="#br0" timeOffset="146696.85">23720 10279 0,'-13'40'0,"-40"52"15,40-65 1,-1 13-16,1-1 0,13 1 0,-13-14 16,0 14-16,-1 0 0,1-1 0,13-12 15,-13-1-15,13-12 16,0-1-16,0 0 0,0 0 0,13-13 15,0 0-15,1-13 0,25 0 0,-12-14 16,-1 1-16,1-14 0,-1 14 16,14-14-16,-27 14 0,13-14 15,-12 27-15,-1-1 0,0 1 0,-13 0 16,13 0-16,-26 66 16,0-27-1,0 14-15,-1-1 0,1 14 0,0-13 16,0 13-16,0 0 0,-1 0 0,1 0 15,13 0-15,-13 0 0,0-1 16,13-12-16,-14 0 0,1 0 0,-13-1 16,-1 14-16,1-26 0,-14 12 15</inkml:trace>
  <inkml:trace contextRef="#ctx0" brushRef="#br0" timeOffset="147166.34">17687 10927 0,'-13'40'0,"26"-80"0,-39 93 0,13-13 16,-1-14-16,14 14 0,-13 13 0,-13 0 16,13 0-16,-1 0 0,1 0 15,-13 0-15,12-1 0,-12 1 0,-1 40 16,14-53-16,0-14 0,0 1 15,0-14-15,13 0 16</inkml:trace>
  <inkml:trace contextRef="#ctx0" brushRef="#br0" timeOffset="147326.07">17674 10795 0,'0'0'0,"0"26"0,-13 1 0,0 26 16,-1 0-16,-12 0 0,0 13 15,12 0-15,-12 13 0,13-13 0,-14 14 16,14-1-16,-14 14 0,14-14 16,-13-13-16,13 27 0,-14-14 0,14-13 0,0 1 15,-1-14-15</inkml:trace>
  <inkml:trace contextRef="#ctx0" brushRef="#br0" timeOffset="196136.18">24117 13626 0,'0'40'31,"0"-1"-16,0-12-15,0 13 16,13-1-16,-13-12 16,0-1-16,13-13 0,-13 14 15,13 13-15,-13-27 16,14 13-16,-1-13 16,-13 1-1,0 12-15,0-13 16,0 1 15,0-28 157,0-39-188,-27 14 15,14 12-15,13 1 16,-13-54-16,0 41 15,13-1-15,-13 27 16,13 0 0,0-1 77,0 1-77,0 0-16,-14 0 16,14-14-1,0 14 1,14 13 156,25-13-172,1 13 15,0 0-15,13 0 16,13 0-16,0-13 16,-13 13-16,-27 0 15,14 0-15,-27-14 16,0 14 0,1 0-16,-1 0 0,0 0 15,0 0 1,27 0-1,-14 0-15,1 0 16,-1 0-16,1 0 16,-1 0-1,-13 0 1,1 0 109,-1 14-125,0 38 16,-13-12-16,0 0 15,0 13-15,13 0 16,-13 0-16,14-14 15,-1 1-15,-13-14 16,0 14-16,0-13 16,13-1-16,0-13 15,-13 1-15,0-1 16,0 0-16,0 0 16,-39-13 155,12 0-155,-26 0-16,14 0 0,-14 0 16,-14 0-16,41 0 31,-14 0-31,14 0 0,13 0 16,-27 0-16,14-13 15,12 13 1,1 0-16,0 0 15,0 0-15,-14 0 16,1 0 0,12 0-1,1 0-15,0 0 16,0 0-16,0 0 16,-14 0-16,14 0 15,0 0-15,-1 0 16,1 0-1,0 0-15,0 0 16,-1 0 0,1 0-1,0 0 32,13-13 188,0 0-220,0-1 1,13 14-16,0-13 31,1 13 469,-14-26-484,13 12-16,0 14 15</inkml:trace>
</inkml:ink>
</file>

<file path=ppt/ink/ink16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9:06.362"/>
    </inkml:context>
    <inkml:brush xml:id="br0">
      <inkml:brushProperty name="width" value="0.05292" units="cm"/>
      <inkml:brushProperty name="height" value="0.05292" units="cm"/>
      <inkml:brushProperty name="color" value="#0070C0"/>
    </inkml:brush>
  </inkml:definitions>
  <inkml:trace contextRef="#ctx0" brushRef="#br0">6654 2699 0,'14'-13'0,"-1"-1"0,106 1 15,-66 0 1,13 13-16,13 0 0,1-13 0,-14 13 16,0 0-16,-13 0 0,0 0 0,13 0 15,-13 0-15,0 0 0,0 0 16,-14 13-16,1-13 0,-14 0 0,14 0 15,-13 0-15,-1 0 0,-13 13 0,1-13 16,-1 0-16,0 0 0</inkml:trace>
  <inkml:trace contextRef="#ctx0" brushRef="#br0" timeOffset="257.06">6879 2791 0,'-13'14'16,"53"-14"0,-14 0-16,1 0 15,25 0-15,1 0 0,14 0 16,-1 0-16,-13 0 0,13 0 16,-13 0-16,0-14 0,13 14 0,-13 0 15,-14 0-15,1 0 0,0 0 16,-14 0-16,1 0 0,-14 0 0,13 0 15,-12 0-15,-1 0 0,0 14 0,0-14 16,0 0-16,1 0 16,-1 13-16</inkml:trace>
  <inkml:trace contextRef="#ctx0" brushRef="#br0" timeOffset="2579.05">2805 3307 0,'53'-13'16,"52"13"-1,-52-13-15,-13 13 0,13-13 0,0 13 16,0 0-16,0-14 0,0 14 16,-1 0-16,-12-13 0,0 13 0,-1 0 15,-12 0-15,13 0 0,-14 0 16,-13 0-16,14 0 0,-1-13 0</inkml:trace>
  <inkml:trace contextRef="#ctx0" brushRef="#br0" timeOffset="2981.14">3043 3321 0,'92'0'16,"-52"0"-16,0-14 0,13 14 15,-14 0-15,14-13 0,0 13 0,-13 0 16,13-13-16,-14 13 0,14 0 16,-13 0-16,13-13 0,-27 13 0,27 0 15,-26-14-15,12 14 0,-12 0 0,-1 0 16,1-13-16,-1 13 0,-12 0 15,-1 0-15,0 0 0,0 0 0,0 0 16,1 0-16,-1 0 0,0 0 16,0-13-16,1 13 31,-14-13-15,0-1-1</inkml:trace>
  <inkml:trace contextRef="#ctx0" brushRef="#br0" timeOffset="6187.65">7408 6019 0,'-26'-13'32,"13"13"-32,-1 0 15,14 13-15,-13-13 0,0 13 0,13 1 16,-13-1-16,13 0 0,-14 14 0,14-14 15,0 13-15,0-12 0,0 12 16,14 0-16,-14-12 0,13 12 0,0-13 16,0 14-16,-13-14 0,14 0 15,12 1-15,-13-1 0,1 0 0,-1 0 16,0-13-16,0 13 0,0-13 16,1 0-16,-1 0 0,0 0 0,0 0 15,1-13-15,-1 13 0,-13-13 16,0-13-1,0 12-15,-13 1 16,13 0-16,-14 13 0,1-13 0,0-1 16,0 14-16,-1-13 15,1 26-15,0-13 16,0 0-16,13 14 0,0-1 16,0 0-1,0 0-15</inkml:trace>
  <inkml:trace contextRef="#ctx0" brushRef="#br0" timeOffset="7652.41">11589 11152 0,'-13'0'0,"-1"-13"16,-12 13-1,13 0-15,-1 0 0,1 0 16,0 13-16,-14-13 0,14 13 0,0 1 16,-13-1-16,12 0 0,1 0 15,0 1-15,0-1 0,13 0 0,-14 0 16,14 0-16,0 1 16,0-1-16,14 0 15,-1-13-15,0-13 0,0 13 16,1 0-16,12-13 0,-13-1 0,14 1 15,-1 0-15,-13 0 0,1 0 0,12-1 16,-13 14-16,1-13 0,-1 13 16,-13-13-16,13 13 0,0 0 15,0 13-15,-13 0 16,0 1 0,0 12-16,0-13 0,0 0 0,0 14 15,0-14-15,0 0 0,0 14 0,0-14 16,0 0-16,-13 1 0,13-1 0,0 0 15,0 0-15,0 0 0,0 1 16,0-1-16,0 0 0,0 0 16,-13-13-1</inkml:trace>
  <inkml:trace contextRef="#ctx0" brushRef="#br0" timeOffset="9496.04">9816 8797 0,'0'0'15</inkml:trace>
  <inkml:trace contextRef="#ctx0" brushRef="#br0" timeOffset="12667.47">7766 6006 0,'0'-13'0,"-14"52"31,28-25-31,-14-1 0,0 0 0,0 0 16,13 14-16,-13-14 0,0 14 16,13-14-16,-13 0 0,13 13 0,-13-12 15,13-1-15,1 0 0,-14 0 0,13 1 16,-13-1-16,13-13 0,-13 13 16,13-13-16</inkml:trace>
  <inkml:trace contextRef="#ctx0" brushRef="#br0" timeOffset="12864.19">7660 6218 0,'0'0'0,"39"-27"32,-25 14-17,-1 13-15,13 0 0,-12-13 16,12 13-16,-13-13 0,14 13 0,-14-14 0,13 14 15,-12 0-15,12-13 0,-13 13 16,14 0-16,-14-13 0,0 13 0</inkml:trace>
  <inkml:trace contextRef="#ctx0" brushRef="#br0" timeOffset="13229.69">8109 5900 0,'14'-13'15,"-1"13"1,0 0 0,-13 13-1,0 0-15,0 1 16,0-1-16,13-13 0,-13 13 0,0 0 15,14 1-15,-1-14 0,-13 13 0,13 0 16,0 0-16,1-13 0,-1 27 16,13-1-1,-26-13-15,0 1 16,0 12 0,-13-26-16,13 13 0,-13 1 0,0-1 15,-1-13-15,1 13 16,0-13-1</inkml:trace>
  <inkml:trace contextRef="#ctx0" brushRef="#br0" timeOffset="13435.14">8281 5887 0,'14'-13'0,"-14"0"0,13 26 47,0-13-47,-13 13 0,13 0 16,-13 0-16,14 1 0,-14-1 0,13 0 15,0 0-15,-13 1 0,13-1 0,1 0 16,-14 0-16,13 0 0,0 1 16,0-1-16,-13 0 0,13-13 15,-13 13-15</inkml:trace>
  <inkml:trace contextRef="#ctx0" brushRef="#br0" timeOffset="13629.95">8268 6006 0,'0'0'0,"13"-26"15,1 26-15,-1-14 16,0 14-16,0-13 0,1 0 0,12 13 15,-13-13-15,14 13 0,-14-14 16,13 14-16,1 0 0,-14-13 0,14 13 16,-14 0-16,0 0 0,13 0 0</inkml:trace>
  <inkml:trace contextRef="#ctx0" brushRef="#br0" timeOffset="14251.29">8678 5768 0,'40'-27'32,"-14"27"-17,-26 14-15,14-14 0,-1 0 0,0 13 16,-13 0-16,13-13 15,-13 13-15,0 1 16,14-14-16,-14 13 0,0 0 0,13-13 16,-13 13-16,0 1 0,13-1 15,-13 0-15,13-13 16,-13 13-16,0 0 0,14 1 16,-14-1-16,-14 0 15,14 0-15,-39 27 31,25-27-31,1-13 16,0 13-16,0-26 16</inkml:trace>
  <inkml:trace contextRef="#ctx0" brushRef="#br0" timeOffset="14455.09">8916 5728 0,'0'-13'0,"14"26"32,-1 0-32,-13 1 15,0-1-15,13 0 16,0 0-16,-13 1 0,14 12 16,-14-13-16,13 1 0,-13-1 0,13 0 15,-13 0-15,13 0 16,-13 1-16,14-1 0</inkml:trace>
  <inkml:trace contextRef="#ctx0" brushRef="#br0" timeOffset="14643.82">8930 5874 0,'13'-13'31,"0"13"-31,0-14 16,1 14-16,-1 0 0,0 0 0,0-13 16,1 13-16,-1 0 15,0 0-15,-13-13 0</inkml:trace>
  <inkml:trace contextRef="#ctx0" brushRef="#br0" timeOffset="14964.98">9155 5675 0,'0'-13'0,"26"13"31,-13 0-31,-13 13 16,14-13-16,-14 14 0,0-1 15,0 0-15,-14 0 0,14 0 0,0 1 16,-13-1-16,13 0 0,0 0 15,-13-13-15,13 14 0,0-1 0,0 0 16,0 0 15,13-13-31,14 0 16,-14 0 0,0 0-16,0-13 0,0 13 15,1 0-15,-1-13 0,0 13 0,0-13 16,-13-1-16,14 1 0,-1 0 0,0 0 15</inkml:trace>
  <inkml:trace contextRef="#ctx0" brushRef="#br0" timeOffset="15126.17">9446 5596 0,'13'-13'0,"-13"-1"31,0 41 0,0-14-31,0 0 16,0 1-16,0-1 0,13 0 0,-13 0 15,0 1-15,0-1 0,0 0 0,0 0 16,0 0-16,13 1 0,-13-1 16,0 0-16</inkml:trace>
  <inkml:trace contextRef="#ctx0" brushRef="#br0" timeOffset="15284.63">9419 5741 0,'0'-13'0,"0"0"32,13 13-32,1 0 15,-14-13-15,13 13 0,0 0 16,-13-13-16,13 13 0,1-14 0</inkml:trace>
  <inkml:trace contextRef="#ctx0" brushRef="#br0" timeOffset="15485.16">9604 5490 0,'0'27'31,"0"-14"-31,0 0 16,0 0-16,14 0 0,-14 14 16,0-14-16,13 0 0,-13 1 15,0-1-15,13 0 0,-13 0 0,0 1 16,13-1-16,-13 0 0,0 0 15,14 0-15,-14 1 16,0-1-16</inkml:trace>
  <inkml:trace contextRef="#ctx0" brushRef="#br0" timeOffset="16227.04">12647 6032 0,'27'-13'0,"-54"26"0,67-26 0,-27 13 15,0-13-15,0 13 0,1 0 16,-1 0-16,0 13 0,0-13 16,1 0-16,-14 13 0,13-13 15,-13 14-15,0-1 0,-13 0 16,13 0-16,-14 1 0,1-1 0,0 0 15,13 0-15,-13 1 0,-1-1 16,1-13-16,13 13 0,-13-13 0,13 13 16,-13-13-16,13 13 0,0 1 15,13-14 1,0 0 0,0 0-16,1 0 0,-1 0 0,0 0 15,0 0-15,14 0 0,-14 0 16,14 0-16,-14 0 0,0-14 0,13 14 15,1 0-15,-14-13 0,14 0 16,-1 13-16</inkml:trace>
  <inkml:trace contextRef="#ctx0" brushRef="#br0" timeOffset="16419.37">13348 5913 0,'0'0'0,"0"27"31,0-14-31,0 0 16,0 1-16,0 12 0,0-13 0,13 0 16,-13 1-16,0 12 0,0-13 15,0 1-15,0-1 0,14 0 0,-14 0 16,0 1-16,0 12 16,13-26-16,-13 13 0</inkml:trace>
  <inkml:trace contextRef="#ctx0" brushRef="#br0" timeOffset="16624.13">13176 6112 0,'-13'0'16,"26"0"-16,0-13 16,1 13-1,-1 0-15,0 0 0,14 0 16,-14-14-16,13 14 0,1 0 0,-1 0 15,-13-13-15,14 13 0,-1 0 16,1 0-16,-1 0 0,1-13 0,-1 13 16,1-13-16</inkml:trace>
  <inkml:trace contextRef="#ctx0" brushRef="#br0" timeOffset="16965">13957 5847 0,'-40'0'32,"27"14"-32,0-1 15,-1 13-15,14-13 0,-13 14 0,13-1 16,-13-12-16,13 12 0,0-13 0,0 14 16,13-14-16,-13 13 0,13 1 15,1-14-15,-1 0 0,0 1 0,0-1 16,14 0-16,-14 0 0,0-13 0,0 0 15,1 13-15,-1-13 16,0-13-16,0 13 0,1-13 16,-14 0-16,0 0 15,0-1-15,-14 1 16,1 13-16,13-13 0,-13 13 16,0 0-16,-1-13 0,1 13 15,0 0-15,0 0 0,0 0 16,-1 0-16,1 0 0,0 0 15</inkml:trace>
  <inkml:trace contextRef="#ctx0" brushRef="#br0" timeOffset="17623.79">14446 5913 0,'13'27'31,"-13"-14"-31,0 0 0,0 14 16,0-14-16,0 0 0,0 14 15,0-14-15,0 0 0,14 14 16,-14-14-16,0 0 0,0 0 0,13 1 15,-13-1-15,0 0 0,0 0 16,13 0-16</inkml:trace>
  <inkml:trace contextRef="#ctx0" brushRef="#br0" timeOffset="17800.25">14354 6046 0,'0'0'0,"-14"-14"0,28 14 32,12 0-17,-13 0 1,1 0-16,-1 0 0,0 0 0,0 0 16,0 0-16,1 0 0,-1 0 0</inkml:trace>
  <inkml:trace contextRef="#ctx0" brushRef="#br0" timeOffset="18073.55">14737 5913 0,'14'0'0,"-28"0"0,41 0 16,-14 0-16,0 0 16,0 0-16,1 0 0,-1 14 15,0-1-15,0-13 0,1 13 16,-14 0-16,13-13 0,-13 14 0,13 12 15,0-13-15,-13 0 16,0 1-16,0-1 0,0 0 0,0 0 16,0 1-16,0-1 0,0 0 0,0 0 15,0 1-15,0-1 0,0 0 16,0 0 0,0 0-16</inkml:trace>
  <inkml:trace contextRef="#ctx0" brushRef="#br0" timeOffset="18759.18">9485 6324 0,'27'0'15,"-14"-14"1,0 14-16,0 0 16,1 14-1</inkml:trace>
  <inkml:trace contextRef="#ctx0" brushRef="#br0" timeOffset="18915.25">9525 6469 0,'0'0'0,"13"0"31,14 0-15,-27-13-16,13 13 0,0 0 15,0-13-15,1 13 0,-1 0 16,0-14-16,0 14 0,1 0 0,-14-13 16,13 13-16</inkml:trace>
  <inkml:trace contextRef="#ctx0" brushRef="#br0" timeOffset="21587.39">15716 6006 0,'40'-13'16,"-27"13"-16,14 0 0,-14 0 0,13-13 15,-12 13-15,12 0 0,-13 0 0,0 0 0,14 0 16,-14 0-16,0 0 15</inkml:trace>
  <inkml:trace contextRef="#ctx0" brushRef="#br0" timeOffset="21753.1">15782 6178 0,'67'-26'15,"-54"26"1,13 0-16,-13-14 0,14 14 16,-14 0-16,14 0 0,-1 0 0</inkml:trace>
  <inkml:trace contextRef="#ctx0" brushRef="#br0" timeOffset="23169.72">16550 5808 0,'13'13'16,"-13"0"-1,0 0-15,0 14 0,-13-14 0,13 0 16,0 14-16,0-14 0,0 13 0,0-12 16,0 12-16,-14-13 0,14 0 0,0 1 15,0-1-15,0 0 0,14 0 16,-14 1-16,13-1 16</inkml:trace>
  <inkml:trace contextRef="#ctx0" brushRef="#br0" timeOffset="23524">16828 5834 0,'0'-13'15,"-14"0"1,1 26-1,0-13-15,13 13 0,-13-13 16,-1 13-16,14 1 16,0-1-16,14-13 15,-14 13-15,0 0 0,13 0 0,0-13 16,-13 14-16,13-1 0,1 0 0,-14 0 16,13 1-16,0-14 0,-13 13 0,0 0 15,13-13-15,-13 13 0,-13 0 16,0 1-16,0-1 15,-14 0-15,14 0 0,-14-13 0,1 14 16,-1-1-16,1-13 0,0 13 16,-1-13-16,1 0 0,12 13 0,-12-13 15,-1 0-15,1-13 0,13 13 0,-14 0 16</inkml:trace>
  <inkml:trace contextRef="#ctx0" brushRef="#br0" timeOffset="26148.04">9115 5530 0,'-13'0'0</inkml:trace>
  <inkml:trace contextRef="#ctx0" brushRef="#br0" timeOffset="26287.78">9221 5411 0,'0'0'0,"0"-13"0</inkml:trace>
  <inkml:trace contextRef="#ctx0" brushRef="#br0" timeOffset="26893.19">9935 6310 0,'-13'27'31,"13"-14"-31,0 0 0,-13 0 16,13 1-16,0-1 0,0 13 15,0-12-15,0-1 0,0 0 0,0 0 16,0 1-16,0-1 0,0 0 16,13 0-16,-13 0 0,13-13 15,-13 14-15</inkml:trace>
  <inkml:trace contextRef="#ctx0" brushRef="#br0" timeOffset="27182.17">10239 6363 0,'0'0'0,"-13"-13"0,0 13 15,0 0-15,-1 13 16,1-13-16,0 0 16,0 13-16,0 1 0,13-1 15,0 0-15,0 0 16,13 1-16,-13-1 15,13 0-15,-13 0 16,0 1-16,13-14 0,-13 13 16,0 0-1,0 0-15,-13 0 0,0 1 0,13-1 16,-27 0-16,1 0 0,-1 14 0,1-14 16,-1 14-16,1-14 0,-14 0 15</inkml:trace>
  <inkml:trace contextRef="#ctx0" brushRef="#br0" timeOffset="27708.13">9657 6826 0,'27'-13'31,"-1"13"-31,-13 0 0,14-13 0,13 0 16,-1 13-16,14-14 0,-13 1 0,0 0 15,12 0-15,1-1 0,0-12 16,0 13-16,13 0 0,-26-1 0,13 1 15,0-13-15,0 12 0,-13-12 0,-1 13 16,1-14-16,0 14 0,-14-13 0,14-1 16,-14 1-16,1-1 15,12-39-15,-12 40 0,-27-14 0,13 13 16,-13-12-16,0 12 0,0 1 16,-13-14-16,-14 0 0,1 14 0,-14-1 15,-13-12-15,14 12 0,-28 1 16,15 13-16,-15-1 0,1 1 0,-13 0 15,13 13-15,-14 0 0,1 0 0,13 13 16,-14 0-16,14 1 0,0-1 16,0 13-16,0 14 0,0-14 15,0 14-15,13 0 0,0 13 0,0-14 16,13 14-16,0 0 0,1 0 0,-1-13 16,14 13-16,12 0 0,1-14 15,0 1-15,0-13 0,13 12 0,0-12 16,0-14-16,0 13 0,13 1 0,-13-1 15,13-12-15,0 12 0,1-13 16,-1 0-16,13 1 0,-12-1 0,-1-13 16,0 13-16,0 0 0,14-13 0,-14 0 15,0 0-15,0 0 0,1 14 0,12-14 16,-13-14-16,0 14 0,1 0 16,-1 0-16,13 0 0,-12 0 0,-1 0 15,0 0-15,14 0 0,-14 0 0,13-13 16,-13 13-16,14 0 0</inkml:trace>
  <inkml:trace contextRef="#ctx0" brushRef="#br0" timeOffset="28764.7">8692 4723 0,'0'13'31,"0"13"-16,-14-12-15,14-1 0,-13 0 0,13 0 16,-13 1-16,13-1 0,-13 0 16,13 0-16,-14 1 0,14-1 0,0 0 15,0 0-15,-13 0 0,13 1 0,13-1 16,-13 0 0,14-13-16,-14 13 0,13-13 0,0 0 15,0 0-15,1 0 0,-1 0 0,0 0 16,0 0-16,0 0 0,1 0 15,-1-13-15,13 13 0,-12-13 0,-1 13 16,0-13-16,14-1 0,-14 1 16,0 0-16,0 0 0,0 0 0,1-1 15,-14 1-15</inkml:trace>
  <inkml:trace contextRef="#ctx0" brushRef="#br0" timeOffset="28931.16">8996 4670 0,'0'-13'0,"0"26"0,-13-13 47,13 13-47,0 0 0,0 1 16,0-1-16,0 13 0,-14-13 0,14 1 15,0 12-15,0-13 0,0 14 16,0-14-16,0 0 0,0 1 16,0-1-16,0 0 0,0 0 0,14-13 15</inkml:trace>
  <inkml:trace contextRef="#ctx0" brushRef="#br0" timeOffset="29136.17">9128 4617 0,'0'-13'0,"0"0"32,0 39-17,0-13 1,0 14-16,13-14 0,-13 0 0,0 14 0,0-1 15,0-13-15,14 14 0,-14-1 0,0 1 16,13-14-16,-13 13 0,0-12 16,0-1-16,13 0 0,-13 0 0,0 0 15,13 1-15</inkml:trace>
  <inkml:trace contextRef="#ctx0" brushRef="#br0" timeOffset="29566.22">8996 4855 0,'-13'-13'31,"26"0"-31,13-1 16,1 14-16,-14-13 15,27 0-15,-1 0 0,1-14 0,39 1 16,-52-1-16,13 14 0,-14 0 15,0-14-15,1 14 0,-14 13 16,0-13-16,1 0 0,-1 0 0,-26-1 16,-1 14-1,1 0 1,0 0-16,0 14 16,-1-14-16,14 13 0,0 0 15,0 0-15,0 0 16,0 1-16,0-1 0,14 0 0,-14 0 15,0 1-15,13-1 0,-13 13 16,0-13-16,0 1 16,0-1-16,0 0 0,-13 0 0,-1 1 15,1-1-15,0 0 0,0 0 16,0-13-16,-1 14 0,1-14 16,0 13-16</inkml:trace>
  <inkml:trace contextRef="#ctx0" brushRef="#br0" timeOffset="29849.35">12091 4776 0,'0'0'0,"27"-14"15,-14 14-15,0 0 16,1-13-16,-1 13 0,0 0 15,0 0-15,1 0 0</inkml:trace>
  <inkml:trace contextRef="#ctx0" brushRef="#br0" timeOffset="30035.27">12091 4934 0,'27'-13'47,"-14"13"-47,0-13 16,1 13-16,-1 0 0,0-13 0,0 13 0,14-13 15,-14 13-15,13 0 0,-12-14 16,12 14-16,-13-13 0,1 13 0</inkml:trace>
  <inkml:trace contextRef="#ctx0" brushRef="#br0" timeOffset="30424.44">14724 4591 0,'13'39'31,"-13"-26"-31,0 1 0,0 12 0,0-13 16,0 14-16,0-1 0,0 1 0,0-1 15,0-13-15,0 14 16,0-1-16,0-12 0,0 12 0,0-13 16,0 0-16,0 1 0,0-1 0</inkml:trace>
  <inkml:trace contextRef="#ctx0" brushRef="#br0" timeOffset="30805.17">14803 4643 0,'27'-39'16,"-54"78"-16,67-91 0,-27 38 0,1 14 0,-1-13 15,13 13-15,-13-13 0,1 13 16,-1 0-16,0 13 0,0-13 16,-13 13-16,0 1 0,0-1 15,0 0-15,0 0 0,-13 14 16,0-14-16,0 13 0,-1-12 0,1 12 16,0-13-16,0 0 0,0 1 0,-1-14 15,14 13-15,-13 0 0,0-13 16,13 13-16,0 1 0,-13-1 15,26-13 1,-13 13-16,13-13 0,-13 13 0,13-13 16,1 0-16,-1 0 15,0 0-15,0 0 0,14 0 0,-14 0 0,13 0 16,1-13-16,-1 0 0,1 13 0,-1-13 16,1-1-16,-1 1 0,1-13 15</inkml:trace>
  <inkml:trace contextRef="#ctx0" brushRef="#br0" timeOffset="30979.2">15359 4591 0,'0'0'0,"0"-14"0,-13 41 31,0-27-31,13 13 16,-14 0-16,14 0 0,-13 1 0,0-1 16,13 0-16,-13 14 0,13-14 0,-14 0 15,1 27-15,13-27 0,0 13 16,0-12-16,0-1 0,0 0 15,13 0-15,1 1 16</inkml:trace>
  <inkml:trace contextRef="#ctx0" brushRef="#br0" timeOffset="31184.51">15518 4564 0,'0'-26'0,"-13"12"31,-1 41-15,1-14-16,13 0 0,0 1 16,-13-1-16,13 13 0,0-13 0,0 14 15,-13-14-15,13 14 0,0-14 16,0 13-16,0-13 0,0 14 0,0-14 16,0 0-16,0 1 0,13-1 0,-13 0 15</inkml:trace>
  <inkml:trace contextRef="#ctx0" brushRef="#br0" timeOffset="31372.45">15187 4815 0,'-13'-13'31,"26"0"-31,0 13 0,14 0 0,-14 0 15,13-13-15,1 13 0,-1 0 0,14-14 16,0 1-16,-1 13 0,1-13 0,0 0 16,0 0-16</inkml:trace>
  <inkml:trace contextRef="#ctx0" brushRef="#br0" timeOffset="31579.98">15756 4617 0,'-13'-13'0,"-1"0"31,14 39-16,0-13-15,0 0 16,14 1-16,-14-1 0,13 13 16,0-12-16,0-1 0,1 13 0,-14-13 15,13 14-15,0-14 0,-13 14 0,13-14 16,-13 0-16,0 0 0,0 1 16,0-1-16,-13 0 0,0 0 15,0 14-15,-1-14 0,1 0 0,-13-13 16,12 13-16,-25 1 0</inkml:trace>
  <inkml:trace contextRef="#ctx0" brushRef="#br0" timeOffset="31795.48">14539 5186 0,'159'-40'16,"-93"27"-16,13 0 0,0-1 15,14 1-15,-14 0 0,14 0 16,-14 0-16,1 13 0,-1-14 16,1 14-16,-14 0 0,-13 0 0,0 0 15,-1 0-15,-12 0 0,0 0 0,-14 0 16,-12 14-16,-1-14 0,0 0 0</inkml:trace>
  <inkml:trace contextRef="#ctx0" brushRef="#br0" timeOffset="31980.43">14883 5331 0,'0'0'0,"-27"14"0,54-1 16,-1-13-16,-13 0 16,27 0-16,0-13 0,13 13 0,0 0 15,-14-14-15,14 1 0,0 13 16,0-13-16,-13 0 0,13-1 0,-14-12 15,1 13-15,-13-14 0,12 14 0,-25-13 16,12-1-16</inkml:trace>
  <inkml:trace contextRef="#ctx0" brushRef="#br0" timeOffset="32185.24">14724 4313 0,'66'0'0,"252"-14"31,-252 1-31,-13 13 0,0 0 16,0-13-16,0 13 0,-1-13 15,-25 13-15,-1 0 0</inkml:trace>
  <inkml:trace contextRef="#ctx0" brushRef="#br0" timeOffset="32363.67">14975 4392 0,'0'0'0,"40"-13"16,-13 13-1,12 0-15,1-13 0,13-1 0,0 14 16,13-13-16,0 0 0,0 0 15,-13 13-15,0-14 0,0 1 0,-13 13 16,-1-13-16,1 13 0,-27 0 0</inkml:trace>
  <inkml:trace contextRef="#ctx0" brushRef="#br0" timeOffset="32908.14">8956 5239 0,'40'-13'0,"145"-54"31,-132 41-31,0 13 0,0-14 0,0 14 16,-14 0-16,1 0 0,0-1 0</inkml:trace>
  <inkml:trace contextRef="#ctx0" brushRef="#br0" timeOffset="33080.87">9062 5239 0,'79'-53'31,"-39"40"-31,0-1 0,-1-12 0,1 13 16,0-1-16,-1 1 0</inkml:trace>
</inkml:ink>
</file>

<file path=ppt/ink/ink16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09:48.548"/>
    </inkml:context>
    <inkml:brush xml:id="br0">
      <inkml:brushProperty name="width" value="0.05292" units="cm"/>
      <inkml:brushProperty name="height" value="0.05292" units="cm"/>
      <inkml:brushProperty name="color" value="#0070C0"/>
    </inkml:brush>
  </inkml:definitions>
  <inkml:trace contextRef="#ctx0" brushRef="#br0">9697 3823 0,'0'13'172,"0"54"-172,13 38 15,0 28-15,1-14 16,-1-27-16,0 1 0,-13 26 16,0-13-16,0-27 15,0-13 1,0-39-16,0-1 15</inkml:trace>
  <inkml:trace contextRef="#ctx0" brushRef="#br0" timeOffset="875.94">14579 4829 0,'13'0'62,"53"13"-46,40-13-16,66 0 15,-66 0-15,39 0 16,1 0-16,12 0 16,-91 0-16,-28 0 15,-26 0 1</inkml:trace>
  <inkml:trace contextRef="#ctx0" brushRef="#br0" timeOffset="2776.49">16298 6522 0,'14'0'47,"38"26"-32,54-12-15,0-1 16,66 0-16,132 0 16,-92-13-16,119 0 15,-159 0-15,66 0 16,-26-13-16,-54 0 15,1-27-15,-93 27 16,0 0-16,-13-14 16,-13 1-16,-27 13 31,0-14-31,1 1 16,12-40-16,-26 26 0,13-26 15,-13-40 1,0 0-16,0-53 15,0 67-15,-13-27 0,0 0 16,-14-14 0,14 27-16,-27 54 15,27 12-15,-13 27 16,-27-27-16,-26 0 16,-14 14-16,0-1 15,-13 14-15,-39 13 0,-14-13 16,-13 13-1,-13 0-15,-80 0 16,-131 0-16,105 0 16,13 26-1,79 1-15,-52 52 0,-40-13 16,185 0-16,13 1 16,27 12-16,0-13 15,13 53-15,40-26 16,0-14-16,13-13 15,0 53-15,53 53 16,0-13-16,52 66 16,-38-93-16,-1-39 15,26 39 1,-26-66-16,1-13 16,-54-40-16,13 1 0</inkml:trace>
  <inkml:trace contextRef="#ctx0" brushRef="#br0" timeOffset="3975.95">14340 4842 0,'0'26'0,"0"-12"32,-13-14-17,0 0-15,0 0 16,-27 0-16,27 0 15,-119-40 1,26 0-16,-13-13 16,13-13-16,-13-13 15,0 26-15,13-53 16,0 27-16,40-40 16,13 26-16,26 14 15,14 39-15,0 0 16,13-13-16,0 14 15,0 12 1,0 14-16,0 0 16,13-27-16,14 14 15,12-14-15,28-26 16,131-67-16,-26 54 16,26 13-16,14 26 15,211-26-15,-198 53 16,106 13-16,-13 0 15,12 0-15,146 26 16,-118 54-16,-173-14 16,-53 0-16,-39 13 15,26 14 1,-40 13-16,-26-14 16,13 1-16,-26 26 15,-27-66-15,-13 0 16,-13 39-16,-13 1 15,-41 0-15,-25 65 16,39-78-16,-40 12 16,27-25-16,-26-1 15,-54 0-15,-13-26 16,14 12-16,-41-12 16,41-13-16,26-14 15,26-13-15,1 13 16,39-13-16,-27 0 15,41 0-15,-1 0 16,27 0 0</inkml:trace>
</inkml:ink>
</file>

<file path=ppt/ink/ink16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0:10.29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20307 952 0,'0'27'16,"0"-14"-16,0 0 16,0 1-16,0-1 0,0 0 15,0 0-15,0 1 0,0-1 16,0 0-16,0 0 16,0-39 30,0 13-46,-13-1 0,13 1 16,0 0-16,0-14 0,-14 14 0,14 0 16,0 0-16,0-1 0,-13 1 15,26 26 32,1-13-47,-14 14 16,13-14-16,-13 13 15,13 0-15,0 0 16,0-26 0,1 0-1,-14 0-15,0-1 0,13 14 16,0-13-16,-13 0 16,13 0-16,14 26 31,-14 0-31,0 0 15,1-13-15,-14 14 0,13-1 16,-13 0-16,13 0 0,-13 1 16,13-14-16,-13 13 0,0 0 0,13 0 15,-13 1-15,14-14 16,-14 13-16,13-13 0,-13 13 0,13-13 16</inkml:trace>
  <inkml:trace contextRef="#ctx0" brushRef="#br0" timeOffset="775.64">20690 1072 0,'14'-27'0,"-28"54"0,28-67 16,-14 27-16,0-1 0,0 1 15,0 0-15,0 0 16,0-1 0,-27 41 15,27-14-31,-13 0 0,13 1 16,0-1-16,0 0 0,0 0 0,0 1 15,0-1 1,0 0-16,13 0 0,0-13 15,-13 13-15,14-13 0,-1 0 16,0 0-16,0 0 0,1 0 16,12-13-16,-13 13 0,14-13 0,-14 13 15,0-13-15,14 0 0,-14 13 0,0-14 16,-13 1-16,13 13 0,1-13 16,-14 0-16,13 13 0,-13-14 0,0 1 15,0 0-15,0 0 16,0-1-16,-13 14 15,-14 0 17,27 14-1,-13-1-31,26 0 16,-13 0-16,0 1 15,13-1 1,14-26 15,-14 13-15,0-14-1,0 14 1,1 0-16,-1 0 31,0 14-15,0-14-1,1 0 17,-1 0-17,0 0 1,0 0-16,1 0 16,-1-14-16,0 14 15,0 0 1</inkml:trace>
  <inkml:trace contextRef="#ctx0" brushRef="#br0" timeOffset="1636.27">20492 1508 0,'13'27'31,"-13"-14"-15,0 0-16,0 0 0,13 1 16,-13-1-16,0 13 0,14-26 15,-14 13-15,0 1 16,13-1-16,-13 0 15,0-39 17,0 12-32,0 1 0,0 0 15,0 0-15,-13 0 0,13-14 16,0 14-16,0 0 0,0-1 16,0 1-16,0 0 0,0 0 15,13 26 16,0-13-31,-13 13 16,13-13-16,-13 13 0,14 1 16,-1-14-16,-13 13 0,13-13 31,0 0-31,1-13 16,-14-14-1,13 14-15,-13 0 16,13 13-1,0 0 1,-13 13-16,27 53 31,-14-53-31,-13 1 16,0-1-16,13 0 0,-13 0 16,13 0-16,1 1 15</inkml:trace>
  <inkml:trace contextRef="#ctx0" brushRef="#br0" timeOffset="1921.3">20902 1640 0,'0'-13'0,"0"0"15,0-13-15,-13 12 16,13-12 15,-13 13-31,-1 26 16,1 0-1,13 0-15,-13 1 16,13-1-16,0 0 16,13-13-16,-13 13 0,27-13 15,-14 0-15,0 0 16,0 0-16,14 0 0,-1-13 15,-13 13-15,14-13 0,-1 0 0</inkml:trace>
  <inkml:trace contextRef="#ctx0" brushRef="#br0" timeOffset="2428.76">21220 1495 0,'-14'0'0,"1"0"0,-66 40 31,66-40-16,13 13-15,-14 0 0,1 0 16,13 1-16,0-1 16,13 0-1,1-13-15,-1 0 16,0 0-16,0-13 16,0 13-16,-13-13 0,14-1 15,-1 1-15,-13 0 0,13 0 0,-13-1 16,13-12-16,-13-1 0,0 1 15,0-14-15,14 14 0,-14 13 16,0-14-16,0 14 0,0 0 16,0-1-16,0 1 0,0 0 15,-14 39 17,1 1-32,13-14 0,0 0 15,0 14-15,0-14 0,0 14 16,0-14-16,0 0 0,13 27 15,-13-27-15,14-13 0,-14 13 0,13 0 16,0-13-16,0 0 16,0 0-16,1 0 0,-1 0 0,0 0 15,0 0-15,1 0 16,-1 0-16,0 0 16,0 14-16,1-14 15,-14 13-15,13 0 16,0-13-16,-13 13 15,13-13 1</inkml:trace>
  <inkml:trace contextRef="#ctx0" brushRef="#br0" timeOffset="2544.91">21418 1310 0</inkml:trace>
  <inkml:trace contextRef="#ctx0" brushRef="#br0" timeOffset="3157.86">21590 1336 0,'0'0'0,"-13"0"16,0 0-16,-1 13 15,1 1-15,13-1 16,-13-13-16,13 13 0,-13 0 16,13 1-16,0-1 15,-14 0-15,14 0 16,14 0-16,-14 1 15,13-14 1,0-14 0,0 1-16,1 0 0,-14 0 15,13 0-15,0-1 16,-13 1-16,13 0 16,-13 0-16,0-1 15,13 14 1,1 14 31,-1-1-16,0-13-15,0 0-1,-13 13-15,14-13 16,-1 0-16,0 13 15,0-13 1,1 0 0,-1 0-1,0 0-15,0 0 16,0 0 0,1-13-16,-1 0 15,0 13 1</inkml:trace>
  <inkml:trace contextRef="#ctx0" brushRef="#br0" timeOffset="4890.82">20677 2170 0,'0'13'31,"0"13"-15,0-13-16,0 1 0,0-1 15,0 0-15,13-13 0,-13 13 16,0 1-16,0-41 47,0 14-47,0 0 16,-13-1-16,13 1 15,0 0-15,0 0 16,0 0-16,13 39 47,1-13-32,-14 0-15,13-13 0,0 0 16,-13 14-16,27-28 31,-27 1-31,13 13 0,-13-13 16,13 13-16,-13-13 0,0 0 15,13 13-15,-13-14 0,13 1 16,14 13 15,-27 13-31,13 1 16,-13-1-16,13-13 16,-13 13-16,14 0 0,-14 0 15,13-13-15,-13 14 0,13-14 0,0 0 16,1 0-16,-1 0 0,0 0 15,0 0-15,0 0 0,1-14 16,-1 14-16,0-13 0,0 13 0,-13-13 16,14 0-16,-1 13 0,-13-13 15,13-1-15,-13 1 16,0 40 31,0-14-47,0 0 15,0 0-15,0 0 16,13-13-16,-13 14 0,14-14 0,-1 0 16,-13 13-16,13-13 0,0 0 15,0-13-15,1 13 16,-14-14-16,0 1 16,-14 0-16,1 13 15,13-13 1,-13 13-16,13-13 0,-13 13 15,13-14-15,-13 14 16,26-13 0,0 13-1,0 0-15,0-13 16,1 13-16,-1 0 0,0 0 16,0 0-16,1-13 15,-1 13-15,-13 13 16,13-13-16,-13 13 15,0 0 1,-13 1 0,13-1-16,0 0 15,13-13-15,-13 13 0,0 0 16,13-13 0,0 0-1,1-13 1,-14 0-16,13 13 0,-13-13 15,0 0-15,0-1 0,13 1 16,-13 0-16,0 0 0,0-14 16,0 14-16,0-13 0,0 12 0,0 1 15,0 0-15,-13-14 0,13 14 0,0 0 16,0 0-16,0-1 16,0 1-16,-13 40 31,13-14-16,13 0-15,-13 0 0,0 1 0,0 12 16,0-13-16,13 1 0,-13 12 0,13-13 16,-13 0-16,14 1 0,-1-1 15,0-13-15,-13 13 0,13-13 0,14 13 16,-1-13 0,-26-13-16,13 13 0,-13-13 15,14 13-15,-14-13 0,13-1 16,-13 28 31,0-1-47,0 0 15,13 0-15,-13 1 0,13-14 16,1 13-16,-1-13 0,0 0 16,0 0-16,1 0 0,-1 0 15,13 0-15,-13 0 0,1 0 0,-1 0 16</inkml:trace>
  <inkml:trace contextRef="#ctx0" brushRef="#br0" timeOffset="6926.77">22119 1283 0,'13'-13'0,"-13"0"0,14 13 16,-1-13-16,0-1 0,0 1 0,1 13 16,-1-13-16,13 0 0,-13-1 15,1 1-15,12 0 0,-13 0 0,1-1 16,-1 14-16,0-13 0,0 13 0,1-13 15,-1 13-15</inkml:trace>
  <inkml:trace contextRef="#ctx0" brushRef="#br0" timeOffset="7233.9">22185 1310 0,'0'0'0,"40"13"0,-14-13 0,-12 13 0,12-13 16,-13 0-16,14 0 0,-1 0 16,1 13-16,-1-13 0,1 0 0,-1 0 15,1 0-15,-1 0 0,0 0 0,1 0 16,-14 0-16,0 0 0</inkml:trace>
  <inkml:trace contextRef="#ctx0" brushRef="#br0" timeOffset="8258.77">21749 794 0,'26'-40'0,"-13"27"0,93-80 32,-79 80-32,-1-13 0,1 12 0,-14 1 15,0 0-15,0 13 0</inkml:trace>
  <inkml:trace contextRef="#ctx0" brushRef="#br0" timeOffset="8442.73">21722 728 0,'40'0'0,"-80"0"0,106 0 15,-39 0-15,-14 0 0,14 0 0,-1-14 16,14 14-16,-14 0 0,1-13 0,-1 13 16,14-13-16</inkml:trace>
  <inkml:trace contextRef="#ctx0" brushRef="#br0" timeOffset="9543.76">22225 225 0,'0'26'16,"0"-12"-16,0-1 0,0 0 15,0 0-15,0 14 16,0 12 0,0-25-1,13-14 32,0-14-31,-13-91-1,0 91-15,14 1 16,-14-13-16,0 12 0,0 1 16,13 13-1,0 0 1,-13 13-16,13 1 0,1-1 16,-14 0-16,13 0 0,0 1 15,0-1-15,-13 0 0,14 0 16,-14 1-16,13-1 0,0 0 15,-13 0-15</inkml:trace>
  <inkml:trace contextRef="#ctx0" brushRef="#br0" timeOffset="9698.87">22291 357 0,'0'0'15,"13"-13"1,1 13-16,-1-13 16</inkml:trace>
  <inkml:trace contextRef="#ctx0" brushRef="#br0" timeOffset="10066.85">22582 265 0,'0'0'0,"0"-14"16,0 1 0,0 0-16,0 0 15,0-1-15,0 1 16,0 40 31,13-27-47,-13 13 15,14-13-15,-1 0 16,0 0 0,0 0-1,1 0-15,-14-13 0,13 13 16,0 13-1,-13 0 1,0 0-16,0 1 16,-13-1-16</inkml:trace>
  <inkml:trace contextRef="#ctx0" brushRef="#br0" timeOffset="10419.17">22476 503 0,'-13'0'16,"0"13"-16,13 0 15,0 0 1,13 1-1,0-14-15,14 0 16,-1 0 0,-26-14-16,13 14 15,1 0-15,-1 0 16,0 0-16,0 0 16,1 14-1,-14-1-15,13-13 16,-13 13-16,13-13 0,0 0 15</inkml:trace>
  <inkml:trace contextRef="#ctx0" brushRef="#br0" timeOffset="10680.79">22741 476 0,'0'-13'0,"-13"39"46,13-12-14,0-1-32,13-13 15,0 13 1,0-13 0,1 13-16,-1-13 15,-13 14 1,13-14-16,0 0 15,1 13 1</inkml:trace>
  <inkml:trace contextRef="#ctx0" brushRef="#br0" timeOffset="11002.85">22635 820 0,'0'27'47,"0"-14"-32,13-13-15,-13 13 16,0 0-16,0 1 16,14-14-16,-14 13 0,13-13 15</inkml:trace>
  <inkml:trace contextRef="#ctx0" brushRef="#br0" timeOffset="11159.78">22767 820 0,'-53'93'0,"106"-186"16,-53 54-16,14 25 0,-14 1 16,0 0-1,0 39 17,0-12-17,0-1-15,0 0 0,0 0 0,0 0 16,-14-13-16,14 14 15,0-1-15,0 0 0</inkml:trace>
  <inkml:trace contextRef="#ctx0" brushRef="#br0" timeOffset="11300.8">22728 913 0,'-27'-13'31,"27"-1"-15,13 1-16,-13 0 15,14 13-15,-1-13 16,0 13-16,0-14 15,1 14-15,-1 0 0,0 0 16</inkml:trace>
  <inkml:trace contextRef="#ctx0" brushRef="#br0" timeOffset="11588.08">22926 807 0,'0'-13'31,"0"0"-15,27 26 31,-14-13-32,0 0-15,0 0 16,1 0-1,-1 13-15,0-13 16,0 13 0,0-13-16,1 13 0</inkml:trace>
  <inkml:trace contextRef="#ctx0" brushRef="#br0" timeOffset="20907.79">23389 106 0,'0'0'0,"27"0"0,-14 0 31,0 0-31,0 0 16,-13 13-16,14 0 0,-14 1 16,0-1-16,13 0 15,-13 13-15,0-12 0,13 12 0,-13 1 16,13-14-16,0 27 0,1-1 0,-1-12 16,0 12-16,0 1 0,1 0 0,-1-1 15,13 1-15,-12 0 16,-1-14-16,0 14 0,0-14 0,0 14 15,14-13-15,-14-1 0,0-13 0,-13 14 16,14-14-16,-1 0 0,0 14 16,0-14-16,0 0 0,1 0 0,-14 0 15,13-13-15,-13 14 0,13-14 0,-13 13 16,13 0-16,-13 0 16,14-13-16,-14 14 0,0-1 15,0 0-15,0 0 0,0 1 16,0-1-16,-14 0 0,14 0 15,0 0 1,-13 1-16,13-1 0,0 0 0,-13 0 16,13 1-16,-13-1 0,-1 0 0,14 0 15,-13 14-15,0-1 0,-13 1 16,12-1-16,-25 14 0,12 0 0,-79 79 16,53-40-16,-13-13 0,-13 13 15,0 1-15,-1-1 0,-12-13 0,12 1 16,1 12-16,-1-26 15,-12 13-15</inkml:trace>
  <inkml:trace contextRef="#ctx0" brushRef="#br0" timeOffset="23336.72">21431 2844 0,'-13'40'31,"13"-27"-31,0 14 16,0-14-16,0 13 0,0 1 0,0-14 15,0 13-15,0 1 0,0-14 0,0 14 16,0-1-16,0-13 0,0 1 15,0-1-15,0 13 0,0-13 16,0 1-16,0-1 0,0 0 16,0 0-16,0 1 0</inkml:trace>
  <inkml:trace contextRef="#ctx0" brushRef="#br0" timeOffset="23710.97">21405 2910 0,'26'-26'0,"-52"52"0,65-65 15,-25 39-15,-1 0 0,0 0 16,0 0-1,-13 13-15,-13 13 16,13-12-16,-13 12 0,0-13 16,-1 1-16,14-1 0,-13 0 0,0 0 15,13 0-15,-13 1 0,0-1 16,13 0-16,-14-13 0,14 13 0,-13 1 16,26-1-1,1-13 1,-14 13-16,13-13 0,0 0 15,0 0-15,14 0 0,-14 13 0,0-13 16,0 0-16,1 0 0,-1 0 16,13 0-16,-12 0 0,-1 0 0,0 0 15,0 0-15,0-13 0</inkml:trace>
  <inkml:trace contextRef="#ctx0" brushRef="#br0" timeOffset="24543.55">21788 2963 0,'-26'-13'31,"13"13"-31,0 13 0,-1 1 16,1-1-16,13 0 15,-13 0-15,13 0 0,-13 1 16,13-1-16,0 0 0,0 0 15,13 1-15,-13-1 16,13-13-16,-13 13 0,13-13 16,1 0-1,-1 0-15,0-13 16,0 13-16,-13-13 16,13-1-16,-13 1 15,14 0-15,-14 0 16,13-1-1,-13 1-15,13 13 16,0 0 0,1 0-1,-14 13-15,13-13 16,-13 14 0,13-1-1,0-13 1,1 13 15,-1-13-31,0 0 16,0 13-1,0-13-15,1 0 16,12-13-16,-13 13 0,-13-13 16,14 13-16,-1 0 0,0-13 0,0-1 15,0 14-15,-13-13 16,14 0-16,-14 0 0,13 0 15,-13-1 1,0 1 15,0 40 1,0-14-17,0 0-15,-13 0 16,13 0-16,0 1 0,-14-1 15,14 0-15,-13 0 0,13 1 16,-13-14 0,26-27 15,-13 14-31,13 13 0,-13-13 0,0-1 16,14 14-16,-14-13 0,13 13 15,-13-13-15,13 13 0,-13-13 0,13 13 16,1-13-16</inkml:trace>
  <inkml:trace contextRef="#ctx0" brushRef="#br0" timeOffset="26111.87">21471 3466 0,'-13'40'32,"-1"-27"-32,14 0 0,0 14 0,0-14 15,0 13-15,0 1 16,0-1-16,0-13 0,14 14 0,-14-14 0,0 14 15,13-14-15,-13 13 0,13-12 16,-13-1-16,13 0 0,1-13 16,-14 13-16,13-13 0,0 13 0,0-13 15,1 0-15,-1 0 0,0-13 0,0 13 16,0-13-16,14 13 0,-14-13 0,-13 0 16,13-1-16,14-25 15,-27 12-15,0 1 0,0-1 0,0-26 16,-13 14-16,13-1 0,-14 0 0,1 14 15,0-14-15,0 14 0,-1-1 16,1 14-16,0 0 0,0 0 16,0-1-16,13 1 0,-14 13 0,-12 13 15,13 1 1,13 12-16,-14-13 0,14 14 16,0-1-16,14 1 0,-14 12 0,13-12 15,0 12-15,0-12 0,1 13 16,-1-14-16,0 0 0,0 1 0,0-1 15,1 1-15,-1-1 0,0-12 0,-13-1 16,13 13-16,1-13 0,-1 1 0,0-1 16,0 0-16,-13 0 15,14-13-15,-1 14 0,0-14 16,0 0-16,0 0 0</inkml:trace>
  <inkml:trace contextRef="#ctx0" brushRef="#br0" timeOffset="26718.84">21908 3717 0,'0'27'31,"0"-14"-31,13 0 16,-13 1-16,0-1 0,13 0 0,-13 13 15,0-12-15,13 12 0</inkml:trace>
  <inkml:trace contextRef="#ctx0" brushRef="#br0" timeOffset="27243.75">21643 4247 0,'0'-14'0,"-13"41"31,26-14-15,-13 0-16,0 0 0,0 1 0,13-1 15,-13 0-15,0 0 0,13 1 0,1-1 16,-1 0-16,0 0 15,0-13-15,1 0 16,-1 0-16,0-13 0,0 0 16,-13 0-16,0-1 0,0 1 15,0 0-15,0 0 16,0-14-16,0 14 0,0 0 0,0 0 16,0-1-16,0 1 0,0 0 0,0 0 15,0-1 1,0 41-1,0-1 1,13-12-16,-13 12 16,14-13-16,-14 0 15,13 27-15,-13-27 0,13-13 16,-13 14-16,13-1 0,-13 0 16,14-13-16</inkml:trace>
  <inkml:trace contextRef="#ctx0" brushRef="#br0" timeOffset="27486.77">21960 4299 0,'14'0'16,"-1"0"-1,-13 14 1,0-1-16,0 13 16,-13-12-16,13-1 15,0 0-15,0 0 16,13-13-1,0 0 1,0 0-16,1 0 16,-1 0-1,0 14-15,-13-1 16,0 0 0</inkml:trace>
  <inkml:trace contextRef="#ctx0" brushRef="#br0" timeOffset="27973.99">21881 4736 0,'-13'0'0,"0"13"16,-1-13-16,14 13 0,0 1 0,-13-1 16,13 0-16,0 0 0,0 1 0,0-1 15,13 13-15,-13-12 0,14 12 16,-14-13-16,13 0 0,0 1 0,-13-1 16,13 0-16,1 0 0,-1 1 0,0-14 15,0 0-15,0 0 0,1-14 16,-1 14-16,0-13 0,-13 0 15,13 0-15,-13-1 0,14-12 16,-14 13-16,0-14 0,-14 1 0,14 13 16,-13-14-16,13 14 0,0-14 15,-13 14-15,0 0 0,13 0 0,-14 13 16,1-13-16,0 13 0,0 0 16,0 0-16,13 13 0,-14 0 15,14 0 1,0 0-16,0 1 0,14-1 0,-14 0 15,13 0-15,-13 1 0,13-1 0,-13 13 16,13-12-16,0-1 0,-13 0 16,14 0-16,-1 0 0,0 1 15,-13-1-15,13-13 0,-13 13 16,14-13-16</inkml:trace>
  <inkml:trace contextRef="#ctx0" brushRef="#br0" timeOffset="28259.33">22066 4961 0,'0'-13'0,"13"-1"32,1 28-1,-1-1-31,0-13 16,-13 13-1,13-13-15,1 13 16,-1 1-16,-13-1 15,13-13-15,-13 13 0,13-13 0,-13 13 16,14 1-16,-14-1 16,0 0-1,0 0-15,0 0 0,-14 1 16,14-1-16,0 0 0,-13-13 16</inkml:trace>
  <inkml:trace contextRef="#ctx0" brushRef="#br0" timeOffset="29257.7">22609 3307 0,'-27'27'16,"27"-14"-16,0 0 15,0 14-15,-13-14 0,13 0 16,13 0-16,-13 1 0,0-1 0,0 0 16,13 0-16,-13 0 0,14-13 0,-14 14 15,13-14-15,0 0 0,14 0 16,-14-14-16,0 1 16,-13 0-16,13 0 0,-13 0 0,0-1 15,13 1-15,-13-13 0,0 12 16,-13 1-16,13 0 0,0 0 0,0 0 15,-13 13-15,13-14 0,0 1 16,-13 13-16,0 13 16,-1-13-1,14 14-15,0-1 0,0 0 16,0 0-16,0 0 0,0 1 0,0-1 16,0 0-16,14 0 0,-14 1 15,0-1-15,0 0 0,13 0 0,-13 0 16,13-13-16,-13 14 0,13-14 15,0 0-15,1 0 0,-1 0 16,0-14-16,0 1 0,1 0 0,-1 0 16,0 0-16,0-1 0,1 1 0,-1 0 0,-13 0 15,13-1-15,0 1 16,-13 0-16,0 0 16,-13 39 15,13-13-16,0 1-15,0-1 16,0 0-16,13-13 0,-13 13 16,13-13-16,-13 14 15,14-28-15,-1 14 16,0-13-16,0 0 16,-13 0-1,0-1-15,0 1 0,-13 13 16,13-13-16,0 0 0,-13 13 15,0 0-15,-1 0 32,1 13-32,13 0 15,0 0-15,0 1 16,0-1-16,0 0 0,0 0 0,0 1 16,13-1-16,-13 0 0,0 0 0,14 0 15,-14 1-15</inkml:trace>
  <inkml:trace contextRef="#ctx0" brushRef="#br0" timeOffset="29755.62">22847 3956 0,'-13'13'0,"26"-26"0,-26 39 15,-1-26-15,14 13 0,0 0 0,-13 1 16,13-1-16,0 0 0,0 0 16,0 14-16,0-14 0,0 0 0,0 1 15,0-1-15,0 0 0,13-13 0,-13 13 16,0 0-16,14-13 0,-1 0 15,0 0 1,-13-13-16,13 13 0,-13-13 0,13 0 16,-13-14-16,0 14 0,0-13 15,0 12-15,0-12 0,0 13 16,-13-14-16,13 14 0,0 0 0,0-14 0,-13 27 16,13-13-16,0 0 0,-13 0 15,0 13 1,-1 13-1,14 0-15,0 0 0,0 1 16,0 12-16,0-13 0,0 0 16,0 1-16,0-1 0,0 0 0,14 27 15,-14-27-15,13 0 0,-13 1 16,13-1-16,0-13 16,0 0-1</inkml:trace>
  <inkml:trace contextRef="#ctx0" brushRef="#br0" timeOffset="30143.07">23019 4075 0,'0'0'0,"13"-14"0,0 14 32,-26 14-1,0-1-31,13 0 0,-13 0 16,-1 1-16,1-1 0,13 0 15,-13 0-15,0-13 0,13 13 0,0 1 16,-14-1-16,14 0 0,-13 0 15,13 1 1,13-1-16,1-13 16,-1-13-16,0 13 0,0-14 15,1 1-15,-1 13 16,0-13-16,0 0 0,0-1 0,1 1 16,-1 0-16,0 13 0,0-13 0,1 0 15,-1 26 16,-13 0-31,0 0 0,0 0 16,0 1-16,0-1 0,0 13 0,0-12 16,-13-1-16,13 0 0,0 0 15,0 0-15,0 1 0,0-1 0,0 0 16,13 0-16,0-13 16,0-13-1,1 13-15,-1-13 0,0-14 0,13 14 16,1-13-16</inkml:trace>
  <inkml:trace contextRef="#ctx0" brushRef="#br0" timeOffset="30695.34">23773 3413 0,'39'-13'16,"-25"13"-1,-1 0-15,0-13 0,0 13 0,1 0 16,12-14-16,-13 14 0,1-13 15,-1 13-15,26-13 16,-25 0 0,-1 13-16,-13 13 31,-13 0-31,13 0 16,0 1-16,-14-1 0,14 13 15,-13-12-15,13-1 0,-13 13 0,0-13 16,13 1-16,-13 12 0,13-13 0,-14 1 15,14-1-15,-13 0 0,0 0 16,0 1-16,13-1 0,-14 0 16,14 0-1,-13-13-15,40 0 32,-1-13-17,-13 13 1,1-13-16,25 13 15,-26-13-15,1 13 0,-1-14 0,0 14 16,0-13-16,14 0 0,-14 13 16,0-13-16,1-1 0</inkml:trace>
  <inkml:trace contextRef="#ctx0" brushRef="#br0" timeOffset="31131.98">24276 3281 0,'-14'0'0,"1"0"0,-27 26 16,27-12 0,0 12-16,0-13 0,-1 14 15,1-14-15,13 13 0,-13 1 0,13-14 16,0 0-16,0 14 0,0-14 0,0 0 16,0 0-16,13-13 0,-13 14 15,13-1-15,1-13 0,-14 13 0,13-13 16,0 0-16,0 0 0,14-13 15,-14 13-15,0-13 0,1-1 16,-1 1-16,0 0 0,0-14 0,-13 14 16,13-13-16,-13-1 0,0 14 0,0-13 15,0 12-15,0 1 0,0-13 16,0 13-16,-13 13 0,13-14 0,-13 1 16,13 0-16,-13 13 15,-14 13-15,27 0 16,-13-13-16,13 14 0,0-1 15,-13 0-15,13 0 0,0 14 0,0-14 16,0 0-16,13 0 0,-13 14 16,0-14-16,13 0 0,-13 0 0,14 1 15,-14-1-15,13 0 0,0 0 16,0 1-16,0-14 16,1 0-16,-1 13 0,0-26 15</inkml:trace>
  <inkml:trace contextRef="#ctx0" brushRef="#br0" timeOffset="31562.64">24593 3373 0,'-26'53'31,"26"-39"-31,0-1 16,-14 0-16,14 0 0,0 0 0,0 1 15,0-1-15,-13-13 0,13 13 0,0 0 16,0-39 31,13 13-47,-13-1 0,0 1 0,14-13 16,-14-1-16,13 14 0,-13-13 0,13 12 15,0-12-15,-13 13 16,13 0-16,-13-1 0,14 14 15,-28 27 17,14-14-32,-13 0 0,0 0 15,13 1-15,-13-1 0,13 0 16,0 0-16,0 1 0,0-1 16,0 0-1,13-13-15,0 13 16,0-13-16,1 0 15,-14 13-15,13-13 0,-13 14 16,0-1-16,0 0 0</inkml:trace>
  <inkml:trace contextRef="#ctx0" brushRef="#br0" timeOffset="31863.77">23852 4008 0,'13'-13'0,"146"-66"31,-106 66-31,0-14 0,13 14 15,-13-14-15,0 14 0,13 0 16,-26 0-16,0 0 0,-1-1 0,1 14 16,-14-13-16,-12 13 0,12 0 15,-13 0-15,0-13 0,1 26 16,-41 0 0</inkml:trace>
  <inkml:trace contextRef="#ctx0" brushRef="#br0" timeOffset="32157.85">23945 4061 0,'-40'14'0,"80"-28"0,-93 28 16,40-1-16,52-26 31,-25 13-31,12-14 0,14 1 0,13 0 16,-14 13-16,14-13 0,0-1 0,0 1 15,0 0-15,0 0 0,-13 0 16,-1-1-16,1 1 0,0 13 0,-14-13 15,1 13-15,-14 0 0,13-13 0,-13 13 16,1 0-16,-1 0 0,0-14 16,0 14-16,1 0 15</inkml:trace>
  <inkml:trace contextRef="#ctx0" brushRef="#br0" timeOffset="32667.86">24474 4180 0,'-13'53'31,"13"-26"-31,-13-14 0,13 13 0,0 1 0,0-1 16,-14 14-16,14 0 0,-13-1 15,13-12-15,-13 13 0,13-14 0,-13 1 16,13-1-16,0 0 0,0 1 16,0-14-16,-14 0 0,14 1 0,0-1 15,0 0-15,14-13 0,-14 13 16,13-39-1</inkml:trace>
  <inkml:trace contextRef="#ctx0" brushRef="#br0" timeOffset="32998.03">24236 4392 0,'-13'-13'16,"13"-14"-1,0 14-15,13 0 0,-13 0 0,13-14 16,14 1-16,-14-1 0,13 1 16,-13-1-16,14 14 0,-1-13 0,-12 13 15,-1 13-15,0-14 0,0 14 0,1 0 16,-1 14-16,0-14 15,0 13-15,0 0 0,1 0 0,-1 14 16,-13-14-16,13 13 0,0-12 16,1-1-16,-1 13 0,0-13 15,0 14-15,0-14 0,1 0 0,-1 1 16,0-1-16,0 0 0,1 0 0,-1 1 16,-13-1-16,13 0 0,0-13 15</inkml:trace>
  <inkml:trace contextRef="#ctx0" brushRef="#br0" timeOffset="34027.85">24342 2844 0,'0'-13'16,"13"13"-1,0 0-15,0 13 32,-13 1-32,-13-1 0,13 0 15,0 0-15,-13 0 0,13 1 0,-13-1 16,13 0-16,-14 0 0,14 1 15,0-1-15,-13 0 0,13 0 16,0 0 0,13-13-16,1 0 15,-1 0-15,0 0 16,0-13-16,1 13 0,-1 0 16,0-13-16,0 13 0,1 0 15,-1-13-15,0 13 0,-13-13 0,13 13 16,0-14-16,1 1 0</inkml:trace>
  <inkml:trace contextRef="#ctx0" brushRef="#br0" timeOffset="34294.74">24580 2805 0,'-13'13'16,"13"0"-1,0 0 1,13 1-16,-13-1 0,13 0 16,-13 0-16,13-13 0,-13 13 0,0 1 15,13-14-15,-13 13 16,0 0-16,0 0 16,-13-13-16,13 14 0,-13-1 15,0-13 1,0 13-16,-1-13 15</inkml:trace>
  <inkml:trace contextRef="#ctx0" brushRef="#br0" timeOffset="38569.82">23627 2950 0,'27'-26'47,"-14"26"-47,-13-14 0,13 14 15,0-13-15,-39 13 47,13 13-31,0-13-16,-1 14 0,1-14 16,0 13-16,0-13 15,13 13-15,-14-13 16,28 13-1,-1-13-15,0 14 16,0-14-16,1 0 0,-1 13 16,0 0-16,0-13 0,0 13 15,1-13 1,-14 13-16,0 1 0,13-1 16,-26 0-16,-1 0 15,1 1-15,0-1 16,0-13-16,0 13 0,-1-13 15,1 13-15,0-13 0,0 0 16,13-13 0</inkml:trace>
  <inkml:trace contextRef="#ctx0" brushRef="#br0" timeOffset="39013.99">23786 2897 0,'-26'13'47,"12"1"-47,14-1 0,-13-13 0,13 13 15,0 0-15,-13-13 0,13 14 0,0-1 16,0 0-16,13 0 16,0 0-16,-13 1 0,14-14 15,-1 0-15,0 13 0,0-13 16,0 0-16,1 0 0,-1 0 15,0 0-15,0-13 0,1 13 0,-1 0 0,0-14 16,0 1-16,1 13 16,-14-13-16,13 0 0,-13 0 15,13-1-15,-13 1 0,0 0 16,0 0-16,0-14 16,-13 14-1,13 0-15,-13 13 16,-1 13-16,1-13 15,0 13-15,0 0 16,13 1-16,-14-1 16,14 0-16,-13-13 0,13 13 0,0 1 15,-13-14-15,13 13 16,0 0-16,0 0 0,0 0 16,-13 1-16,26-14 15</inkml:trace>
  <inkml:trace contextRef="#ctx0" brushRef="#br0" timeOffset="39210.79">23892 2805 0,'0'-14'32</inkml:trace>
  <inkml:trace contextRef="#ctx0" brushRef="#br0" timeOffset="39458.96">24170 2871 0,'0'0'0,"0"13"0,-14 0 16,14 0-16,0 1 0,0-1 15,-13 0-15,13 0 0,0 1 16,0-1-16,0 0 16,-13 0-16,13 0 15</inkml:trace>
  <inkml:trace contextRef="#ctx0" brushRef="#br0" timeOffset="39643.29">24077 2897 0,'0'27'63</inkml:trace>
  <inkml:trace contextRef="#ctx0" brushRef="#br0" timeOffset="39770.73">24156 3043 0,'0'0'0,"27"0"63</inkml:trace>
  <inkml:trace contextRef="#ctx0" brushRef="#br0" timeOffset="40565.71">24355 2937 0,'-13'13'15,"26"-26"-15,-26 39 0,13-12 0,-14-1 16,28 0-16,-14 0 16,13-13-16,-13 13 15,13-13-15,0 0 0,1 0 16,-1 0-16,0 0 0,0 0 16,1-13-16,-1 0 15,0 0-15,0 0 0,-13-1 0,13 1 16,-13 0-16,0 0 0,0-1 15,0 1-15,0 0 0,0 0 0,-13 13 16,13-13-16,-13-1 0,0 14 16,13-13-16,-13 13 0,-1 0 0,1 13 15,0-13-15,-14 14 0,1-1 16,13 0-16,13 0 16,-14 0-16,14 1 0,-13-14 0,13 13 15,0 0-15,13-13 0,-13 13 16,14-13-16,-1 14 0,0-14 15,0 0-15,1 0 0,-1-14 16,0 14-16,0 0 0,14-13 0,-14 13 16,0-13-16,-13 0 0,13 13 15,1-14-15,-1 1 0,-13 0 16,-13 26 15,13 0-31,0 1 16,-14-1-16,14 0 0,0 0 15,14 1-15,-14-1 16,13 0-16,0-13 16,0 0-16,14 0 15,-14 0 1,0-13-16,0 0 16,-13-1-16,0 1 15,0 0-15,0 0 16,-13 13-16,13-14 0,0 1 0,-13 13 15,0-13-15,0 13 16,13-13-16,-14 13 0,1-13 16</inkml:trace>
  <inkml:trace contextRef="#ctx0" brushRef="#br0" timeOffset="41397.86">23402 2818 0,'14'26'16,"-14"-12"-16,0-1 0,0 13 16,13 1-16,-13-1 0,0 1 0,13-1 15,-13 14-15,0-27 0,13 13 16,-13 1-16,0-1 0,14 1 0,-14-14 16,0 13-16,13-12 0,-13-1 0,0 0 15,0 0-15,13 1 16</inkml:trace>
  <inkml:trace contextRef="#ctx0" brushRef="#br0" timeOffset="42011.03">23442 2791 0,'66'-39'16,"-26"25"-16,0 1 16,-1 0-16,14-13 0,13 12 0,-13 1 15,13-13-15,1 12 0,-1 1 0,0 0 16,13 0-16,-13-1 0,1 1 0,-1 0 16,-13 0-16,0 0 0,-14 13 15,14-14-15,-13 14 0,-14 0 16,1-13-16,-1 13 0,-13 0 0,1 0 15,12-13-15,-13 13 0,1 0 16,-1 0-16,0 0 16,0 0-16,0 13 15,1 0-15,-14 1 16,13-1-16,0 0 16,-13 0-16,0 14 0,13-14 15,-13 13-15,14 1 0,-1-14 16,-13 14-16,13-1 0,0-13 0,-13 14 0,14-1 15,-1 1-15,0-14 0,-13 13 16,13-12-16,0 12 0,-13 0 16,14-12-16,-1-1 0,-13 0 0,0 0 15,13 1-15,-13-1 0,0 0 0,0 0 16,13 0-16,-26 1 16,13-1-16,-13 0 0,0 0 15,-14-13-15,14 14 0,-27-1 0,1 0 16,-1 0-16,0 1 0,-13-1 15,-13 0-15,0 0 0,0 0 0,0 1 16,0-1-16,-14 0 0,14 0 16,-13 1-16,13-1 0,-1 0 0,1-13 15,13 13-15,14 1 0,-14-14 16,13 13-16,0 0 0,14-13 0,-1 13 16,1 0-16,13-13 0,-14 0 15,14 14-15,0-14 0,0 0 0</inkml:trace>
  <inkml:trace contextRef="#ctx0" brushRef="#br0" timeOffset="44803.44">21577 5966 0,'0'0'0,"0"40"31,0-27-31,0 0 15,0 1-15,0-1 0,13 0 16,-13 0-16,0 1 0,13-1 16,-13 0-16,0-53 47,-13 14-32,13 13-15,0-1 0,0 1 16,0 0-16,-13 0 0,13 0 15,0-14 1,13 27 15,0 13-15,0-13-16,1 0 16,-1 0-16,0 0 15,0 0-15,1 0 16,-1-13-16,0 13 15,0 0 1,1 0 0,-1 13-16,-13 1 15,13-1-15,-13 0 16,13 0-16,-13 0 0,0 1 16,13-14-16,-13 13 0,0 0 0,14-13 15,-14 13-15,0 1 0,13-14 16,0 13-16,0-13 15,1 0 1</inkml:trace>
  <inkml:trace contextRef="#ctx0" brushRef="#br0" timeOffset="45668.63">21987 6046 0,'0'-14'0,"0"28"0,0-41 16,0 14-1,0 0 1,-13 26 15,-1-13-31,14 13 0,-13 0 16,13 1-16,0-1 15,0 0 1,0 0-16,13 1 16,1-14-1,-1 0-15,0 0 16,0 0-16,1-14 0,-1 14 0,0 0 16,0-13-16,0 13 0,1-13 15,-1 13-15,0 0 0,-13-13 0,13 13 16,1-14-16,-1 1 15,-13 0 1,13 13-16,-26-13 16,13 0-1,-13 13 32,-1 0 16,1 13-48,13 0-15,0 0 0,-13 0 16,13 1-16,0-1 16,-13 0-16,13 0 0,0 1 15,0-1 1,13 0-16,0-13 15,0-13 1,1 13-16,-14-13 16,13 13-16,-13-14 0,13 1 15,-13 0-15,0 0 16,13 13-16,-13-14 16,14 28 30,-1-1-14,0-13-32,0 0 15,0 0 1,1-13 0,-1 13-16,0 0 15,-13-14-15,13 14 16,1 0-16,-1-13 15,0 13-15,0-13 0</inkml:trace>
  <inkml:trace contextRef="#ctx0" brushRef="#br0" timeOffset="46726.68">22873 5662 0,'0'0'15,"-13"27"1,13-14 0,0 13-16,-13-13 0,13 1 0,0 12 15,0-13-15,0 14 0,0-14 16,0 0-16,0 1 0,0-1 15,0 0-15,0 0 0,13 0 0,-13 1 0,0-1 16,-13-13 15,-14-13-15,14-1-16,0 14 16,0 0-16,-14 0 15,14 14-15,0-14 16,-1 13-16,1-13 0,0 13 0,0 0 15,0 1-15,-1-1 16,14 0-16,14 0 16,-1 0-16,0-13 15,0 0-15,0 0 0,1 0 16,-1-13-16,0 13 0,0 0 0,1-13 16,-1 0-16,13 13 0,-12-13 0,-1-1 15,-13 1-15,13 0 0,0 0 16,0-1-16,-13 1 0,14 0 15,-14 0-15,13 0 0,-13-1 32,0 41-1,0-14-31,13 0 16,-13 0-1,13-13-15,1 0 16,-1 0-16,0 0 15,0 0 1,1-13-16,-1 13 16,0 0-1,0 13-15,0-13 16,-13 14-16,14-14 16,-14 13-16,13-13 15,-13 13-15,13-13 0,0 13 16,1-13-1,-1-13 1,-13 0 0,13 13-16,-13-13 0,13 13 15,1-14-15,-1 1 16,0 13-16,-13-13 0,13 13 16,0-13-1,1 26 1,-1-13-16,-13 13 0,0 0 15,13 1 1,-13-1 0</inkml:trace>
  <inkml:trace contextRef="#ctx0" brushRef="#br0" timeOffset="46834.88">23283 5755 0,'-13'-14'15</inkml:trace>
  <inkml:trace contextRef="#ctx0" brushRef="#br0" timeOffset="47575.67">23429 5768 0,'-27'13'16,"27"0"-16,-13-13 0,0 14 16,13-1-16,-13 0 15,13 0-15,-14-13 0,14 14 16,0-1 15,27-13-15,-14-13-16,0 26 31,1-13-31,-1 13 16,0 0 15,0-13-31,1-13 15,-1 13-15,0-13 0,0 0 16,0-1-16,-13 1 0,14 0 16,-1 0-16,-13-14 0,13 14 15,-13-14-15,13 14 0,-13 0 0,0 0 16,14 0-16,-14-1 0,0 1 0,0 0 16,13 13-1,-13 13 1,0 0-16,0 1 15,0-1-15,0 0 0,0 0 16,0 0-16,0 1 0,-13 12 16,13-13-16,0 1 0,0-1 15,-14 0-15,14 0 0,-13 1 16,13-1-16,-13-13 16,26-13 30,-13-1-46,13 14 0,-13-13 16,14 13-16,-1-13 0,0 13 0,-13-13 16,13 13-16,1 0 0,-1-14 15,0 14-15,0 0 16,0 0-16,1 0 16,-1 0-16,0 14 15,-13-1-15,13-13 16,-13 13-16,0 0 15,0 1-15,14-1 16</inkml:trace>
  <inkml:trace contextRef="#ctx0" brushRef="#br0" timeOffset="47694.91">23786 5689 0,'-13'0'0,"0"-14"0</inkml:trace>
  <inkml:trace contextRef="#ctx0" brushRef="#br0" timeOffset="48096.58">23932 5728 0,'-14'40'15,"14"-27"1,14-13-16,-14 13 16,13-13-16,0 0 31,0-13-31,-13 0 15,13 13-15,-13-13 0,0-1 0,0 1 16,0 0 15,-13 26-15,13 0 0,0 1-1,13-14-15,1 0 16,12 0-1,-13 0-15,1 0 16,-1-14-16,0 14 0,-26 27 31</inkml:trace>
  <inkml:trace contextRef="#ctx0" brushRef="#br0" timeOffset="48388.59">22066 6350 0,'13'-13'16,"199"-67"-1,-146 67-15,14-13 16,-1 12-16,0-12 0,14 13 15,-14 0-15,14-1 0,0-12 16,-1 13-16,-12 13 0,-1-14 0,14 1 16,-27 13-16,66-13 0,-79 13 15,-13-13-15,26 13 0,-40 0 16,-13 0-16,1 0 16,-1 0-16,-26 0 0,-14 13 15,-12 0-15,-1 0 16</inkml:trace>
  <inkml:trace contextRef="#ctx0" brushRef="#br0" timeOffset="48619.99">22066 6443 0,'-66'13'0,"132"-26"0,-158 39 16,65-26-16,67-13 16,13 0-1,13-1-15,27-12 0,12-1 0,14 14 16,0-13-16,1-1 0,-15 1 0,14 13 15,-26-1-15,-14-12 0,1 13 16,-1-1-16,-13 1 0,-13 0 16,0 13-16,-13-13 0,-14 13 0,1-13 0,-1 13 15,-13 0-15,1-14 0,-1 28 16</inkml:trace>
  <inkml:trace contextRef="#ctx0" brushRef="#br0" timeOffset="53731.75">2024 1217 0,'0'0'0,"93"-13"0,-40 13 0,13-13 0,0 13 16,13-14-16,14 1 0,-14 0 0,14 0 15,-1-1-15,1 1 0,-14 0 16,14 0-16,-14 0 0,14-1 15,-14 14-15,1-13 0,-1 0 0,-13 0 16,0 13-16,-13-14 0,0 14 0,0-13 16,-13 13-16,0 0 0,-14 0 15,-13-13-15,0 13 0,1 0 0,-1 13 16</inkml:trace>
  <inkml:trace contextRef="#ctx0" brushRef="#br0" timeOffset="54035.17">2222 1416 0,'-26'0'0,"52"0"0,-26 0 16,27 0-16,-1 0 0,27 0 0,27-14 15,-1 1-15,0 13 0,14-13 16,26-14-16,13 14 0,-13 0 0,14-14 15,-14 14-15,0 0 0,0 0 0,-26 0 16,-1-1-16,1 1 0,-14 0 16,1 0-16,-1 13 0,-13-14 15,-26 14-15,13-13 0,-27 13 0,1 0 16,-1-13-16,-13 13 0,14 0 0,-14 0 16,0 0-16,-39 13 31,-1-13-31,14 0 0,-13 13 15</inkml:trace>
  <inkml:trace contextRef="#ctx0" brushRef="#br0" timeOffset="59205.99">14989 2646 0,'198'-13'0,"80"-1"15,-172 14-15,26 0 16,-26 0-16,26-13 0,0 13 0,-26 0 0,13 0 16,-13 0-16,-13 0 15,13 0-15,-1 0 0,-12 0 0,0 0 16,-14 0-16,0 0 0,-26 0 0,0 0 15,0 0-15,-13 0 0,-14 0 16,1 0-16,-14 0 0,13 0 0,-12 0 16</inkml:trace>
  <inkml:trace contextRef="#ctx0" brushRef="#br0" timeOffset="59491.06">15438 2699 0,'-26'0'0,"52"0"0,-65 0 0,78 0 31,1 0-31,0 0 0,26 0 0,27 0 16,-1 0-16,1 0 0,26 0 0,13 0 16,0 0-16,14 0 0,-14 13 15,-26-13-15,26 0 0,-39 0 0,13 13 16,-14-13-16,-12 0 0,-1 13 0,1-13 15,-1 0-15,-26 14 0,0-14 16,-14 0-16,1 0 0,-13 13 0,-1-13 16,-13 0-16,0 0 0,1 0 0,-54 0 47,14 0-47</inkml:trace>
  <inkml:trace contextRef="#ctx0" brushRef="#br0" timeOffset="61332.03">16378 1429 0,'0'-13'32,"13"39"-17,0-13-15,0 0 16,1 1-16,-1 12 0,0 1 16,14-14-16,-14 13 0,0 1 0,0-14 15,0 13-15,1-12 0,-14-1 0,13 0 16,0 0-16,0 1 15,-13-1-15,14 0 0,-1-13 16,-13 13-16,26-26 16,-26 0-16,14 13 0,-14-13 15,0-14-15,13 14 0,-13-14 0,0 1 16,13-14-16,-13 1 0,13-1 0,-13 0 16,0 1-16,0 12 0,13-13 0,-13 14 15,0 13-15,0-14 0,0 14 16,0 0-16,0 0 0,0-1 0,14 1 15,-14 40 17,0-14-32,0 0 0,13-13 15</inkml:trace>
  <inkml:trace contextRef="#ctx0" brushRef="#br0" timeOffset="62278.52">16920 1442 0,'-13'-13'0,"0"13"31,-14 13-15,14 0-16,13 0 0,-13 1 15,13-1-15,-13 0 0,13 0 0,0 1 16,-14-1-16,14 0 0,0 0 15,0 1-15,0-1 16,14-13-16,-14 13 0,0 0 0,13-13 16,0 0-1,0 0 1,-13-13-16,0 0 0,0 0 16,13-1-16,-13 1 15,0 0-15,0 0 16,0-1-16,0 1 0,0 0 15,0 0 1,14 39 31,-1-26-47,-13 13 0,13 1 16,0-1-1,1 0-15,-14 0 16,13-13-16,0 14 15,0-28 32,-13 1-47,13 13 0,-13-13 16,0 0-16,14-1 16,-1 1-1,0 0-15,0 13 16,1 13-1,-14 0-15,13-13 16,-13 14-16,13-1 0,-13 0 16,13 0-16,-13 1 31,14-14-31,-1-14 31,-13 1-31,13 0 16,-13 0-16,13-1 15,-13 1-15,13 13 0,-13-13 16,14 0-16,-14-1 16,13 14-16,0 0 15,-13-13 1,13 13-16,1 0 16,-1-13-1,0 13-15,0-13 16,1 0-1,-1 26 32,0 0-47,-13 0 16,0 0-16,0 1 16,0-1-16,0 0 0,0 0 15,0 1 1</inkml:trace>
  <inkml:trace contextRef="#ctx0" brushRef="#br0" timeOffset="62424.05">17343 1270 0,'0'0'15,"-13"-13"-15,0 26 16,0-13-1,13 13-15,-13-13 0,13 13 16</inkml:trace>
  <inkml:trace contextRef="#ctx0" brushRef="#br0" timeOffset="63272.76">17582 1363 0,'-27'-27'31,"14"27"-31,0 13 16,-1 1-16,1-14 16,13 13-16,-13 0 0,13 0 15,-13-13-15,13 14 0,0-1 0,-14 0 16,28 0-1,12-13 17,-26-13-32,13 0 15,-13 0-15,14-1 0,-14 1 16,13 13 0,-13-13-16,13 26 31,-13 0-31,13-13 15,-13 14-15,14-1 16,-14 0-16,13-13 0,0 13 16,0-13-16,0 0 15,1 0 1,-1 0-16,-13-13 0,13 13 0,-13-13 16,13 0-16,-13-1 0,14 1 0,-14-13 15,0 12-15,0-12 0,0 13 16,0-14-16,0 1 0,0 13 0,0-14 15,0 14-15,0 0 0,0-1 0,0 1 16,0 0-16,0 0 0,0-1 16,0 54 15,0-27-31,-14 1 0,28-1 16,-14 13-16,0-12 0,0-1 0,0 13 15,0-13-15,13 14 0,-13-14 16,0 0-16,13 1 0,-13-1 0,0 0 15,13-13-15,-13 13 0,14-13 16,-14 14-16,26-28 16,-13 1-1,0 0-15,-13 0 0,14 13 16,-14-14-16,13 14 0,-13-13 0,13 0 16,0 0-1,1 13 16,-1 13-31,-13 0 16,13 0-16,-13 1 16,0-1-16,0 0 15,13 0-15,-13 1 16,0-1 0</inkml:trace>
  <inkml:trace contextRef="#ctx0" brushRef="#br0" timeOffset="63425.96">18018 1164 0,'0'-13'0,"0"26"0,-13-26 16,-14 13-1,27 13 1</inkml:trace>
  <inkml:trace contextRef="#ctx0" brushRef="#br0" timeOffset="63854.11">18084 992 0,'0'-13'15,"0"39"17,14 1-17,-14-1-15,0-12 0,0 25 16,13-12-16,-13-1 0,0-13 16,0 14-16,0-14 0,0 14 15,0-14-15,0 0 0,0 0 0,0 0 16,13 1-16,-13-1 0,0 0 0,0 0 15,0 1 1,0-1-16,26-26 31,-26-1-31,14 14 0,-14-13 16,13 13-16,-13-13 16,13 13-16,0 0 15,-13 13 1,14 0-1,-14 1-15,0-1 16,0 0 0,0 0-16,0 1 15</inkml:trace>
  <inkml:trace contextRef="#ctx0" brushRef="#br0" timeOffset="63965.87">18256 1244 0,'-13'-14'0,"13"1"0,-13 13 15,13-13-15</inkml:trace>
  <inkml:trace contextRef="#ctx0" brushRef="#br0" timeOffset="64154.97">18296 1005 0,'13'14'31,"-13"-1"-31,0 0 16,13 0-16,-13 14 0,0-14 0,0 13 16,14-12-16,-14-1 0,0 13 0,0 1 15,0-14-15,0 0 0,0 14 16,0-14-16,0 0 0,0 0 15</inkml:trace>
  <inkml:trace contextRef="#ctx0" brushRef="#br0" timeOffset="64646.15">18322 1270 0,'-13'0'16,"53"0"15,-40-13-31,13 13 0,0 0 15,1-13-15,-1-1 0,0 14 16,0-13-16,0 13 0,1-13 0,-1 13 16,-13-13-16,13 13 15,0 0-15,1 0 16,-1 0-16,0 0 16,-13 13-16,13 0 15,1 0-15,-14 1 0,13-1 16,0 0-16,-13 0 0,0 14 0,13-14 15,-13 0-15,0 0 0,13 1 16,-13-1-16,0 0 16,0 0-16,14-13 0,-1-26 31,0 13-31,-13-14 16,13 1-16,1-14 0,25-26 15,-26 39-15,1 1 0,12-1 16,-26 14-16</inkml:trace>
  <inkml:trace contextRef="#ctx0" brushRef="#br0" timeOffset="65048.84">17820 1640 0,'53'-13'31,"-14"0"-31,1 0 0,0 0 16,13-14-16,13 14 0,-13 0 0,13-1 16,-13 1-16,13-13 0,-26 26 15,12-14-15,-12 1 0,13 13 0,-26-13 16,-1 13-16,0 0 0,-12 0 0,-1 0 15,0 13-15</inkml:trace>
  <inkml:trace contextRef="#ctx0" brushRef="#br0" timeOffset="65247.63">17926 1733 0,'26'-13'16,"0"0"-16,1-1 15,13 1-15,13 13 0,-1-26 0,15 12 16,-15 1-16,15 0 0,-14 13 0,-14-13 16,1 0-16,0-1 0,-1 14 15,-12 0-15,-14-13 0,13 13 0,-12 0 16,-1 0-16,0-13 0,0 13 0</inkml:trace>
  <inkml:trace contextRef="#ctx0" brushRef="#br0" timeOffset="74755.84">5490 3453 0,'-13'26'16,"13"-13"-16,0 1 0,0 12 15,0 1-15,0-1 0,0 1 0,0-1 16,0 0-16,0 14 0,0 0 0,0-14 16,0 1-16,0 12 15,0-12-15,13-1 0,-13-12 0,0 12 0,0-13 16,0 14-16,13-14 0,-13 0 0,0 0 16</inkml:trace>
  <inkml:trace contextRef="#ctx0" brushRef="#br0" timeOffset="75278.92">5450 3440 0,'14'-14'0,"78"-52"31,-52 53-31,0 0 0,-1 0 16,14-1-16,0 1 0,-13 0 16,13 0-16,-14-1 0,14 14 15,-13-13-15,0 13 0,-14-13 0,1 13 16,-1 0-16,-13 0 0,1 0 16,-1-13-16,0 13 0,0 0 0,0 13 15,1-13-15,-14 13 16,0 0-1,0 1-15,0-1 0,0 0 16,0 0-16,0 14 0,13-14 0,-13 13 16,0 1-16,0-1 0,13-12 15,-13 12-15,13 0 0,-13 1 0,14-14 16,-1 14-16,0-14 0,0 13 0,-13-12 16,14-1-16,-1 13 0,0-13 15,-13 1-15,13-14 0,-13 13 0,13 0 16,-13 0-16,0 1 15,0-1-15,-13 0 0,0-13 16,0 13-16,0 1 0,-27 12 16,0-13-16,0 0 0,-12 14 0,-1-1 15,0-12-15,0 12 0,-13 1 0,13-1 16,0 0-16,0 1 0,0-1 16,0 1-16,0-1 0,13-12 0,14 12 15,-14-13-15,1 0 0,12 1 0,14-1 16,-13-13-16,12 13 0</inkml:trace>
  <inkml:trace contextRef="#ctx0" brushRef="#br0" timeOffset="79030.98">11351 4855 0,'66'-13'31,"-27"0"-31,14 13 0,14 0 0,12-14 15,0 14-15,14-13 0,-1 13 16,1-13-16,0 13 0,13 0 0,-1 0 16,1-13-16,0 13 0,-13 0 0,12 0 15,-12 0-15,0 0 0,-14 0 16,14 0-16,-27 0 0,0 13 16,-13-13-16,0 0 0,-14 0 0,1 0 15,-13 0-15,-14 0 0,13 0 0,-12 0 16,-1 0-16</inkml:trace>
  <inkml:trace contextRef="#ctx0" brushRef="#br0" timeOffset="79275.92">12144 4829 0,'0'0'15,"-26"13"-15,52 0 16,1-13-16,26 0 15,0 0-15,26 0 0,0 13 0,14-13 16,-14 0-16,14 0 0,0 0 16,-14 0-16,14 0 0,-14 0 0,0 0 15,-13 0-15,-13 0 0,0 0 0,-13 0 16,0 0-16,-14 0 0,-13 0 16,14 0-16,-14 0 0,0 0 0,-13 14 15,-26-1-15,-27-13 16</inkml:trace>
  <inkml:trace contextRef="#ctx0" brushRef="#br0" timeOffset="79934.1">4207 5689 0,'0'0'0,"106"-27"31,-53 14-31,0 13 0,26-13 16,-13-1-16,0 14 0,0-13 0,14 0 15,-14 13-15,0-13 0,13 13 0,-12-14 16,-15 14-16,1 0 0,14 0 0,-28-13 16,14 13-16,-13 0 0,-14 0 15,-12 0-15,12 0 0,-13 0 0,0 0 16,1 0-16,-1 0 0,-53 0 31,14 0-31,-1 13 0,-12-13 16</inkml:trace>
  <inkml:trace contextRef="#ctx0" brushRef="#br0" timeOffset="80567.14">4538 5689 0,'-80'13'0,"160"-26"0,-186 26 15,79 0-15,14-13 0,0 0 16,0 0-16,-1 13 0,1-13 15,40 0 1,-14 0-16,27 0 16,-1-13-16,1 13 0,0 0 0,13-13 15,-1 13-15,-12-13 0,13 13 0,0-14 16,-13 14-16,-1-13 0,14 13 16,-26-13-16,12 13 0,-12 0 15,-1 0-15,-12-13 0,12 13 0,-13 0 16,0 0-16,1 0 0,-1 0 15,0 0-15,0-14 16,1 14-16,-1 0 0,0 0 31,0 0-15,-13-13 0,14 13 15,-14 13 250,-14 1-265</inkml:trace>
  <inkml:trace contextRef="#ctx0" brushRef="#br0" timeOffset="81805.55">5345 6310 0,'0'-13'0,"-53"26"31,39-13-31,-12 14 0,0-1 16,-14 0-16,13 13 0,1-12 15,-1-1-15,1 13 0,0-12 0,-1-1 16,14 0-16,0 14 0,-14-14 15,14 0-15,0 0 0,-1 0 0,1 1 16,0-1-16,0-13 0,0 13 16,13 0-16,-14-13 0,14 14 0,-13-14 15,13 13-15,-13-13 0,13 13 0,-13 0 16,-1 1 0,14-1-1,-13-13 1,40-13 15</inkml:trace>
  <inkml:trace contextRef="#ctx0" brushRef="#br0" timeOffset="82263">5265 6403 0,'27'-27'32,"-14"14"-32,-13 0 0,13 0 15,-13 0-15,0-1 0,13 1 0,-13 0 16,0 0-16,0-1 0,0-12 0,0 13 16,-13-14-16,13 14 0,0 0 15,-13-14-15,13 14 0,-13 0 16,13 0-16,0-1 0,-14 1 0,14 0 15,0 0-15,-13-1 0,13 1 16,0 0-16,-13 13 16,13-13-16,0 0 15</inkml:trace>
  <inkml:trace contextRef="#ctx0" brushRef="#br0" timeOffset="82907.86">5265 5940 0,'0'0'0,"-26"13"32,26 0-17,-13 1-15,13-1 0,-14 0 16,1 13-16,0-12 0,13 12 0,-13-13 16,-1 14-16,14-14 0,-13 0 0,13 14 15,-13-14-15,13 0 0,-13 0 16,13 1-16,0-1 0,-14-13 0,14 13 15,0 0-15,-13 1 16,26-41 15,-13 14-31,0 0 0,14-14 16,-14 14-16,0 0 0,0-14 0,13 14 0,-13 0 16,13-14-16,-13 14 0,13 0 15,-13-14-15,14 14 0,-14 0 16,13 0-16,-13 0 0,13 13 15,-13-14-15,13 14 0,14 0 16,-27 14 0,13-14-16,0 13 0,0 0 15,1-13-15,-14 13 16,13-13-16,0 13 0,0-13 16,-13 14-16,14-14 0,-1 13 15,0-13 1,-13 13-1,13-13 17,-13 13-17,27-26 32,-14 13-31,0 0-16</inkml:trace>
  <inkml:trace contextRef="#ctx0" brushRef="#br0" timeOffset="85930.11">4749 6271 0,'0'-14'0,"-13"-12"15,0 26 1,0-13-16,-1-1 0,1 1 0,0 0 15,-14 0-15,1 0 0,-14-14 0,14 14 16,-14-14-16,0 14 0,1-13 0,-1-1 16,-13 14-16,0-13 15,0 12-15,0-12 0,-13 13 0,13-1 16,14 1-16,-14 0 0,-13 0 0,13 0 16,-13-1-16,-1 14 0,1-13 0,0 0 15,0 13-15,0-13 0,0 13 16,0-14-16,-14 14 0,14 0 0,-13 0 15,26 0-15,-13 0 0,-14 0 0,14 0 16,-13 0-16,26 0 0,0 14 16,-13-14-16,13 0 0,0 0 0,-13 13 15,13-13-15,0 0 0,0 13 0,0-13 16,0 0-16,13 0 0,14 0 16,-14 0-16,14 0 0,-14 0 15,14 0-15,-14 0 0,14-13 0,-14 13 0,13 0 16,-12 0-16,12 0 0,1 0 0,-14 0 15,14-13-15,-1 13 16,-12 0-16,25 0 0,-12 0 0,-1 0 16,1 0-16,-1 13 0,1-13 0,0 0 15,12 0-15,-12 13 0,-1-13 0,1 13 16,-1-13-16,-52 40 16,53-27-16,-27 14 15,39-14-15,-12 0 0,13 0 0,-14 1 16,1-1-16,-1 0 0,1 0 15,-1 14-15,1-14 0,0 13 0,-14-12 16,13 12-16,1-13 0,0 14 0,-14-1 16,13-13-16,1 14 0,-1-1 0,14-12 15,-13-1-15,13 13 16,-1-12-16,1-1 0,0 13 0,0-13 16,-1 14-16,-12-1 0,13 1 0,-1-1 15,1 27-15,0-13 0,13 0 16,-13-14-16,13 1 0,0-1 15,0 14-15,0-1 0,13 1 0,0 0 16,0-1-16,1-12 0,12 26 0,1-14 16,-1 1-16,14 0 0,-1 0 15,14-14-15,0 14 0,0-14 0,0 1 16,13-14-16,14 13 0,-1-13 16,14 1-16,-1-1 0,1 0 0,-1-13 15,1 0-15,13 13 0,0-13 0,0-13 16,26 13-16,0 0 0,-13-13 15,13 0-15,-12-1 0,-28 14 0,1-13 16,26-13-16,-27 13 0,1-1 0,-14 1 16,14-13-16,-14 12 0,1-12 15,-1 0-15,-13 12 0,0-12 0,1-1 16,-15-12-16,1 12 0,0 1 0,0-1 16,0 1-16,-13-1 0,-14 1 15,14-1-15,-14 1 0,1-14 0,-14 14 16,14-1-16,-14 1 0,0-14 0,0 14 15,-13-14-15,14 14 0,-14-14 16,0 0-16,-14 1 0,1-1 16,0 13-16,-14-25 0,-12 12 0,12 13 15,-12-12-15,-1 12 0,0 1 0,14-1 16,-14 14-16,0 0 0,1-14 16,12 14-16,-13 0 0,14 13 0,0-13 15,12 13-15,-12-14 0,13 14 0,-1 0 16,1 0-16,0 14 0,0-1 15,26 0-15,-13 0 16,13 1-16,0-1 0</inkml:trace>
  <inkml:trace contextRef="#ctx0" brushRef="#br0" timeOffset="87371.5">8255 6099 0,'0'-14'32,"13"28"-32,0-1 15,-13 0-15,14 0 0,-14 1 0,13-1 16,-13 0-16,13 13 0,-13-12 0,13-1 15,1 0-15,-1 0 0,-13 1 16,13-1-16,0 0 0,-13 0 0,14-13 16,-14 14-16,13-14 0,0 0 15,0-14-15,-13 1 16,0 0-16,0 0 0,0-1 16,0-12-16,0-1 0,0 1 0,0-14 15,-13 1-15,13-1 0,-13 13 16,13 1-16,-13 0 0,13 12 0,0-12 15,-14 13-15,14-1 0,0 1 0,0 0 16,0 0-16,0 0 0,14-1 16,-1 1-16,0 0 0,0 0 0,27-1 15,0 14-15,-1-13 0,1 0 0,26 0 16,0-1-16,0 1 0,1 0 0,12 0 16,-13 0-16,13-1 0,1 1 15,-14 0-15,0 0 0,0 13 0,-13-14 16,-13 1-16,0 13 0,-1-13 15,-12 13-15,-14 0 0,13-13 0,-12 13 16,-1 0-16,0 0 0,0 0 16,-26 26 15,0-26-31,0 27 0,-14-14 16,1 13-16,-14 1 0,14-14 0</inkml:trace>
  <inkml:trace contextRef="#ctx0" brushRef="#br0" timeOffset="87866.8">8718 6046 0,'0'-14'16,"0"41"15,0-14-31,0 0 0,13 1 15,-13-1-15,13 13 0,-13 1 0,14-14 16,-14 0-16,13 14 0,-13-14 16,13 0-16,0 0 0,-13 1 0,14-1 15,-1-13-15,-13 13 0,13-13 0,0 0 16,1 0 0,-1-13-16,-13 0 15,13-1-15,-13 1 0,0-13 0,0 12 16,13-12-16,-13 0 0,0 12 15,0-12-15,0-1 0,0 14 0,13-13 16,-13 12-16,0 1 0,0 0 16,0 0-16,0 0 0,14 39 31,-14-13-15,0 0-16</inkml:trace>
  <inkml:trace contextRef="#ctx0" brushRef="#br0" timeOffset="88660.02">9088 6019 0,'0'-13'15,"-13"13"1,0 0-16,0 13 0,13 0 15,-13-13-15,13 14 16,0-1-16,-14 0 0,14 0 16,0 1-16,0-1 0,0 0 0,0 0 15,0 1-15,0-1 16,14 0-16,-1 0 16,0-13-1,0 0 16,0-13-31,-13 0 16,0 0 0,0-1-16,0 1 15,14 0 1,-14 0-16,0-1 16,0 1 15,0 0-16,13 13 1,0 13 0,0-13-16,1 13 0,-1-13 15,-13 14-15,13-14 0,-13 13 16,13-13-16,-13 13 0,14-13 16,-14 13-16,13-13 0,-13 14 15,0-1-15,13-13 0,-13 13 0,0 0 16,13 0-1,-13 1 1,13-28 31,-13 1-47,0 0 0,14 13 0,-14-13 16,0 0-16,13-1 0,-13 1 0,13 13 15,-13-13-15,13 0 0,1-1 16,-1 14-16,-13-13 0,13 13 15,0 0-15,0 0 16,1 0-16,-1 13 16,0 1-16,-13-1 15,13 0-15,-13 0 16,14 1-16,-14-1 16,0 0-1,0 0-15,13-13 16</inkml:trace>
  <inkml:trace contextRef="#ctx0" brushRef="#br0" timeOffset="88814.72">9446 5927 0,'0'-14'16,"-14"28"15</inkml:trace>
  <inkml:trace contextRef="#ctx0" brushRef="#br0" timeOffset="89471.79">9551 5980 0,'-13'13'32,"0"-13"-17,13 13-15,0 0 0,-13-13 0,13 13 0,0 1 16,0-1-16,0 0 16,-13-13-16,26 27 15,-13-14-15,0 0 16,13-13-1,0 0 1,-13-13 0,13 13-16,-13-13 0,0-1 15,14 1-15,-14 0 16,0 0-16,0-1 16,13 14-16,-13-13 0,0 0 31,13 39 0,-13-12-15,0-1-1,13 0 1,-13 0 15,14-13-31,-1-13 31,0 13-15,0 0 0,1 0-1,-1 13 1,0-13 0,0 14 15,0-28-16,1 1 1,-1 13 0,0-13-16</inkml:trace>
  <inkml:trace contextRef="#ctx0" brushRef="#br0" timeOffset="89912.81">9935 5953 0,'-13'0'0,"26"0"0,-26-13 0,0 26 31,-1-13-31,1 13 0,13 1 16,-13-1-16,13 0 0,-13-13 16,13 13-16,0 0 0,0 1 15,13-1 1,0-13-16,0-13 16,1 13-16,-1-14 0,0 1 15,0 0-15,1 13 16,-14-13-16,13 13 0,-13-13 0,13-1 15,0 14-15,-13-13 16,13 26 15,-13 1-31,14-14 0,-14 13 16,13 0 0,-13 0-16,13-13 0,-13 13 15,13-13-15,1 0 16,-1 14-16,0-14 15</inkml:trace>
  <inkml:trace contextRef="#ctx0" brushRef="#br0" timeOffset="90128.43">10358 5887 0,'27'-13'32,"-14"0"-17,0 13-15,1 0 0,-1-14 0,0 14 16,0 0-16,1 0 16,-14 14-16</inkml:trace>
  <inkml:trace contextRef="#ctx0" brushRef="#br0" timeOffset="90282.97">10319 5993 0,'0'13'31,"13"-26"-15,0 13-16,0-13 15,1 13-15,-1 0 16,0-14-16,0 14 0,1-13 15</inkml:trace>
  <inkml:trace contextRef="#ctx0" brushRef="#br0" timeOffset="90716.19">11311 5808 0,'-27'0'0,"1"0"16,-27 0 0,40 0-16,0 13 0,-1-13 0,-12 0 15,13 13-15,-1-13 0,1 13 16,0-13-16,13 14 15,13-1 1,0 0-16,1-13 16,-1 0-16,13 13 0,-12-13 0,-1 0 15,0 13-15,0-13 0,1 0 0,-1 14 16,0-14-16,0 0 0,0 13 16,-13 0-1,-13 0 1,0 1-16,0-14 0,0 13 15,-1 0-15,-12-13 0,13 13 16,-1 0-16,1-13 0,0 14 0,0-14 16,-1 0-16,14 13 0,-13-13 0</inkml:trace>
  <inkml:trace contextRef="#ctx0" brushRef="#br0" timeOffset="91191.78">11364 5794 0,'0'0'0,"13"14"31,-13-1-31,0 0 0,0 0 16,0 1-16,0-1 15,0 0-15,0 0 0,0 0 16,0 1-16,0-1 0,0 0 15,0 0-15,0 1 16,0-1-16,-13-13 16,0-27 15,13 14-31,0 0 16,13 0-16,-13-1 0,0-12 0,13 13 15,-13 0-15,13-1 0,-13 1 16,14 0-16,-1 0 0,0 13 0,-13-14 15,13 14-15,0 0 0,1 0 16,-1 0-16,-13 14 0,13-14 16,-13 13-16,13-13 15,-26 26-15,13-12 16,-13-1-16,0 0 0,-1-13 16,1 13-16,0 0 0,0 1 0,-14-1 15,14-13-15,0 13 0,0-13 16,-1 13-16,1-13 0,0 14 0,0-1 15,-1-13-15,1 13 16,0 0-16,0 0 16</inkml:trace>
  <inkml:trace contextRef="#ctx0" brushRef="#br0" timeOffset="91550.99">10041 6403 0,'0'0'0,"53"-27"31,-13 14-31,-1 0 0,14 0 0,13 0 15,0-14-15,1 14 0,-1 0 16,13-14-16,-13 14 0,14 0 0,-14-1 16,13 1-16,-13 0 0,14 0 0,-14 0 15,-13-1-15,0 14 0,0-13 16,-14 13-16,1-13 0,-14 13 0,1 0 16,-14 0-16,0 0 0,1 0 15,-1 0-15,0 0 0,-39 13 16,-1-13-1,1 13-15,-14 1 0,-26-1 16,13 0-16</inkml:trace>
  <inkml:trace contextRef="#ctx0" brushRef="#br0" timeOffset="91818.85">10186 6456 0,'0'0'16,"172"-40"-1,-105 27 1,-1 0-16,0-1 0,-13 1 16,13 0-16,0 0 0,-13 13 0,0-13 15,-13-1-15,13 14 0,-14-13 0,1 0 16,-14 13-16,1 0 0,-1-13 16,1 13-16,-1 0 0,-13 0 15,1-14-15,-1 14 0,0 0 0,0 0 0,1 0 16,-1 0-16,0 0 15,0-13 1,0 13 0,1 0-16</inkml:trace>
  <inkml:trace contextRef="#ctx0" brushRef="#br0" timeOffset="93215.84">9102 6337 0,'-14'-13'0,"-12"13"31,26 13-31,-13-13 0,13 13 0,-13-13 16,-1 13-16,1 0 0,0 1 0,0-1 16,-1 0-16,-12 0 0,-1 1 15,1 12-15,0-13 0,-1 14 16,-13-14-16,14 13 0,-14-12 0,14 12 15,-14-13-15,0 14 0,1-14 16,12 0-16,-12 14 0,-1-14 0,0 0 16,1 0-16,-14 14 0,0-14 0,-13 14 15,13-14-15,0 0 0,-13 0 16,-1 14-16,15-14 0,-15 0 0,14 0 16,-13 1-16,13 12 0,-13-13 0,0 1 15,0-1-15,0 0 0,-14 0 16,14 14-16,0-14 0,0 0 15,0 0-15,0 1 0,0-1 0,-1 0 0,1 0 16,0 1-16,0-1 0,0 0 16,0 0-16,0-13 0,13 13 15,-14 1-15,1-1 0,0-13 0,0 13 16,13 0-16,0-13 0,0 14 0,0-1 16,0-13-16,1 13 0,12 0 15,-13-13-15,0 13 0,13 1 0,-13-14 16,0 13-16,1-13 0,12 0 0,-13 13 15,0-13-15,13 0 0,-13 13 16,14-13-16,-1 0 0,0 0 16,1 0-16,12 0 0,1 0 0,-14 0 15,14-13-15,-14 13 0,13 0 0,1 0 16,0-13-16,-1 13 0,-26-13 16,40 13-16,-14 0 0,14-14 15,-13 14-15,-1-13 0,14 13 0,0 0 16,-14-13-16,14 13 0,0-13 15,0 13-15,0 0 0,-1-13 0,1 13 16,0 0-16,0-14 0,-1 14 0,1-13 16,0 13-16,0-13 15,-1 13-15,1 0 16,13-13-16,-13 13 0,0-14 16,0 14-1,13-13-15,-14 13 16,1-13-16,0 13 31,13-13-15,-13 13-1</inkml:trace>
  <inkml:trace contextRef="#ctx0" brushRef="#br0" timeOffset="93666.64">4538 6972 0,'-27'13'15,"14"-13"1,0 0-16,-1 13 0,1-13 15,0 0-15,0 13 0,0-13 0,-1 0 16,1 0-16,0 14 0,0-14 16,-1 0-16,1 0 0,0 0 15,0 0-15,-1 13 0,1-13 0,0 0 16,0 0-16,0 0 16,-1 13-1,1-13-15,0 13 16,26 1 15,-13-1-31,13 0 0,-13 0 16,14 14-16,-14-14 0,13 0 0,0 0 15,0 14-15,0-14 0,1 14 16,-1-14-16,0 13 0,0-13 16,1 1-16,-1 12 0,-13-13 0,13 1 15,0-1-15,1 0 0,-1 0 16,0 1-16,0-1 0,-13 0 0,13 0 15,1 0-15,-14 1 0,13-1 0</inkml:trace>
  <inkml:trace contextRef="#ctx0" brushRef="#br0" timeOffset="107939.08">1707 10067 0,'13'0'16,"-13"14"-16,0-1 0,13 0 16,-13 0-16,0 1 0,0-1 0,0 0 15,13 13-15,-13-12 0,0-1 16,13 0-16,-13 0 0,0 1 0,0-1 15,14 0-15,-14 0 0,0 1 0,0-1 16,0 0-16</inkml:trace>
  <inkml:trace contextRef="#ctx0" brushRef="#br0" timeOffset="108213.92">1601 9856 0,'13'-14'15,"93"28"17,-27 12-32,-13 14 15,-39-14-15,-1 1 0,1-1 0,-1 1 16,1-1-16,-14 1 0,0-1 15,0 1-15,-13-1 0,0 0 0,-13 14 16,13-13-16,-13 12 0,0 1 0,-1-27 16,1 27-16,-13-14 0,12 14 15,1-13-15,-13-14 0,13 0 0</inkml:trace>
  <inkml:trace contextRef="#ctx0" brushRef="#br0" timeOffset="110818.41">1482 11152 0,'-27'0'0,"54"-13"31,-27 0-15,13 13-16,0 13 15,0 0 1,-13 0-16,0 1 15,-13-1-15,13 0 0,0 0 16,0 1-16,0-1 0,-13-13 0,13 13 16,0 0-1,0 0-15,0 1 16,13-14 0,0 0-16,14 0 15,-14-14-15,0 14 0,1 0 0,-1-13 16,0 13-16,13-13 0,-12 13 0,-1-13 15,0 0-15,0 13 16,1-14-16,-14 1 0,13 0 16</inkml:trace>
  <inkml:trace contextRef="#ctx0" brushRef="#br0" timeOffset="111075.08">1389 10914 0,'40'-13'0,"-80"26"0,93-26 0,-27 13 16,-12 0-16,12 13 0,1 0 15,12 1-15,-12-1 0,12 0 0,1 13 0,-13 1 16,12-14-16,-12 14 0,-1-1 16,1 0-16,-14 14 0,13-13 15,-12-1-15,-14 1 0,13-1 0,-13-13 16,0 14-16,-13 12 0,-1-12 0,1 13 15,0-14-15,0 14 0,-14-14 16,14 14-16,-14-14 0,1 1 0,0-1 16,12-13-16,-12 1 0,-14 12 0</inkml:trace>
  <inkml:trace contextRef="#ctx0" brushRef="#br0" timeOffset="120908.42">22900 9750 0,'13'0'16,"-26"-13"15,-1 13-15,-12 0-1,26 13-15,-13-13 0,0 0 0,-1 0 16,14 13-16,-13-13 0,0 0 0,0 13 16,13 1-1,13-1 1,0-13-16,-13 13 0,13-13 16,1 0-16,-1 13 0,0-13 15,0 0-15,0 13 0,1 1 16,-1-14-16,0 0 0,-13 13 15,13-13-15,-13 13 16,0 0 0,-13 1-16,0-1 15,0-13-15,13 13 0,-14-13 16,1 13-16,0-13 0,0 0 0,0 14 16,-1-14-16,1 13 0,0-13 15</inkml:trace>
  <inkml:trace contextRef="#ctx0" brushRef="#br0" timeOffset="121314.93">22992 9790 0,'0'-14'31,"0"41"0,14-14-15,-14 0-16,13-13 15,-13 13-15,13-13 0,0 14 0,0-14 16,1 0-16,-1 0 16,13 0-1,-12-14-15,-1 1 16,0 0-16,-13 0 15,13 0-15,-13-1 16,0 1-16,14 13 16,-14-13-16,0 39 31,0-12-31,0-1 16,0 0-16,0 0 15,0 0-15,0 1 0,0-1 16,13 0-16,0-13 15,13 0 17</inkml:trace>
  <inkml:trace contextRef="#ctx0" brushRef="#br0" timeOffset="121731.78">23310 9538 0,'-13'13'31,"13"1"-31,0-1 0,-14 0 16,14 0-16,0 1 16,0-1-16,0 0 15,0 0-15,0 1 16,0-1-1,14-13 1,-1 0-16,0 13 16,0-13-16,0 13 15,1 0-15,-1 1 16,-13-1-16,0 0 16,13-13-16,-13 13 0,0 1 15,-13-1 1,13 0-16,-13-13 0,-1 13 15,1-13-15,13 13 0,-13-13 16,0 0-16,0 0 16,26-26 15</inkml:trace>
  <inkml:trace contextRef="#ctx0" brushRef="#br0" timeOffset="122047.82">23641 9697 0,'13'-13'31,"0"13"-31,0 0 16,0-13-1,1 13-15,-1 0 0,0-14 16,0 14-1,1-13-15,-1 13 16</inkml:trace>
  <inkml:trace contextRef="#ctx0" brushRef="#br0" timeOffset="122522.91">24156 9300 0,'14'-13'15,"-28"26"-15,41-39 0,-14 26 16,0 13-16,1 0 15,-1 0 1,-13 1-16,0-1 0,13 0 0,-13 0 16,0 0-16,0 14 0,0-14 15,0 0-15,0 14 0,0-14 0,0 0 16,0 14-16,0-14 0,0 0 16,0 0-16,-13 14 0,13-14 0,0 0 15,0 1-15,0-1 0,0 0 16,0 0-16,0 1 0</inkml:trace>
  <inkml:trace contextRef="#ctx0" brushRef="#br0" timeOffset="122671">24236 9803 0</inkml:trace>
  <inkml:trace contextRef="#ctx0" brushRef="#br0" timeOffset="123267.77">23693 9512 0,'0'13'16,"14"-13"-1,-1 13-15,0-13 0,14 13 16,-14-13-1,0 0-15,0 0 0,0 14 0,1-14 16,-1 0-16,0 0 0,0 13 0,1-13 16,-14 13-16,13-13 15,-13 13-15,0 1 0,0 12 16,0-13-16,-13 1 0,-14 12 16,1 14-16,-1-1 0,1-12 0,-1 12 15,-12 1-15,12 0 0,-12 0 16,-1-14-16</inkml:trace>
  <inkml:trace contextRef="#ctx0" brushRef="#br0" timeOffset="132613.91">23561 10332 0,'0'26'63,"0"-12"-63,13-14 0,-13 13 0,0 0 15,0 0-15,14-13 0,-14 14 16,0-1-16,0 0 0,0 0 15,13 1-15,-13-1 16,0 0-16,0 0 16,0 0-16,13 1 15,0-14 1</inkml:trace>
  <inkml:trace contextRef="#ctx0" brushRef="#br0" timeOffset="133016.04">24408 10266 0,'0'0'0,"0"26"32,13 1-17,-13-14-15,0 0 0,0 0 0,0 1 16,13-1-16,-13 0 16,0 0-16,0 1 0,0-1 15,0 0-15,0 0 0,0 1 0</inkml:trace>
  <inkml:trace contextRef="#ctx0" brushRef="#br0" timeOffset="134196.01">23760 10358 0,'-27'0'16,"27"14"-16,-13-14 0,13 13 15,-13 0-15,13 0 16,0 1-16,-14-14 0,14 13 16,0 0-16,14 0 15,-14 1-15,13-14 16,0 0 0,0-14-16,1 14 15,-14-13-15,13 0 0,-13 0 16,13-1-16,-13 1 15,0 0-15,13 13 0,-13-13 16,0-1-16,0 41 47,0-14-47,0 0 0,0 1 16,0-1-16,0 0 0,0 0 15,13-13-15,-13 14 0,0-1 16,0 0-16,14 0 0,-1 0 15,0-13 1,0 0 0</inkml:trace>
  <inkml:trace contextRef="#ctx0" brushRef="#br0" timeOffset="134626.67">23932 10306 0,'0'-14'0,"-27"28"31,27-1-15,-13 0-16,13 0 16,0 0-1,0 1-15,-13-14 0,13 13 16,13 0-1,0-13 17,0 0-32,1 0 15,-14 13-15,13-13 16,0 0-16,-13 14 0,13-14 16,-13 13-16,0 0 15,13 0 1,-26-13-16,13 14 15,0-1-15,-13-13 16,0 0 0,0 13-1</inkml:trace>
  <inkml:trace contextRef="#ctx0" brushRef="#br0" timeOffset="134912.75">24143 10358 0,'-13'0'16,"-13"0"-1,26 14-15,0-1 16,0 0-1,0 0 1,13 1-16,0-1 0,-13 0 16,0 0-1,0 1-15,-13-1 16,0-13 0,13 13-16,-14-13 0,1 0 0,0 13 15,0-13-15,-1 13 16,1-13-16,13 14 15,-13-14-15</inkml:trace>
  <inkml:trace contextRef="#ctx0" brushRef="#br0" timeOffset="141472.95">4564 11840 0,'-13'0'0,"0"0"31,39 0-15,-13 0-16,1 0 15,12 0-15,0 0 0,1 0 0,-1-13 16,14 13-16,13 0 0,0 0 16,0 0-16,0 0 0,13 0 0,-13 0 15,0 0-15,0 0 0,0 13 0,-1-13 16,-12 0-16,-13 0 0,12 0 16,-12 13-16,-1-13 0,-13 0 0,14 0 15,-14 0-15,0 0 0,1 0 0,-1 0 16,0 14-16,0-14 15,0 0-15,1 0 16,-41 13 15,14-13-31,-13 0 0,12 0 0,-12 0 16,-14 0-16,1 0 0,-1 13 0,-13-13 16,13 0-16,1 13 0,-14-13 15,26 0-15,-13 13 0,14-13 0,0 0 16,-1 0-16,1 14 0,-1-14 0,14 0 15,0 0-15,-1 0 0,1 0 16,13 13-16,-13-13 16,39 0-1,1 0-15,-1 0 0,1 0 0,13 0 16,-1 0-16,14-13 0,0 13 16,0 0-16,0 0 0,-13 0 0,13 0 15,-14-14-15,-12 14 0,12 0 0,-12 0 16,-1 0-16,1 0 0,-14-13 15,13 13-15,-12 0 0,-1 0 0,0 0 16,0 0-16,1-13 16,-41 0-1,14 0-15,0 13 16</inkml:trace>
  <inkml:trace contextRef="#ctx0" brushRef="#br0" timeOffset="142072.67">4194 11324 0,'-14'-13'0,"28"26"0,-28 0 32,14 1-32,0-1 0,0 0 15,-13 14-15,13-1 0,0 0 0,0 1 16,0-1-16,0 14 0,0-13 16,0-1-16,0 0 0,0 1 15,0-1-15,0 1 0,0-1 0,0-12 16,13 12-16,-13-13 0,0 0 0,0 1 15,0-1-15,14 0 16</inkml:trace>
  <inkml:trace contextRef="#ctx0" brushRef="#br0" timeOffset="143922.06">4141 11284 0,'26'-13'0,"-13"13"16,1 0-16,-1-13 15,13 13-15,-12 0 0,12 0 0,0-13 16,1 13-16,13 0 0,-1-13 0,14 13 16,0-14-16,-13 14 0,66-13 15,-53 13-15,13-13 0,0 13 16,0-13-16,0 13 0,-13-14 0,0 14 16,13-13-16,-13 13 0,0 0 15,0-13-15,0 13 0,0 0 0,-14-13 16,1 13-16,13 0 0,-13 0 15,-14 0-15,14 0 0,0 0 0,-14 0 16,14 0-16,-14 0 0,14 0 0,-14 0 16,1 0-16,-1 0 0,14 13 15,-14-13-15,1 0 0,-1 0 16,1 0-16,-1 0 0,14 0 0,-14-13 16,1 13-16,12 0 0,-12 0 0,-1 0 15,1 0-15,-1 0 0,1 0 16,-1 0-16,-13 0 0,14 0 15,-14 0-15,14 0 0,-14 0 0,13 0 0,-12 0 16,-1 0-16,13 0 0,-13-14 16,1 14-16,-1 0 0,0 0 0,14 0 15,-14 0-15,0 0 0,0 0 0,1-13 16,-1 13-16,0 0 16,0 0-16,0 0 0,14 0 15,-14 0 1,0-13-16,1 13 15,-1 0 1,0 0-16,0 0 31,0 0 1,-13 13-17,0 0-15,0 1 16,0-1-16,14 0 15,-14 0-15,0 1 0,0 12 0,-14-13 16,14 1-16,0 12 0,0-13 16,0 14-16,0-14 0,0 13 0,0 14 15,0-27-15,0 1 0,0 12 16,0-13-16,0 0 0,0 14 16,0-14-16,0 0 0,0 1 15,0-1-15,0 0 0,0 0 0,0 1 16,0-1-16,0 0 15,0 0-15,14-13 0,-14 13 16,0 1-16,0-1 16,0 0-16,0 0 15,0 1 32,-14-1-31,-12-13-1,13 0-15,0 0 16,-14 0-16,14 0 0,-14 0 16,1 0-16,0 0 0,-27 13 15,13-13-15,13 0 0,-25 0 0,25 0 16,-26 13-16,13-13 0,1 0 16,-1 14-16,-13-14 0,13 0 15,1 13-15,-1-13 0,0 0 0,-13 13 16,14-13-16,-1 0 0,14 13 15,-14-13-15,14 0 0,-1 13 0,-13-13 16,14 0-16,-1 14 0,1-14 0,-14 0 16,-13 13-16,27-13 15,-1 13-15,1-13 0,0 0 0,-1 0 16,1 0-16,-1 0 0,1 13 16,-1-13-16,-12 0 0,25 0 0,-12 0 15,-40 0-15,39 0 16,1 14-16,-1-14 0,-26 0 0,27 0 15,13 0-15,-14 0 0,1 0 16,-1 0-16,1 0 0,13 13 16,-14-13-16,14 0 0,-27 0 15,27 0-15,-13 0 0,12 0 0,1 0 16,0 0-16,0 0 0,-1 0 16,1 0-16,0-13 0,-13 13 0,12 0 15,1 0-15,0 0 0,0 0 0,-1 0 16,1 0-16,0 0 15,0 0-15,0 0 0,-1 0 0,1 0 16,0 0-16,0 0 0,-1 0 16,1 0-16,0 0 0,0 0 15,-1 0-15,1 0 0,-13 0 16,13 13-16,-1-13 16,-12 0-16,13 0 15,-1 0-15,1 0 16,0 0-16,0 0 15,-1 0-15,1 0 0,0 0 16,0 0-16,0 0 16,-1 0-16,1 0 15,0 0-15,0 0 16,-1 0 0,1 0-1,13 13-15,-13-13 16,0 0 15,0 0 16,26-26 62,-13 12-109,0 1 16,0-13-16,0 12 0,0-12 16,0-14-16,0 14 0,0-1 0,0 1 15,0 13-15,0-14 0,0 14 0,-13-13 16,13 12-16,0 1 0,0 0 15,0 0-15,-14-1 0</inkml:trace>
  <inkml:trace contextRef="#ctx0" brushRef="#br0" timeOffset="150370.41">13732 12568 0,'0'0'0,"26"13"15,-12-13-15,-1 0 16,13 0-16,1 0 0,12 0 15,14 0-15,-13 0 0,26 0 0,-13 0 16,26 13-16,1-13 0,-1 0 0,1 0 16,-14 0-16,13 0 0,0 0 15,-12 0-15,12 13 0,-13-13 16,0 0-16,0 0 0,-13 0 0,13 14 16,1-14-16,-14 0 0,-1 0 0,1 13 15,0-13-15,0 0 0,-13 0 16,13 13-16,0-13 0,0 0 0,0 0 15,-14 0-15,14 0 0,0 0 0,-13 0 16,-14 0-16,27 0 0,-13 0 16,-14 0-16,14 0 0,-14 0 0,14 0 15,-13 0-15,-1-13 0,0 26 0,1-26 16,-1 13-16,1 0 0,-1 0 16,1 0-16,-1 0 0,-13 0 15,14 13-15,-1-13 0,1 0 0,-14 0 16,14 0-16,-1 0 0,0 0 0,-12 0 15,12 0-15,1 0 0,-1 0 16,1 0-16,-1 0 0,0 0 0,1 0 16,-1 0-16,1 0 0,13 0 0,-14 0 15,14 0-15,-14 0 0,14 0 16,-1 0-16,-12 0 0,13 0 0,-1 0 16,1 0-16,-14 0 0,14 0 0,0 0 15,-14 0-15,14 0 0,-14 0 0,14 0 16,0 0-16,-14 0 15,14 0-15,0 0 0,-14 0 0,14 0 0,-14 0 16,14 0-16,-14 0 0,14 0 16,-13 0-16,12 0 0,-12 0 15,-1-13-15,1 13 0,12 0 0,-12 0 16,-1 0-16,1 0 0,-1 0 0,1 0 16,-1-13-16,1 13 0,-1 0 15,0 0-15,1 0 0,-1 0 0,-12-14 16,12 14-16,-13 0 0,14 0 0,-14 0 15,13-13-15,1 13 0,-14 0 16,0 0-16,14-13 0,-14 13 0,0 0 16,14-13-16,-14 13 0,0 0 0,0 0 15,1-14-15,-1 14 0,0 0 16,0 0-16,1 0 0,-1-13 16,0 13-16,0 0 0,0 0 0,-13-13 15,14 13-15,-1 0 0,0 0 0,0-13 16,1 13-16,-1 0 0,-13-13 0,13 13 15,0-14-15,0 14 0,1 0 16,-1-13-16,0 13 0,0-13 16,1 13-16,-1-13 0,0 13 15,0-14-15,1 14 0,-1-13 16,0 0-16,0 13 0,0-13 16,1-1-16,-1 1 15,0 13-15,-13-13 0,13 0 16,1 13-16,-14-13 0,13-1 15,0 1-15,-13 0 0,13 13 16,1-13-16,-14-1 0,0 1 0,13 13 16,-13-13-16,13 0 0,-13 0 15,13-1-15,-13 1 16,13 0-16,-13 0 0,0-1 16,14 1-16,-14 0 15,0 0-15,0-1 16,0 1-16,-14 0 15,14 0-15,0 0 0,0-1 16,0 1-16,-13 0 0,13 0 0,-13-1 16,13 1-16,-13 0 15,0 0-15,13-1 0,-27 1 0,14 0 16,0 0-16,-1 0 0,1-1 16,0 1-16,-14 0 0,14 0 0,-13-1 15,13 1-15,-14 0 0,14 0 16,-14 0-16,-12-1 0,12 1 0,1-13 15,-14 12-15,14 1 0,-54 0 16,41 0-16,-1-1 0,0 14 16,1-13-16,-1 0 0,0 13 0,-13-13 15,14 13-15,-1-13 0,-13 13 16,13 0-16,-13-14 0,0 14 0,14 0 16,-67-13-16,53 13 0,13 0 15,-13-13-15,0 13 0,14 0 16,-14 0-16,0 0 0,13 0 0,-13-13 15,0 13-15,14 0 0,-14 0 0,13 0 16,0 0-16,1-14 0,-1 14 16,14 0-16,-14 0 0,13 0 0,1-13 15,-14 13-15,14 0 0,-1 0 0,-12 0 16,12-13-16,1 13 0,-1 0 16,1 0-16,-1 0 0,1-13 15,-14 13-15,14 0 0,-1 0 0,1 0 16,-14 0-16,14 0 0,-1 0 0,-12-14 15,12 14-15,-13 0 0,14 0 16,-14 0-16,14 0 0,-14 0 0,14 0 16,-14 0-16,-13 0 0,13 0 0,14 0 15,-27 14-15,13-14 0,1 0 16,-14 0-16,0 0 0,13 0 0,-13 0 16,14 0-16,-1 0 0,-13 0 0,0 13 15,0-13-15,13 0 0,-12 0 16,-1 0-16,0 13 0,13-13 0,-13 0 15,0 0-15,27 0 0,-27 0 16,13 13-16,0-13 0,1 0 0,-14 0 16,13 0-16,0 14 0,1-14 15,-1 0-15,14 0 0,-1 0 0,-13 0 16,14 13-16,-14-13 0,14 0 0,-1 0 16,1 0-16,-1 0 15,14 0-15,-13 0 0,-1 0 0,14 0 16,-27 0-16,27 0 0,-26 13 15,25-13-15,1 0 0,0 0 16,0 0-16,-14 0 0,14 0 0,0 13 16,-1-13-16,1 0 0,-13 0 15,13 0-15,-1 14 0,1-14 0,-13 0 16,12 13-16,-12-13 0,13 0 16,-14 13-16,14-13 0,0 0 0,-14 13 15,14-13-15,-13 13 0,12-13 0,-12 0 16,13 14-16,-14-1 0,14-13 15,-13 13-15,12-13 0,-12 13 16,13-13-16,-27 14 0,27-14 0,-1 13 16,-12-13-16,13 13 0,0-13 15,-1 13-15,-12-13 0,13 0 0,-1 14 16,1-14-16,-13 13 0,13-13 16,-1 13-16,1-13 0,0 13 0,0-13 15,-1 13-15,-12 1 16,13-1-16,-1-13 0,14 13 15,-13-13-15,0 13 0,0 1 16,0-1-16,-1 0 16,14 0-16,0 0 0,-13 1 15,13-1-15,0 0 0,-13 0 0,13 1 16,-13-1-16,13 0 0,0 27 16,-14-14-16,14-13 0,0 14 15,0-14-15,0 14 0,0-1 0,0 14 16,0-14-16,0-13 15,0 14-15,14-14 0,-14 14 16,0 12-16,13-12 0,-13-14 16,13 13-16,0 14 0,1-13 15,-1-1-15,-13-13 0,26 14 16,-13-1-16,1-13 0,-14 1 0,13 12 16</inkml:trace>
  <inkml:trace contextRef="#ctx0" brushRef="#br0" timeOffset="157247.87">1164 10253 0,'27'13'15,"-1"-13"1,-13 0-16,1 0 0,-1 0 15,0 0-15,0 0 0,0 0 16,1 0-16,-1 0 0,0 0 16,14 0-1,-14 0-15,0 0 16,0-13 0</inkml:trace>
  <inkml:trace contextRef="#ctx0" brushRef="#br0" timeOffset="157575.6">1349 10094 0,'14'0'31,"12"13"-15,-13-13-16,1 13 0,-1-13 16,0 14-16,13-1 0,-12-13 15,-14 13-15,13-13 0,0 13 16,0-13-16,-13 13 16,14-13-16,-14 14 0,13-1 15,-26-13 1,13 13-16,-14 0 0,1-13 15,13 14-15,-13-14 0,0 13 0,-1-13 16,1 13-16,0-13 0,0 13 16,-14-13-16,14 0 0,0 0 0</inkml:trace>
  <inkml:trace contextRef="#ctx0" brushRef="#br0" timeOffset="158026.89">1072 10147 0,'0'-13'0,"-27"26"15,14-13 1,13 13-16,-13-13 0,13 13 16,-14 0-16,14 1 0,-13-14 15,13 13-15,-13 0 0,13 0 0,0 1 16,-13-1-16,13 0 15,0 0-15,0 1 0,0-1 0,0 0 16,13 0-16,-13 0 0,13 1 16,-13-1-16,13 0 15,1 0-15,-1-13 16,0 14-16,0-14 16,1 0-16,-1 0 15,0 0-15,0-14 16</inkml:trace>
  <inkml:trace contextRef="#ctx0" brushRef="#br1" timeOffset="164730.91">53 11218 0,'0'14'32,"0"-1"-17,0 0-15,0 0 16,0 0-1,0-26 64,0 0-79,0 0 15,13 0-15,-13-1 16,0 1-1,13 13 32,1 0-31,-1 13-16,0-13 31,0-13-15,-13 0-1,14 13 1,-14-13-16,0-1 0,13 1 16,-13 0-1,0 0 1,13 13 0,0 13-1,0-13 1,-13 13-16,14-13 0,-14 13 0,13 1 15,0-1 1,-13 0-16,13-13 0,-13 13 16,0 1-16,14-14 15,-14 13-15</inkml:trace>
  <inkml:trace contextRef="#ctx0" brushRef="#br1" timeOffset="165275.76">331 11126 0,'13'26'47,"0"-13"-31,-13 1-16,0-1 15,13-13-15,-13 13 16,0 0 0,0-39 15,0 13-16,0-1-15,0 1 16,0 0-16,-13 13 0,13-13 16,0-1-16,0 1 15,0 0-15,0 0 16,13 0-16,-13-1 16,14 14-16,-1 0 15,0 0-15,0 0 16,1 0-1,-1 14-15,0-1 16,-13 0 0,0 13-16,0-12 15,-13-1-15,13 0 0,-13 0 16,13 1-16,-14-1 16,1 0-16,0 0 15,13 1-15,0-1 16</inkml:trace>
  <inkml:trace contextRef="#ctx0" brushRef="#br1" timeOffset="166193.71">159 11615 0,'-13'-13'16,"-1"26"31,14 0-47,0 1 15,0-1-15,0 0 16,0 0-16,0 1 16,0-1-16,14-13 0,-14 13 15,13-13 1,0 0 0,0-13-1,-13 0 1,0-1-16,13-12 15,-26 26-15,13-13 0,0-1 16,0 1-16,0 0 16,0 0-1,13 39 32,-13-13-47,0 1 16,14-14-16,-14 13 0,13 0 15,0 0 1,0 1 0</inkml:trace>
  <inkml:trace contextRef="#ctx0" brushRef="#br1" timeOffset="166666.85">238 11470 0,'-13'0'0,"26"26"32,-13-13-17,13 1-15,-13-1 0,14 0 16,-14 0-16,0 1 15,13-14-15,-13 13 0,0 0 0,13-13 16,-13 13-16,0 0 16,13-13-1,-13-13 17,14 0-32,-1 13 15,-13-13-15,13 13 0,0 0 16,0 0-16,1-13 15,-1 13-15,0 13 16,0-13 0,1 0-16,-14 13 15,0 0-15,-14 0 16,14 1 0,-13-14-16,13 13 15,-13-13-15,0 13 16</inkml:trace>
  <inkml:trace contextRef="#ctx0" brushRef="#br1" timeOffset="166978">489 11496 0,'-13'13'0,"0"-13"16,0 14 15,26-1-15,-13 0-16,13-13 0,0 13 16,1-13-16,-14 14 15,13-14-15,-13 13 16,13-13-16,-13 13 15,0 0 1,-13-13-16,13 13 16,-13-13-16,-1 14 0,1-1 15,0-13 1,0 13-16</inkml:trace>
  <inkml:trace contextRef="#ctx0" brushRef="#br1" timeOffset="168122.95">635 11959 0,'13'13'31,"0"1"-15,1-1-16,-14 0 15,13-13-15,-13 13 0,13 1 0,-13-1 16,13-13-16,1 13 0,-1 0 16,0 0-16,0 1 15,1-14 1,-1-14 0,-13 1-1,0 0-15,0 0 16,0 0-16,0-1 0,0 1 15,-13 0-15,13 0 0,0-1 0,0 1 16,0 0-16,-14 0 0,14-1 16,0 1-16</inkml:trace>
  <inkml:trace contextRef="#ctx0" brushRef="#br1" timeOffset="168864.22">900 11906 0,'-14'-13'0,"1"39"46,13-12-46,0-1 16,0 0-16,0 0 16,0 1-1,13-1-15,-13 0 16,14-13 0,-1 0-1,0 0 1,-13-13-1,0 0 1,0-1 0,0 1-1,13 0-15,14 13 63,-27 13-63,13-13 15,-13 13-15,13-13 16,-13 14-16,13-14 16,-13-14 46,0 1-62,0 0 16,0 0-16,0-1 15,14 1 1,-1 0 15,0 0-15,0 13-16,1-13 31,-1 26 0,-13 0-15,13 0 0,-13 0-1,0 1-15,13-1 16,-13 0-16</inkml:trace>
  <inkml:trace contextRef="#ctx0" brushRef="#br1" timeOffset="169643.95">1151 11787 0,'0'27'47,"0"-14"-32,0 0-15,0 0 16,0 1-16,0-1 16,0 0-1,13-13 1,0 0 0,-13-13-1,14 13-15,-14-13 0,0-1 16,0 1-16,0 0 15,0 0 1,26 26 47,-26 0-48,13-13 1,1-13 15,-14 0 0,13 13 1,0 0-1,0-14 0,0 14 0,-13-13-15,14 26 15,-14 1-31,0-1 16</inkml:trace>
  <inkml:trace contextRef="#ctx0" brushRef="#br1" timeOffset="170308.13">1138 12224 0,'-14'0'16,"-12"13"15,13-13-31,13 13 0,-13-13 0,-1 13 15,1 1-15,13-1 0,-13-13 16,13 13-16,-13 0 16,13 1-1,13-1-15,0-13 16,0 0 0,1 0-16,-1 13 15,0-13-15,0 0 16,0 0-16,1 13 15,-1-13 1,-13 13-16,0 1 16,-13-1-1,13 0-15,-14-13 0,14 13 16,-13-13-16,0 0 0,13 14 0,-13-14 16,0 0-16,-1 13 15,1-13-15,0 0 0,0 0 16</inkml:trace>
  <inkml:trace contextRef="#ctx0" brushRef="#br1" timeOffset="171586.78">1283 12211 0,'-13'-14'31,"-13"14"-15,26 14-1,-14-14-15,14 13 0,0 0 16,-13-13-16,13 13 0,0 0 16,-13 1-16,13-1 15,0 0-15,0 0 16,13 1-1,0-1 1,1-26 0,-14-1-16,13 1 15,-13 0 1,0 0-16,0-1 16,13 1-16,-13 0 15,0 0 1,13 39 31,0-26-32,-13 13-15,0 1 16,14-1-16,-14 0 16,13-13-16,-13 13 0,13 1 15,0-1 1,1-26 15,-14-1-15,13 1-16,-13 0 15,0 0 1,0-1-16,0 1 16,0 0-16,13 13 15,-13-13-15,0 0 16,0-1-1,0 1 1,13 26 47,-13 1-63,14-14 0,-14 13 15,13-13-15,-13 13 0,13-13 16,-13 13-16,13-13 0,0 13 15,1-13 1,-1 14-16,0-14 16,0-14-1,1 14-15,-1-13 16,-13 0-16,13 13 16,-13-13-16,0 0 0,13-1 15,-13 1 1,0 0-16,0 0 15,0-1 17,14 1-17,-28 0 95,1 13-63,0 0 15,13 13-46</inkml:trace>
  <inkml:trace contextRef="#ctx0" brushRef="#br1" timeOffset="172207.7">1654 12052 0,'0'-13'0,"-14"39"63,14-13-63,0 0 15,0 1 1,0-1-16,14 0 15,-14 0 1,13-13 0,0-13-1,0 13 1,-13-13-16,14 13 16,-14-13-16,0-1 0,0 1 31,0 0-31,0 0 15,0 0 17,13-1-1,0 28-15,0-14-1,0 0 1,1 0-16,-14 13 15,13-13 1,0 0 0,0 0 15,-13-13-15,0-1-16,0 1 15,0 0 1,14 0-16,-14-1 0,13 1 31,-13 0-31,13 13 16</inkml:trace>
  <inkml:trace contextRef="#ctx0" brushRef="#br1" timeOffset="172502.86">1905 11906 0,'13'-13'15,"-13"0"1,0 0 0,-13 26 15,0 0-31,13 0 0,0 0 16,-13 1-16,13-1 15,13 0-15,-13 0 16,0 1-16,13-14 15,-13 13-15,13-13 16,0 0 0,1 0-16,-1 0 15,0 0 1,0 0 0,1 0-1</inkml:trace>
  <inkml:trace contextRef="#ctx0" brushRef="#br1" timeOffset="174203.75">238 11893 0,'-13'0'16,"26"0"-16,-13-26 47,13 26-47,1-14 0,-1 14 15,0-13-15,0 0 0,14 0 0,-14-1 16,13 1-16,1 0 0,-14 0 0,14 0 15,-14-1-15,0 1 0,13 0 16,-12 13-16,-1-13 0,0-1 16,0 14-16,1 0 0,-14-13 15,13 13-15,-26 27 47,-1-27-47,14 13 0,-13 0 16,0 0-16,0 1 0,-1-14 15,1 13-15,0 0 0,0 0 0,0 0 16,-1 1-16,1-1 0,0 0 16,0 0-16,-1-13 0,1 14 0,0-1 15,0-13-15,0 13 0,-1 0 16,1-13-16,13 13 16,-13-13-16,0 14 15,39-28 16,-26 1-15,13 13-16,1-13 0,-1 13 0,0-13 16,0 13-16,0-13 15,1-1-15,-1 1 0,0 13 0,0-13 16,1 0-16,-1-1 0,0 14 0,0-13 16,0 0-16,1 13 15,-14-13-15,13 13 0,0-13 16,0-1-1,1 14 1,-14-13 0,13 13 15,-13 13 172,0 1-187,0-1-16</inkml:trace>
  <inkml:trace contextRef="#ctx0" brushRef="#br1" timeOffset="176208.02">1296 12541 0,'-13'-13'16,"26"0"15,1 0-15,-1 13-16,-13-14 0,26 1 0,-12 0 15,-1 13-15,13-13 0,27-27 16,-26 27-16,12-14 0,-12 14 16,-1-13-16,1 12 0,-1 1 15,1 0-15,-14 0 0,13-1 0,-12 1 16,-1 13-16,0-13 0,0 0 15,0 13-15,1-13 0,-1 13 0,0-14 16,0 14 0,-26 14 31,13-1-47,-13-13 0,0 13 15,13 0-15,-14 0 0,1 1 0,0-14 16,0 13-16,0 0 0,-1 14 15,1-14-15,-13 0 0,12 0 0,1 0 16,-13 1-16,13-1 0,-1 0 16,1 0-16,0 1 0,0-14 0,-1 13 15,1 0-15,0-13 0,13 13 0,-13-13 16,-1 14-16,1-14 16,13 13-16,-13-13 0,13 13 15,-13-13-15,39 0 47,-26-13-47,13 13 16,1-13-16,-1 13 0,0-14 15,0 1-15,1 13 0,-1-13 16,13 0-16,-12 13 0,-1-14 0,0 1 16,13 0-16,-12 0 0,-1 13 0,0-14 15,0 1-15,1 13 0,-1-13 16,0 13-16,0-13 0,0 0 15,1 13-15,-1-14 16,0 14-16,-13-13 16,13 13-16,1 0 31,-14-13-15,13 13-1,-13-13 173,0-1 124,0 1-249</inkml:trace>
  <inkml:trace contextRef="#ctx0" brushRef="#br0" timeOffset="182007.8">2183 12779 0,'26'-13'15,"-13"13"1,1 0-16,-1 0 15,-13 13-15,13-13 16,-13 14-16,0-1 0,0 0 16,0 0-16,0 1 15,0-1 1,13 0-16,1-13 16,-1 0-1,0 0-15,-13 13 16,13-13-16,1 0 15,-1 13 1,-13 1 0,-13-1-16,-1 0 15,1 0 1,0-13-16,13 14 0,-13-14 16,-1 13-16,1-13 0,0 13 15</inkml:trace>
  <inkml:trace contextRef="#ctx0" brushRef="#br0" timeOffset="182326.73">2051 12647 0,'-27'0'0,"27"13"0,-26 14 16,26-14 0,-14 0-16,14 0 0,0 14 0,0-14 15,0 14-15,0-14 0,0 13 0,0 1 16,14-1-16,-14 1 0,13-14 16,-13 13-16,13-12 0,0 12 15,1-13-15,-1 14 0,0-14 0,0-13 0,14 13 16,-14 0-16,0-13 0,0 0 15,1 0-15,12 0 0,-13 0 16,0-13-16,14 13 0,-14-13 0,14 0 16,-14 0-16,0-1 0,0 1 15</inkml:trace>
  <inkml:trace contextRef="#ctx0" brushRef="#br0" timeOffset="182642.24">2249 12568 0,'13'-14'15,"-26"28"-15,53-28 0,-27 14 0,-13 14 16,26-14-16,-12 0 0,12 13 15,0 0-15,1 0 0,26 27 16,-40-27-16,14 1 0,-14-1 0,0 13 16,0-13-16,-13 14 0,13-14 0,-13 14 15,0-14-15,0 13 16,0-12-16,0 12 0,-13-13 0,0 14 16,13-14-16,-13 0 0,-14 14 0,14-27 15,0 13-15,0-13 0,-14 13 16</inkml:trace>
  <inkml:trace contextRef="#ctx0" brushRef="#br0" timeOffset="189483.14">437 12065 0,'0'13'78,"13"-13"-78,-13 13 16,0 1-16,0-1 0,13 0 0,-13 0 15,13 14-15,0 13 0,1-14 16,-1 14-16,0-14 0,0 14 0,1-1 16,-1-12-16,0 13 0,0-14 0,1 14 15,-1-14-15,13 1 0,-13-1 16,1-13-16,-14 14 0,26-1 15,-13 1-15,-13-14 0,14 0 0,-1 0 16,-13 1-16,13-1 16,-13 0-16,0 0 15,13-13-15,-13 14 16,0-1 0,14 0 30,-1-26 17,0 13-63,0 0 16,0-13-1,1 13-15,-14-14 0,13 14 0,0 0 16,0-13-16,1 13 0,-1 0 0,0-13 15,0 13-15,0-13 16,1 13-16,-1 0 0,0-14 0,0 14 16,1 0-16,-1-13 0,0 13 15,0-13-15,1 13 0,-1-13 0,0 13 16,0-13-16,0 13 0,14-14 16,-14 14-16,0-13 0,1 13 0,-1 0 15,0-13-15,0 13 0,14-13 16,-14 13-16,0 0 0,0-14 0,1 14 15,-1-13-15,0 13 0,0 0 16,1-13-16,-1 13 0,0 0 16,0-13-16,1 13 0,-1 0 0,0-14 15,0 14-15,0 0 0,1-13 0,-1 13 16,0-13-16,0 13 16,1-13-16,-1 13 0,0-13 15,0 13-15,1-14 16,-1 14-16,0-13 0,0 13 15,0-13-15,1 0 0,-1 13 16,0-14-16,0 1 0,1 13 16,-1-13-16,0 0 15,0 13-15,-13-14 0,13 14 16,1 0-16,-14-13 0,13 13 0,0-13 16,0 13-1,-13-13-15,14 13 0,-1-13 0,0 13 16,-13-14-16,13 14 0,-13-13 15,14 13-15,-1-13 16,0 13-16,-13-13 0,13 13 16,0-14-16,1 1 15,-1 13 1,-13-13-16,13 13 0,-13-13 16,13 13-16,-13-13 0,14 13 0,-14-14 15,13 14-15,-13-13 0,13 0 16,0 13-16,-13-13 0,14 13 15,-14-14-15,13 14 0,-13-13 0,13 13 16,-13-13-16,13 13 0,-13-13 16,13 13-16,-13-14 0,14 1 15,-14 0-15,13 13 16,-13-13-16,13 13 16,-13-13-16,13-1 15,-13 1-15,14 0 16,-14 0-16,0-1 15,13 14-15,-13-13 16,0-13-16,0 12 16,0 1-1,0 0-15,0 0 16,0 0-16,0-1 16,-13 14-16,13-13 0,0 0 15,-14 13-15,14-13 0,-13-1 16,13 1-16,-13 13 0,13-13 15,-13 13-15,13-13 0,-14 0 16,1 13-16,13-14 0,-13 14 0,0 0 16,13-13-16,-13 0 0,-1 0 15,1 13-15,0-14 16,0 14-16,13-13 0,-14 13 16,1-13-16,0 0 15,0 13-15,13-14 0,-14 14 16,1-13-16,0 13 15,13-13-15,-13 13 0,0-13 0,-1 13 16,14-13-16,-26-1 0,13 14 16,-1 0-16,1-13 0,0 13 15,0 0-15,-1-13 0,1 13 16,0 0-16,0 0 0,0-13 16,-14 13-1,14 0 1,0 0-16,-1 0 15,1 0-15,0 0 16,0 0-16,0-14 16,-1 14-1,1 0-15,0 0 16,0 14-16,-1-14 16,1 0-16,0 0 15,0 0-15,-1 0 16,1 0-16,0 0 15,0 0-15,0 0 16,-1 0-16,1 13 0,0-13 16,0 0-16,-1 0 15,1 0-15,0 0 16,0 13-16,-1-13 16,1 0-16,0 13 0,0-13 15,0 0-15,-1 14 0,1-14 16,0 0-16,0 13 15,-1-13-15,1 13 0,0-13 16,0 0 0,13 13-16,-14-13 0,1 0 15,13 13-15,-13-13 16,0 14-16,0-14 16,-1 0-16,1 13 15,0-13-15,0 0 16,-1 13-16,1-13 0,0 0 15,0 13-15,-1-13 16,1 0-16,0 0 0,0 14 16,0-14-16,-1 0 15,1 0-15,13 13 0,-13-13 0,0 0 16,-1 13 0,1-13-16,0 13 0,0-13 15,0 14 1,-1-14-16,1 0 15,13 13-15,-13-13 0,0 0 16,13 13-16,-14-13 0,1 13 16,0-13-1,0 13-15,-1-13 16,1 14 0,0-14-16,0 13 15,0-13 1,-1 13-16,1-13 15,13 13-15,-13-13 16,0 0-16,13 14 0,-14-14 16,14 13-1,-13-13-15,13 13 0,-13-13 16,13 13-16,-13-13 16,-1 13-16,14 1 15,-13-14-15,13 13 0,-13-13 16,13 13-16,-13 0 0,13 1 15,-13-14-15,13 13 16,-14-13-16,14 13 0,0 0 0,-13-13 16,13 14-16,0-1 15,13-13 17</inkml:trace>
</inkml:ink>
</file>

<file path=ppt/ink/ink16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3:32.372"/>
    </inkml:context>
    <inkml:brush xml:id="br0">
      <inkml:brushProperty name="width" value="0.05292" units="cm"/>
      <inkml:brushProperty name="height" value="0.05292" units="cm"/>
      <inkml:brushProperty name="color" value="#0070C0"/>
    </inkml:brush>
  </inkml:definitions>
  <inkml:trace contextRef="#ctx0" brushRef="#br0">20757 1429 0,'0'39'15,"0"-25"1,0 12-16,0-13 0,0 1 16,0-1-16,0 0 0,13 0 0,-13 1 15,0-1-15,0 0 0,0 0 16,0 0-16,0 1 16,0-1-16,0-40 31,0 14-31,-13 0 15,13-13-15,0 12 0,0 1 16,-14 0-16,14 0 0,0-1 0,0 1 16,0 0-16,0 0 15,0-1 17,27 28-17,-14-14-15,0-14 16,0 14-16,1-13 15,-1 0-15,0 0 16,-13 0-16,13 13 0,1-14 0,-14 1 16,13 13-16,-13-13 0,13 13 0,-13-13 15,13 13-15,1 0 16,-14 13-16,13-13 0,-13 13 16,13 0-16,-13 1 0,13-1 15,-13 0-15,13 0 0,-13 14 0,14-14 16,-14 0-16,0 0 0,13 1 0,-13-1 15,0 0-15,0 0 0,0 1 16,13-14-16,-13 13 0,13 0 16,1-26-1</inkml:trace>
  <inkml:trace contextRef="#ctx0" brushRef="#br0" timeOffset="433.91">21233 1376 0,'0'-13'15,"0"39"17,0-13-17,0 1-15,0-1 0,0 0 0,13 0 16,-13 0-16,0 1 0,0-1 0,0 0 16,0 0-16,13 1 0,-13-1 15,0 0-15,0 0 16,0 1-16,-13-41 31,13 1-31,0 12 16,0-12-16,-13-1 0,13 1 15,0 13-15,0-14 0,0 14 0,0-13 16,13 12-16,-13 1 0,0 0 0,0 0 16,13 13-16,0-14 0,1 14 15,-1 0-15,0 0 16,0 0-16,1 14 0,-14-1 0,13 0 15,-13 0-15,13 1 0,-13-1 16,0 0-16,0 0 0,-13 1 0,13-1 16,-13 13-16,13-13 0,-14 1 0,1 12 15,13-13-15,-13 1 0,0-1 0,-1-13 16,14 13-16,-13 0 16,0-13-16,13 14 0,-13-14 15</inkml:trace>
  <inkml:trace contextRef="#ctx0" brushRef="#br0" timeOffset="640.91">21630 1323 0,'66'-40'15,"-53"40"-15,0-13 16,1 13-16,-1 0 0,0 0 0,0-13 16,0 13-16,1 0 15,-1 0-15,-13 13 16</inkml:trace>
  <inkml:trace contextRef="#ctx0" brushRef="#br0" timeOffset="811.86">21683 1442 0,'0'0'0,"-14"0"16,54 0 15,-27-13-15,1 13-16,-1 0 0,0-13 16,0 13-16,0 0 0,1-14 0,12 14 15,-13-13-15,1 13 0,-1-13 0,0 0 16</inkml:trace>
  <inkml:trace contextRef="#ctx0" brushRef="#br0" timeOffset="1014.74">22119 1124 0,'0'-13'16,"13"40"15,-13-14-31,14 0 0,-14 14 15,0-14-15,13 0 0,-13 0 0,0 14 16,0-14-16,13 13 0,-13-12 0,0-1 16,0 0-16,0 0 0,13 1 15,-13-1-15,0 0 0,0 0 16</inkml:trace>
  <inkml:trace contextRef="#ctx0" brushRef="#br0" timeOffset="1379.8">22318 1138 0,'26'-14'0,"-52"28"0,65-28 15,-25 14-15,-1-13 0,0 26 16,0 1-1,-13-1-15,0 0 0,-13 0 16,13 1-16,-13-1 0,0 13 16,-1-12-16,14 12 0,-13-13 0,0 0 15,13 1-15,-13-1 0,13 0 16,-14 0-16,14 1 16,14-1-1,-1 0-15,0-13 0,0 0 16,-13-13-16,27 13 0,-14 0 15,0 0-15,0-13 0,14-1 0,-14 14 16,0-13-16,1 13 0,-1-13 0,0 13 16,0-13-16,0 13 0,-13-14 15,14 14-15</inkml:trace>
  <inkml:trace contextRef="#ctx0" brushRef="#br0" timeOffset="1527.17">22648 1217 0,'0'-13'31</inkml:trace>
  <inkml:trace contextRef="#ctx0" brushRef="#br0" timeOffset="2279.79">22688 1005 0,'13'-13'15,"0"13"1,1-13-16,-1 13 15,0 0 1,0 0-16,1 0 16,-1 0-16,-13 13 15,13-13-15,-13 13 0,13 1 0,-13-1 16,14 0-16,-14 0 0,0 14 16,13-14-16,-13 0 0,13 0 0,-13 1 15,0 12-15,0-13 0,13 1 16,-13-1-16,0 0 0,0 0 0,0 1 15,13-1-15,-13 0 0,0 0 16,14 0 0,-14 1-1</inkml:trace>
  <inkml:trace contextRef="#ctx0" brushRef="#br0" timeOffset="2499.78">22714 1230 0,'0'-13'0,"-13"13"31,26-13-31,1 0 0,-1 13 15,0-14-15,0 14 0,1-13 0,-1 13 16,13-13-16,-12 13 0,12 0 16,-13-13-16,14 13 0,12-14 15</inkml:trace>
  <inkml:trace contextRef="#ctx0" brushRef="#br0" timeOffset="2654.04">23178 1098 0,'0'-13'16,"13"13"31</inkml:trace>
  <inkml:trace contextRef="#ctx0" brushRef="#br0" timeOffset="3083.95">23336 966 0,'0'0'0,"13"0"0,1 0 32,-14 13-32,0 0 15,0 0-15,0 1 0,-14-1 16,14 0-16,-13 0 15,13 1-15,0-1 0,-13-13 16,13 13-16,13 0 16,0 0-16,1-13 15,-1-13-15,0 13 16,0 0-16,14 0 0,-14 0 0,0 0 16,1 0-16,-1-13 0,0 13 0,0 0 15,-13 13-15,13-13 16</inkml:trace>
  <inkml:trace contextRef="#ctx0" brushRef="#br0" timeOffset="4132.84">21960 1746 0,'53'-39'16,"-26"25"-16,-1 1 0,14 0 16,13 0-16,13-14 0,0 14 0,14-13 15,-14 12-15,0-12 0,13 13 0,1-1 16,-14 1-16,13 0 0,-13-14 0,0 14 15,1 0-15,-28 13 0,14-13 16,0 0-16,-13 13 0,-1-14 0,1 1 16,0 13-16,-14 0 0,1-13 0,-1 13 15,14-13-15,-14 13 16,1 0-16,-1-14 0,-13 14 0,14-13 16,-1 13-16,-12 0 0,12-13 0,-13 13 15,1-13-15,12 13 0,-13-14 0,14 14 16,-14 0-16,0-13 0,0 0 15,14 13-15,-14-13 0,0 0 0,0-1 16,14 1-16,-14 0 0,0 0 0,1-1 16,-1 1-16,0 0 0,0 0 15,1-14-15,-1 14 0,-13 0 0,13-14 16,-13 14-16,0 0 0,0-14 0,0 14 16,0-13-16,-13 12 0,0-12 0,-1 0 15,-12-14-15,13 13 0,-14 1 16,1 0-16,-1-14 0,-12 13 0,12 1 15,1 13-15,-14-14 0,14 1 16,-14 13-16,13-14 0,-12 14 0,-1-14 16,0 14-16,1 0 0,-1 13 15,0-13-15,-13-1 0,14 14 0,-14 0 16,0-13-16,0 13 0,0 0 0,-13 0 16,13 13-16,-26-13 0,12 0 0,-12 0 15,13 14-15,-14-14 0,14 13 16,13-13-16,1 0 0,-1 13 15,0-13-15,-13 13 0,13-13 0,-27 14 0,27-14 16,0 13-16,1-13 16,-15 13-16,1-13 0,0 13 0,13 1 15,0-14-15,14 13 0,-14 0 0,-14 0 16,15 0-16,12 1 0,-66-1 16,66 0-16,1 0 0,-1 1 15,0-1-15,1 0 0,-1 0 0,13 1 16,-12-1-16,12 0 0,-12 13 0,12-12 15,1-1-15,-14 0 0,14 0 16,-1 14-16,1-14 0,-1 0 0,1 0 16,-1 1-16,1-1 0,13 0 15,-14 14-15,1-14 0,12 13 0,-12 1 16,13-1-16,-14 1 0,14-14 16,0 13-16,0 1 0,13-1 0,-14 1 15,14-14-15,-13 13 0,13 1 0,-13-1 16,13 1-16,0-14 0,0 14 0,0-1 15,13 0-15,-13 1 0,13-1 16,-13 14-16,27 13 0,-1-13 16,-12-14-16,12 1 0,0-1 0,14-13 15,-13 14-15,12-14 16,14 13-16,0 1 0,-13-14 0,26 0 16,0 1-16,0-14 0,0 13 0,1 0 15,12-13-15,-26 0 0,13 0 0,-13 0 16,26 0-16,-13-13 0,80 0 15,-106 13-15,13-14 0,-1 14 16,-12-13-16,0 0 0,-14 13 0,1-13 16,-1 13-16,-13-14 0,14 14 15,-14 0-15,0 0 0</inkml:trace>
  <inkml:trace contextRef="#ctx0" brushRef="#br0" timeOffset="5034">22066 2408 0,'0'13'0,"-13"-13"31,26-13-15,0-1-16,-13 1 0,14 0 15,-14 0-15,0 0 0,13-1 0,-13-12 16,0 13-16,13-1 0,-13 1 16,0 0-16,0 0 0,13-1 15,-13 1-15,0 0 16,0 39 31,0-12-47,14-1 0,-1-13 15,-13 13-15,13-13 16,0 0-16,1 0 16,-1-13-16,0 13 0,-13-13 15,13-1-15,0 14 0,-13-13 0,14 13 16,-14-13-16,13 13 0,-13-13 16,13 0-1,0 26 1,-13 0-16,0 0 15,14 0-15,-14 1 0,0-1 16,13 0-16,-13 0 16,13 1-16,0-1 0,1-13 15,-1 0-15,0 0 16,0 0-16,0 0 0,1 0 0,-1-13 16,0 13-16</inkml:trace>
  <inkml:trace contextRef="#ctx0" brushRef="#br0" timeOffset="5214.81">22582 2117 0,'0'0'16,"0"-14"-16,13 14 0,-13-13 15,14 13-15,-1 0 16,-13-13-16,13 13 0,0 13 15</inkml:trace>
  <inkml:trace contextRef="#ctx0" brushRef="#br0" timeOffset="5375.22">22529 2222 0,'0'0'15,"27"0"16,-14 0-31,0 0 0,0-13 16,1 13-16,-1-13 0,0 0 0,0 13 16,14-13-16,-14 13 0,13-14 15</inkml:trace>
  <inkml:trace contextRef="#ctx0" brushRef="#br0" timeOffset="5860.19">23125 1905 0,'26'-13'15,"-13"13"-15,14 0 16,-14 0 0,0 13-16,-13 0 15,0 0 1,0 1-16,13-1 15,-13 0-15,14-13 16,-14 13-16,13-13 16,0 14-16,0-14 0,1 13 15,-1-13-15,-13 13 16,13 0-16,-26 1 31,13-1-31,-13-13 0,13 13 0,-14-13 16,14 13-16,-13-13 0,0 0 0,0 13 15,-1-13 1</inkml:trace>
  <inkml:trace contextRef="#ctx0" brushRef="#br0" timeOffset="6200.17">23469 1799 0,'13'-13'15,"0"0"1,13 26-1,-26 0-15,14-13 16,-14 13-16,0 1 0,0-1 16,0 0-16,13-13 0,-13 13 0,0 1 15,0-1-15,13 0 0,-13 0 0,0 0 16,0 1-16,13-1 16,-13 0-16,0 0 0,0 1 15,14-1-15,-14 0 16</inkml:trace>
  <inkml:trace contextRef="#ctx0" brushRef="#br0" timeOffset="6382.17">23455 1971 0,'-13'0'16,"26"-13"-16,1 0 15,-1 13-15,0-14 0,0 14 16,0-13-16,1 13 0,12-13 0,-13 0 16,14 13-16,-14-13 0,14 13 0,-14-14 15,0 14-15</inkml:trace>
  <inkml:trace contextRef="#ctx0" brushRef="#br0" timeOffset="6675.35">23905 1733 0,'0'13'31,"-13"0"-31,13 1 0,-13-14 16,13 13-16,-14 0 0,14 0 16,-13-13-16,13 14 0,-13-1 15,13 0-15,-13-13 0,13 13 0,0 1 16,0-1-16,0 0 15,0 0-15,13-13 16,0 13-16,0-13 16,1 0-16,-1 0 0,0 0 0,0 0 15,1-13-15,-1 13 0,0-13 16,0 13-16,0-13 0,1 0 16,-1-1-16</inkml:trace>
  <inkml:trace contextRef="#ctx0" brushRef="#br0" timeOffset="6861.45">23932 1773 0,'-14'13'15,"1"0"-15,13 0 0,0 1 0,0-1 16,0 0 0,0 0-16,0 1 0,0-1 0,13 0 15,-13 0-15,0 0 0,14 1 0,-14-1 16,13 0-16,-13 0 0,13 1 15,-13-1-15,13 0 0,-13 0 16,0 1-16,0-1 0,0 0 0,0 0 16</inkml:trace>
  <inkml:trace contextRef="#ctx0" brushRef="#br0" timeOffset="7121.74">22648 2474 0,'14'-13'0,"-28"26"0,54-40 0,-14 1 0,14 13 16,0-14-16,26 14 0,0-13 16,0-1-16,14 14 0,-14-14 15,13 14-15,1-13 0,-14 12 0,13 1 16,0-13-16,-12 13 0,-1-1 0,-13 1 15,0 0-15,-14 13 0,1-13 16,-14 13-16,1-14 0,-14 14 0,0 0 16</inkml:trace>
  <inkml:trace contextRef="#ctx0" brushRef="#br0" timeOffset="7401.72">22714 2461 0,'80'-27'0,"-40"14"15,-1 0-15,14-1 0,13 1 0,-13 0 16,13 0-16,133-14 16,-160 14-16,14 0 0,0 13 15,-13-13-15,0 13 0,-14-14 0,1 14 16,-14 0-16,13-13 0,-12 13 0,-1 0 15,0 0-15,0 0 0,0 0 16,1-13-16,-41 13 47,14 0-47,0 0 0</inkml:trace>
  <inkml:trace contextRef="#ctx0" brushRef="#br0" timeOffset="22167.04">20201 8744 0,'-13'-13'15,"-1"13"1,14 13 0,-13-13-16,13 14 15,-13-1-15,13 0 0,0 0 16,-13 1-16,13-1 0,0 13 0,0-12 15,-13-1-15,13 0 0,0 0 0,0 0 16,13 14-16,-13-14 0,0 0 16,13 1-16,-13-1 0,13 0 15,0-13-15,-13 13 0,14-13 0,-1 0 16,0 0-16,14 0 16,-14-13-16,-13 0 15,13 0-15,-13-1 16,0 1-1,-13 13-15,13-13 0,0 0 16,-13 13-16,-1-14 16,1 14-16,0 0 15,0 0-15,-1 14 0,1-14 16,0 13 0</inkml:trace>
  <inkml:trace contextRef="#ctx0" brushRef="#br0" timeOffset="22527.71">20346 8850 0,'14'-13'32,"-14"40"-32,0-14 15,0 0-15,0 0 16,0 0-16,13 1 15,-13-1-15,13-13 0,-13 13 0,13-13 16,1 13-16,-1-13 0,0 0 16,0 0-16,1 0 15,12 0-15,-26-13 16,13 13-16,-13-13 0,0 0 16,0-1-16,13 14 0,-13-13 15,0 0-15,-13 0 0,13 0 0,-13-1 16,13 1-16,-13 13 0,13-13 0,-13 13 15,-1-13-15,1 13 16,0 0-16,0 0 0,-1 0 0,1 0 16,0 13-16,0-13 0,-1 13 15,28-13 1</inkml:trace>
  <inkml:trace contextRef="#ctx0" brushRef="#br0" timeOffset="22809.82">20624 8797 0,'0'0'16,"14"0"-16,-14 14 16,0-1-16,13-13 15,-13 13-15,0 0 0,0 1 16,13-14-16,-13 13 0,13-13 16,-13 13-16,13-13 15,1 0-15,-1 13 0,0-13 0,0-13 16,1 13-16,-1 0 0,0-13 15,0 0 1,-13-1-16,0 1 16,0 0-16,-13 0 0,13-1 15,-13 14-15,0-13 0,-1 13 0,1 0 16,0-13-16,-14 13 0,14 0 16,0 13-16,0-13 0,-14 0 0,14 13 15,-13-13-15,12 14 0,1-1 0,0 0 16</inkml:trace>
  <inkml:trace contextRef="#ctx0" brushRef="#br0" timeOffset="23947.83">20373 9499 0,'-27'26'31,"14"-26"-31,0 13 0,0 0 16,-14 1-16,14-1 0,0 0 0,0 0 16,-1 1-16,1-1 0,0 0 0,13 0 15,-13-13-15,13 14 0,-14-1 16,14 0-16,0 0 15,0 0-15,14-13 16,-14 14-16,13-14 16,0 0-16,0 13 0,1-13 0,-1 0 15,0 0-15,14 0 0,-14 0 0,0 0 16,0 0-16,0 0 0,1 0 16,-1 0-16,0 0 0,0 0 15,1-13-15,-1 13 0,0-14 16,-13 1-16</inkml:trace>
  <inkml:trace contextRef="#ctx0" brushRef="#br0" timeOffset="24167.11">20399 9538 0,'-13'-13'0,"0"13"32,0 13-32,-1 0 0,1 1 15,13-1-15,-13 0 0,13 0 16,0 1-16,-13-1 0,13 13 15,-13-12-15,13 12 0,0-13 0,0 0 16,0 14-16,0-14 0,0 14 0,0-14 16,0 0-16,0 0 0,0 0 15,0 1-15,0-1 0,13-13 16,-13 13-16,13-13 16</inkml:trace>
  <inkml:trace contextRef="#ctx0" brushRef="#br0" timeOffset="24570.98">20492 9591 0,'13'-26'15,"0"26"1,1 0-16,-1 0 16,0 0-16,0 13 15,1-13-15,-14 13 0,13-13 16,-13 13-16,13-13 0,-13 14 15,0-1-15,0 0 0,13 0 16,-13 1-16,0-1 0,-13 0 16,13 0-16,0 0 0,0 1 15,0-1-15,0 0 16,0 0-16,0 1 0,0-1 16,13-13-16</inkml:trace>
  <inkml:trace contextRef="#ctx0" brushRef="#br0" timeOffset="25044.86">20518 9684 0,'-13'0'15,"40"-13"32,-14 13-47,13 0 0,-12 0 16,-1-14-16,13 14 0,1 0 15,-14-13-15,13 0 0,1 13 16,-1-13-16,1 13 0,-14-14 0,0 14 16,0-13-16,1 13 0,-1-13 0,0 13 15,0-13-15,-26 39 63,13-13-63,0 1 15,0-1-15,0 0 0,13-13 16,-13 13-16,14-13 0,-1 0 16,0 14-16,0-14 0,1-14 15,-1 14-15,0 0 16,0-13-16,0 0 0,1 0 15,-14-1-15,0 1 16,0 0-16,-14 13 0,14-13 16,-13 13-16,0-14 0,0 14 0,0 0 15,-1 0-15,-12 0 0,-1 0 16,14 14-16,-13-14 0,-1 13 0,14 0 16,-13 0-16,-1 1 0,14-1 15</inkml:trace>
  <inkml:trace contextRef="#ctx0" brushRef="#br0" timeOffset="25960.26">20518 10226 0,'0'13'15,"14"-13"-15,-14 14 16,0-1-16,0 0 0,0 0 16,0 1-16,0 12 0,0-13 0,0 0 15,0 14-15,0-14 0,0 0 0,0 1 16,0-1-16,-14 0 16,14 0-16,0 1 0,0-1 0,0 0 15,14 0-15,-14 0 16,13-13-1</inkml:trace>
  <inkml:trace contextRef="#ctx0" brushRef="#br0" timeOffset="26391.65">20809 10279 0,'0'-13'15,"14"13"1,-1-13-1,0 13-15,0 0 16,1 0 0,-1 0-16,-13 13 0,13-13 15,-13 13-15,13-13 0,-13 13 16,0 1-16,0-1 0,14 0 16,-14 0-16,0 0 0,0 1 15,0-1-15,0 0 0,0 0 0,0 1 16,0-1-16,0 0 0,0 0 15,0 1-15,0-1 16,0 0-16,0 0 0,0 0 16,13-13-1</inkml:trace>
  <inkml:trace contextRef="#ctx0" brushRef="#br0" timeOffset="26851.08">20823 10451 0,'-14'0'15,"41"-13"1,-14 13 0,0 0-16,1 0 0,-1-13 15,0 13-15,0 0 0,1-14 16,-1 14-16,13 0 0,-13-13 0,1 13 15,12-13-15,-13 13 0,14-13 0,-14 13 16,-13-14-16,13 14 0,1-13 16,-1 0-16,0 13 15,-39 13 17,26 0-17,0 1-15,0-1 0,0 0 16,0 0-16,13 1 15,0-1-15,0-13 0,0 13 16,1-13-16,-1 0 0,0 0 16,0 0-16,14 0 0,-14 0 15,0-13-15,0 13 0,1 0 0,-1-13 16,-13-1-16,13 14 0,-13-13 0,13 0 16,-13 0-16,0-1 0,-13 14 0,13-13 15,-13 0-15,13 0 0,-13 13 16,-14-13-16,14 13 0,0-14 0,0 14 15,-14 0-15,14 14 0,0-14 0,-14 0 16,14 13-16</inkml:trace>
  <inkml:trace contextRef="#ctx0" brushRef="#br0" timeOffset="27794.23">20902 10901 0,'0'0'0,"-26"13"16,12 0 0,1 1-16,0-1 0,0 0 0,-1 0 15,-12 0-15,13 1 0,0-1 0,-1 0 16,-12 0-16,13 1 0,13-1 16,-14 0-16,1 0 0,0 0 0,13 1 15,-13-14-15,13 13 0,0 0 16,0 0-1,13-13-15,0 0 0,-13 14 0,13-14 16,14 0-16,-14 0 0,0 0 0,14 0 16,-14 0-16,40 0 15,-40 0-15,14 0 0,-14 0 16,0-14-16,0 14 0,1 0 0,-1-13 16,0 13-16,-13-13 0</inkml:trace>
  <inkml:trace contextRef="#ctx0" brushRef="#br0" timeOffset="28027.12">20796 10941 0,'-13'0'0,"26"0"0,-26 13 0,0-13 16,13 13-16,0 0 15,0 0-15,0 1 0,0 12 0,0-13 16,0 14-16,-13-14 0,13 13 0,0 1 15,0-14-15,0 14 0,0-1 16,13-13-16,-13 14 0,0-14 0,0 0 16,0 0-16,0 1 0,0-1 0,0 0 15,13 0-15,0-13 16,-13 14-16</inkml:trace>
  <inkml:trace contextRef="#ctx0" brushRef="#br0" timeOffset="28490.97">21153 10954 0,'0'0'0,"14"0"16,-1 0-16,0 13 16,-26 0-1,0 0-15,13 1 0,-14-14 16,14 13-16,-13-13 0,13 13 15,0 0-15,0 1 16,13-14-16,-13 13 16,14-13-16,-1 13 15,0 0-15,-13 0 16,0 1 0,0-1-16,-13 0 15,0 0-15,-1 1 16,1-14-16,0 13 0,13 0 0,-13-13 15,0 13-15</inkml:trace>
  <inkml:trace contextRef="#ctx0" brushRef="#br0" timeOffset="28788.01">21272 11046 0,'14'14'31,"-14"-1"-31,0 0 16,0 0-16,13-13 0,-13 13 16,0 1-16,13-14 0,-13 13 15,13-13-15,1 13 0,-1-13 0,0 0 16,14 0-16,-14 0 0,0 0 16,0-13-16,14 0 0,-14 13 15,0-14-15,-13 1 0,13 0 0,-13 0 16,14 0-16,-14-1 0,0 1 0,-14 0 15,14 0-15,-13-1 0,13 1 0,-13 0 16,0 13-16,-1-13 0,1 13 16,0 0-16,0 0 0,-14 0 0,14 0 15,0 13-15,-14 0 0,1 0 16,13 1-16,-14-1 0,1 13 16,-1-12-16,1 12 0</inkml:trace>
  <inkml:trace contextRef="#ctx0" brushRef="#br0" timeOffset="29411.86">20796 11840 0,'13'0'16,"-26"0"-16,40 0 15,-14 0-15,-13 13 16,0 1-16,0-1 15,0 0-15,0 0 16,-13 0-16,26 1 31,0-14-31,0 0 16,-13 13-16,14-13 16,-1 0-16,0 13 0,0-13 15,-13 13-15,14 1 16,-28-1-1,14 0-15,-13-13 0,0 13 16,0 1-16,-1-14 0,1 13 16,0-13-16,0 13 0,-1-13 15,1 0-15,13 13 0,-13-13 16</inkml:trace>
  <inkml:trace contextRef="#ctx0" brushRef="#br0" timeOffset="29769.95">21048 11827 0,'13'0'0,"-26"13"32,13 0-32,-14 1 15,14-1-15,0 0 0,0 0 16,14 0-16,-14 1 15,13-1-15,0 0 16,0-13-16,1 13 0,-1-13 16,0 0-16,0 0 0,0 0 15,1-13-15,-1 13 0,0-13 16,0 0-16,-13-1 0,0 1 16,0 0-16,0 0 15,-13 0-15,13-1 0,-13 1 16,13 0-16,-13 13 0,-1-13 0,1 13 15,0-14-15,0 14 16,-14 14 0,14-1-1</inkml:trace>
  <inkml:trace contextRef="#ctx0" brushRef="#br0" timeOffset="30058.84">21272 11774 0,'14'0'0,"-1"53"31,-13-40-31,0 0 16,0 1-16,13-14 0,-13 13 16,13-13-16,-13 13 0,14-13 15,-1 0-15,0 0 0,0 0 16,1-13-16,-1 13 0,0-13 0,0 13 15,0-14-15,1 1 0,-14 0 16,13 0-16,-13-1 0,0 1 0,13 0 16,-13 0-16,-13 0 0,13-1 15,-13 14-15,13-13 0,-14 13 16,1-13-16,0 13 0,0 0 0,0 0 16,-1 0-16,1 13 0,0-13 15,0 0-15,-14 13 0,14-13 0</inkml:trace>
  <inkml:trace contextRef="#ctx0" brushRef="#br0" timeOffset="31372.07">20373 8162 0,'-13'14'31,"13"-1"-31,0 0 0,0 0 0,-14 1 16,14-1-16,0 13 0,-13-13 15,13 1-15,0-1 0,0 0 0,-13 14 16,13-14-16,0 0 0,0 0 16,-13 1-16,13-1 0</inkml:trace>
  <inkml:trace contextRef="#ctx0" brushRef="#br0" timeOffset="31585.95">20214 8215 0,'0'0'0,"27"14"31,-14-14-31,0 13 16,14 0-16,-14-13 0,0 13 0,0-13 16,14 13-16,-14 1 0,0-14 0,0 13 15,14 0-15,-14-13 0,0 13 16,1-13-16,-1 14 0,0-14 15,0 13-15,0-13 0</inkml:trace>
  <inkml:trace contextRef="#ctx0" brushRef="#br0" timeOffset="32367.12">22741 8017 0,'0'0'0,"-13"13"16,-1 0-1,14 1-15,-13-1 0,0 0 0,13 13 16,-13-12-16,0 12 0,-1-13 0,1 14 15,0-14-15,0 14 16,-1-14-16,1 13 0,0-13 0,13 1 16,-13-1-16</inkml:trace>
  <inkml:trace contextRef="#ctx0" brushRef="#br0" timeOffset="32574.69">22490 8123 0,'13'-14'32,"0"28"-17,0-1-15,0 0 0,1-13 16,-1 13-16,-13 1 0,13-1 16,0-13-16,1 13 0,-1 0 15,0 1-15,0-14 0,1 13 0,-1 0 16,0-13-16,0 0 0,0 13 15</inkml:trace>
  <inkml:trace contextRef="#ctx0" brushRef="#br0" timeOffset="32786.92">22873 8189 0,'13'-13'16,"1"13"-16,12-14 15,-13 14 1,1 0-16,-1 0 16,0 0-16,0 0 0</inkml:trace>
  <inkml:trace contextRef="#ctx0" brushRef="#br0" timeOffset="33348.93">23191 8215 0,'13'-26'47,"-13"13"-47,13-1 0,-13 1 16,0 0-16,0 0 0,0-1 0,0 1 15,13 13-15,-13-13 0,0 0 16,0 0-16,0-1 15,-26 41 32,26-14-47,0 0 16,13-13-16,-13 13 0,13 1 16,1-14-1,12 0-15,-13 0 16,1-14-16,-1 14 0,0 0 15,0-13-15,0 0 16,1 0-16,-1 13 16,0 0-1,-13 13 1,0 0 0,13 0-16,-13 1 15,0-1-15,14-13 16,-14 13-16,13-13 15,-13 13-15,13-13 0</inkml:trace>
  <inkml:trace contextRef="#ctx0" brushRef="#br0" timeOffset="34886.76">22503 8625 0,'13'-13'16,"53"13"0,-53 13-1,-13 1-15,14-1 16,-14 0-16,-14 0 0,14 1 15,-13-1-15,13 13 0,-13-13 0,13 1 16,-13-1-16,-1 0 0,1-13 16,13 13-16,-13 1 0,13-1 15,-13-13-15,13 13 16,-13 0-16,26 1 31,0-14-15,0 0-16,0 0 0,14 0 15,-14 0-15,0 0 16,1-14-16,-1 14 0,0 0 0,0 0 16,1-13-16,12 13 0,-13-13 0,0 13 15,1-13-15,12 13 0</inkml:trace>
  <inkml:trace contextRef="#ctx0" brushRef="#br0" timeOffset="35214.8">22847 8678 0,'-13'-13'15,"-1"13"1,1 13 0,0-13-16,13 14 15,0-1-15,0 0 16,0 0-16,0 0 0,13 1 16,0-14-16,-13 13 15,14-13-15,-1 0 0,0 0 16,0 0-16,0 0 0,1 0 31,-14-13-31,13-1 0,-26 1 16,13 0-1,0 0-15,-14 0 0,1 13 16,0-14 0,0 14-1,0 0 1</inkml:trace>
  <inkml:trace contextRef="#ctx0" brushRef="#br0" timeOffset="35529.83">23019 8572 0,'0'0'0,"0"-13"0,13 13 15,-13 27 16,-13-14-31,13 0 16,0 0-16,0 1 0,0-1 0,0 0 16,0 0-16,13 1 0,-13-1 15,0 0-15,13 0 0,0 0 0,1-13 16,-14 14-16,13-14 0,0 0 16,0 0-16,1 0 0,-1 0 0,0 0 15,0-14 1,1 14-1,-28-13-15,1 0 16,0 13-16,0 0 16,-1 0-16,1 0 0,0 0 15,0 0-15,-1 13 0,1-13 0,0 13 16,0-13-16,0 0 0,-1 14 0</inkml:trace>
  <inkml:trace contextRef="#ctx0" brushRef="#br0" timeOffset="39319.51">22595 9234 0,'-13'0'0,"26"0"0,1 0 47,-1-13-47,0 13 0,0 0 0,1 0 16,-1 0-16,0-13 0,0 13 0,0 0 16,1 0-1,-1 0-15,0 13 0,0-13 16,-13 13-16,14 0 0,-14 0 15,0 1-15,0 12 0,0-13 16,13 1-16,-13-1 0,0 0 0,0 0 16,0 14-16,0-14 0,-13 0 15,13 0-15,0 1 0,0-1 0,0 0 16,0 0-16,0 1 16,0-1-16,13 0 15</inkml:trace>
  <inkml:trace contextRef="#ctx0" brushRef="#br0" timeOffset="39518.73">22675 9432 0,'0'0'0,"-13"0"0,26-13 31,0 13-16,0 0-15,0 0 16,1 0-16,-1-13 0,13 13 0,-12 0 16,-1-13-16,13 13 0,1-14 0,-14 1 15,13 13-15,1-13 0,-14 0 16,14 13-16</inkml:trace>
  <inkml:trace contextRef="#ctx0" brushRef="#br0" timeOffset="39811.8">23125 9208 0,'-27'-14'31,"14"28"-15,13-1-16,-13-13 0,13 13 0,-14 0 15,14 0-15,-13 1 0,13-1 0,-13 13 16,13-12-16,0-1 0,0 0 0,0 0 16,0 0-16,0 1 0,13-1 15,0 0-15,1 0 16,-1-13-16,0 14 0,0-14 15,1 0 1,-28-27 15,1 27-31,0-13 16,0 26-16,-14-13 16,14 0-16,13 13 0,-13-13 15,0 14-15,-1-1 0,1-13 16</inkml:trace>
  <inkml:trace contextRef="#ctx0" brushRef="#br0" timeOffset="40427.33">22582 10081 0,'0'-14'15,"0"28"-15,13-28 16,1 1-16,-1 26 15,0-13-15,0 14 16,-13-1-16,0 0 16,0 0-16,0 1 0,-13-1 15,13 0-15,-13 0 0,0 0 16,-1 1-16,1-1 0,13 0 0,-13-13 16,13 13-16,-13-13 0,13 14 15,-14-1-15,41-13 31,-1 0-15,-12 0-16,-1 0 16,0 0-16,0 0 0,1 0 15,-1 0-15,0-13 0,0 13 0,0 0 16,1 0-16,-1-14 16,0 14-16,0 0 0,1-13 15</inkml:trace>
  <inkml:trace contextRef="#ctx0" brushRef="#br0" timeOffset="40771.99">22834 10001 0,'13'-13'16,"-26"26"-16,39-26 0,-13 13 0,0 0 15,1 0-15,-1 13 16,-13 0-1,0 1-15,-13-1 16,13 0-16,-14 0 0,14 1 16,-13-1-16,0 0 0,13 0 0,-13-13 15,13 14-15,0-1 0,-13-13 0,13 13 16,-14 0 0,28 0-1,-1-13 1,0 0-1,0 0-15,14 0 0,-14 0 16,0 0-16,0 0 0,1-13 16,-1 13-16,0 0 0,0 0 15,1 0-15,-1 0 16,-13-13-16</inkml:trace>
  <inkml:trace contextRef="#ctx0" brushRef="#br0" timeOffset="41134.87">23297 10014 0,'13'-13'0,"-40"26"31,27 1-31,-13-14 15,0 13-15,0-13 0,13 13 16,-14 0-16,1-13 0,13 14 0,-13-14 16,0 13-16,13 0 0,-13-13 15,13 13-15,0 1 16,13-14-16,0 13 16,0-13-16,0 0 0,1 0 15,-1 0-15,0 0 0,14 0 16,-14 0-16,0 0 0,13 0 0,-12 0 15,-1-13-15,0 13 0,0 0 16,1 0-16,-1 0 0,-13-14 0,13 14 16,0 0-16,-13-13 0,0 0 15</inkml:trace>
  <inkml:trace contextRef="#ctx0" brushRef="#br0" timeOffset="41335.67">23349 10001 0,'-13'27'16,"-13"26"0,26-40-1,-13 0-15,13 0 0,0 1 0,-14-1 16,14 13-16,0-13 0,0 1 16,0 12-16,-13-13 0,13 1 0,0-1 15,0 0-15,0 0 0,0 1 0,0-1 16,13-13-16,-13 13 0,0 0 15,14 0-15</inkml:trace>
  <inkml:trace contextRef="#ctx0" brushRef="#br0" timeOffset="42247.79">22794 10755 0,'0'-13'0,"26"13"32,-12 0-17,-1 13-15,-13 1 0,-13 12 16,13-13-16,-14 0 16,14 1-16,-13-1 15,13 0-15,-13-13 16,13 13-16,13-13 15,0 14-15,1-14 0,-1 0 16,0 0 0,0 0-16,0 13 0,1-13 15,-1 0-15,0 13 16,-26 14 0,0-27-16,13 13 15,-14-13-15,-12 13 0,13-13 0,0 13 16,-1-13-16,1 13 0,0-13 15,0 0-15,-1 0 0,1 0 16</inkml:trace>
  <inkml:trace contextRef="#ctx0" brushRef="#br0" timeOffset="42553.96">23098 10689 0,'0'0'0,"-13"13"32,13 1-32,0-1 0,-13 0 0,13 0 15,0 1-15,0-1 0,0 0 0,0 13 16,0-12-16,0-1 0,13 0 16,-13 0-16,13 1 0,0-14 15,1 13-15,-1-13 0,0 0 0,0 0 16,1 0-1,-1 0-15,-13-13 16,0-1-16,-13 14 16,13-13-16,-14 13 0,1 0 0,0 0 15,0 0-15,-1 0 0,1 13 16,0-13-16,0 14 0,-1-14 0,1 13 16,0 0-16,0 0 0,0 1 15,13-1-15</inkml:trace>
  <inkml:trace contextRef="#ctx0" brushRef="#br0" timeOffset="43659.81">23045 11576 0,'0'-14'0,"-13"1"31,0 0-31,0 13 0,13 13 16,-14-13-16,1 13 0,0-13 0,0 14 16,-1-14-16,14 13 15,-13 0-15,0 0 0,0 0 16,13 1-16,0-1 0,0 0 31,13-13-31,13-13 16,-12 13-16,-1-13 0,0-1 15,0 14-15,1-13 0,-1 13 0,0-13 16,0 13-16,0-13 16,1 26-1,-14 0-15,0 0 16,0 1-16,0-1 15,0 0-15,0 0 0,0 1 16,0-1-16,0 0 0,-14 0 0,14 1 16,0-1-16,0 0 0,-13 0 15,13 0-15,13-13 32</inkml:trace>
  <inkml:trace contextRef="#ctx0" brushRef="#br0" timeOffset="43986.76">23349 11576 0,'0'-14'0,"-13"41"31,0-27-31,13 13 0,-13-13 16,13 13-16,-13-13 0,-1 13 15,14 1-15,-13-14 0,13 13 16,-13 0-16,13 0 16,0 1-1,0-1-15,13-13 16,-13 13-16,13-13 0,1 0 16,-1 0-16,0 0 15,0 0-15,0 0 16,1 0-16,-1-13 15,0 13 1,-13-13-16,13 13 0,-13-14 16</inkml:trace>
  <inkml:trace contextRef="#ctx0" brushRef="#br0" timeOffset="44203.72">23376 11576 0,'-13'39'31,"13"-26"-31,0 1 0,0-1 16,0 0-16,0 0 0,0 14 0,0-14 15,0 14-15,0-14 0,0 13 0,0-13 16,0 1-16,0 12 0,13-13 16,-13 1-16,0-1 0,0 0 0,0 0 15,0 0-15,0 1 0,0-1 0,0 0 16,13 0-16</inkml:trace>
  <inkml:trace contextRef="#ctx0" brushRef="#br0" timeOffset="47306.02">22185 10306 0,'27'-14'32,"-14"14"-32,0 0 15,0-13-15,14 13 0,-14 0 0,14 0 16,-14-13-16,0 13 0,0 0 0,1 0 16,12 0-16,-13-13 0,0 13 15,1 0-15,-1 0 0</inkml:trace>
  <inkml:trace contextRef="#ctx0" brushRef="#br0" timeOffset="50090.97">22503 11774 0,'26'-13'32,"-13"13"-17,1 0-15,-1 0 16,0 0-16,0-13 15,1 13-15,-1 0 0,0 0 16,0 0 0,-39 13 31,13-13-32,-1 0-15,1 0 0,0 0 0,0 0 16,-1 0-16,1 13 0,0-13 15,0 0-15,-14 0 16,54-13 31,-14 13-47,0 0 16,0 0-16,1 0 0,-1 0 0,0-13 15,0 13-15,1 0 16,-1 0-16,-40 13 47,14-13-47,0 0 15,0 0-15,-1 0 16,-12 13-16,13-13 16,0 0-1,39-13 16,-13 13-31,0 0 0,1 0 0,-1-13 16,0 13-16,0 0 16,14 0-16,-14-14 15,-39 28 32,12-14-47,1 0 0,0 0 16,0 0-1</inkml:trace>
  <inkml:trace contextRef="#ctx0" brushRef="#br0" timeOffset="57562.97">24368 7924 0,'-26'40'31,"12"-27"-31,14 0 0,-13 1 16,0-1-16,13 0 0,-13 0 0,0 1 16,13-1-16,-14 13 0,1-13 0,0 1 15,13-1-15,-13 0 0</inkml:trace>
  <inkml:trace contextRef="#ctx0" brushRef="#br0" timeOffset="57796.21">24143 8043 0,'0'0'0,"13"0"16,1 0 0,12 14-16,-13-1 15,1-13-15,-1 13 0,0-13 0,0 13 16,1 0-16,-1-13 0,0 14 16,0-14-16,0 13 0,1 0 15</inkml:trace>
  <inkml:trace contextRef="#ctx0" brushRef="#br0" timeOffset="58103.93">24500 8043 0,'14'-13'31,"-1"13"-31,0 0 15,0 0-15,1 0 16</inkml:trace>
  <inkml:trace contextRef="#ctx0" brushRef="#br0" timeOffset="58729.04">24712 8109 0,'27'-13'62,"-27"0"-46,13 13-16,-13-13 16,13 0-16,-13-1 15,0 1-15,0 0 16,13 13-16,-13-13 0,0-1 0,0 1 15,0 0 1,0 53 31,0-27-31,13 0-16,-13 0 15,14-13-15,-1 0 16,0 0-1,0 0-15,-13-13 16,14 13-16,-1 0 0,-13-13 0,13 0 16,0 13-16,-13-14 15,14 14-15,-1-13 0,0 26 32,-13 1-17,0-1-15,0 0 0,0 0 16,0 1-1,0-1 1,-13-13-16</inkml:trace>
  <inkml:trace contextRef="#ctx0" brushRef="#br0" timeOffset="59166.77">24011 7845 0,'-13'13'0,"-27"67"31,40-67-31,0 13 0,0 1 16,0-14-16,0 13 0,13 1 0,-13-1 16,13 1-16,14-1 0,-14 1 0,0-1 15,14-13-15,-1 1 0,1-1 16,12 0-16,-12 0 0,-1-13 0,14 13 16,-13-13-16,12 0 0,1-13 0</inkml:trace>
  <inkml:trace contextRef="#ctx0" brushRef="#br0" timeOffset="59652.03">25003 7818 0,'13'0'0,"27"27"16,-27-14 0,0 0-16,1 1 0,-14-1 0,13 0 15,0 0-15,0 1 0,-13-1 0,14 0 16,-14 0-16,0 0 0,13 1 15,-13-1-15,0 0 16,0 0-16,0 1 0,-13-1 16,-1 0-1,1 0-15</inkml:trace>
  <inkml:trace contextRef="#ctx0" brushRef="#br0" timeOffset="59998.64">25175 7461 0,'66'13'16,"-66"1"0,13-1-16,1 0 15,-14 0-15,0 1 0,-14 12 0,14-13 16,-13 1-16,0 12 0,13-13 0,-13 0 16,0 1-16,13-1 15,-14 0-15,14 0 0,0 1 0,0-1 16,0 0-16,14-13 15,-1 13-15,0-13 16,13 0-16,-12 0 0,-1 0 0,13 0 16,-12 0-16,12-13 0,-13 13 0,1 0 15</inkml:trace>
  <inkml:trace contextRef="#ctx0" brushRef="#br0" timeOffset="71575.3">5609 10147 0,'0'-13'0,"0"-1"15,13 14-15,-13-13 0,14 13 0,-14-13 16,13 13-16,0-13 0,0 13 0,1 0 15,-1 0-15,0 0 0,0 0 16,0 0-16,1 0 0,-1 13 0,0 0 16,-13 0-16,0 1 0,-13-1 15,13 0-15,-13 0 0,-14 14 0,14-1 16,-13-13-16,12 14 0,1-14 16,-13 0-16,12 1 0,14-1 0,-13-13 15,0 13-15,13 0 0,-13-13 16,-1 13-1,41-13 1,-14 0-16,0 0 16,1 0-16,-1 0 0,0 0 0,0 0 15,1 0-15,-1-13 0,13 13 16,-13 0-16,1 0 0,-1 0 0,0 0 16,0 0-16,1 0 0,-1-13 15,0 13-15,0 0 16,1 0-16,-1 0 0</inkml:trace>
  <inkml:trace contextRef="#ctx0" brushRef="#br0" timeOffset="71956.03">6152 10094 0,'0'0'0,"-27"-13"0,1 13 15,12 13-15,1-13 16,0 13-16,0 0 0,-1 1 0,14-1 16,-13 0-16,13 0 0,-13 0 0,13 1 15,0-1 1,0 0-16,13-13 0,-13 13 0,13 1 16,1-14-16,-1 0 0,0 13 0,0-13 15,1 0-15,-1 0 0,0-13 16,0 13-16,1 0 0,-14-14 0,13 14 15,-13-13-15,0 0 0,13 13 16,-13-13-16,-13-1 0,13 1 0,0 0 16,-13 0-16,13 0 0,-14-1 0,1 1 15,0 0-15,13 0 0,-13 13 16,-1-14-16,1 1 0,0 13 16,0 0-1</inkml:trace>
  <inkml:trace contextRef="#ctx0" brushRef="#br0" timeOffset="72254.61">6310 9975 0,'-13'39'31,"13"-25"-31,-13-1 0,13 0 15,-13 14-15,13-14 0,0 13 0,0-12 16,0 12-16,0-13 0,0 0 16,13 14-16,0-14 0,0 0 0,1-13 15,-1 14-15,0-1 0,0-13 0,0 0 16,1 0-16,-1 13 0,0-13 16,0-13-16,1 13 0,-1-13 15,-13-1-15,-13 1 31,-1 0-31,1 13 0,0 0 16,0-13-16,-1 13 0,-12 0 0,0 0 16,12 0-16,-12 0 0,-1 13 15,1-13-15,-1 0 0</inkml:trace>
  <inkml:trace contextRef="#ctx0" brushRef="#br0" timeOffset="72639.75">5159 10001 0,'-26'40'0,"52"-80"0,-65 106 16,39-52-16,-14 12 0,14 1 0,0 12 16,0 1-16,0 0 0,0-1 15,0 1-15,14 0 0,-1-1 0,0 1 16,0-13-16,1 12 0,12-12 15,1-1-15,-1 1 0,0-14 0,14 13 16,0-13-16,0-13 0,-1 0 16,1 0-16,13 0 0,-14-13 0,14 13 15,14-13-15,-1-13 0,-13 12 0</inkml:trace>
  <inkml:trace contextRef="#ctx0" brushRef="#br0" timeOffset="73094.73">6588 9816 0,'27'13'15,"-54"-26"-15,67 26 0,-27-13 0,0 13 16,1-13-16,12 14 0,-13-1 0,0 0 16,1 14-16,-1-14 0,0 0 0,0 14 15,-13-1-15,14-13 0,-14 14 16,13-14-16,-13 13 0,0-12 0,0-1 16,0 13-16,0-12 0,0-1 0,0 0 15,-13 0-15,13 0 0,0 1 0,-14-14 16,14 13-16,-13-13 0,13 13 15,-13-13-15,0 0 16</inkml:trace>
  <inkml:trace contextRef="#ctx0" brushRef="#br0" timeOffset="73499.86">7051 9565 0,'27'0'0,"-14"0"0,0 13 16,0-13-16,1 13 0,-1 0 15,-13 1-15,0-1 0,0 13 16,-13-12-16,13-1 0,-14 0 15,1 0-15,0 0 0,13 1 16,-13-1-16,13 0 0,-14 0 16,14 1-16,-13-14 15,26 13 1,14-13 0,-14 0-16,0-13 15,1 13-15,-1 0 0,13 0 0,-13 0 16,1 0-16,-1-14 0,0 14 0,0 0 15,14 0 1,-14 0-16,-13 14 16,13-14-16</inkml:trace>
  <inkml:trace contextRef="#ctx0" brushRef="#br0" timeOffset="73859.59">7620 9988 0,'0'0'16,"13"26"15,-13-12-31,0-1 0,0 0 16,0 14-16,0-14 0,0 13 15,0-12-15,0 12 0,0-13 0,13 0 16,-13 14-16,0-14 0,0 0 0,0 1 15,0-1-15,0 0 0,0 0 16,0 1-16</inkml:trace>
  <inkml:trace contextRef="#ctx0" brushRef="#br0" timeOffset="74077.81">7474 10226 0,'-13'-13'0,"40"13"32,-14 0-32,0 0 0,0 0 15,1 0-15,12 0 0,-13 0 0,14 0 16,-1 0-16,-13 0 0,14 0 0,-1 0 16,1 0-16,-14 0 0,14 0 15,-1-13-15,0 13 0,-12 0 0,12 0 16,1 0-16,-14 0 0,13-14 15,1 14-15</inkml:trace>
  <inkml:trace contextRef="#ctx0" brushRef="#br0" timeOffset="74535.07">8242 9935 0,'13'-13'16,"0"13"-16,0 0 0,1 0 15,-1 0-15,0 0 0,14 0 16,-14-13-16,0 13 0,0 0 0,1 13 16,12-13-16,-13 0 0,0 0 15,1 13-15,-1-13 0,0 13 16,0 1-16,-13-1 16,14 0-16,-14 0 0,0 0 15,0 1-15,0-1 0,0 0 0,0 0 16,0 1-16,0-1 0,13 13 15,-13-12-15,0-1 0,0 0 0,0 0 16,0 0-16,0 1 0,0-1 16,0 0-16,0 0 0,13 1 15,-13-1 1</inkml:trace>
  <inkml:trace contextRef="#ctx0" brushRef="#br0" timeOffset="74743.78">8361 10160 0,'0'0'16,"0"-13"-16,13 13 16,0-13-16,1 13 0,-1 0 15,0 0-15,0 0 0,14 0 0,-14-14 16,0 14-16,14 0 0,-14 0 15,13 0-15,1-13 0,-1 13 0,-13 0 16,14-13-16,-14 13 0,14 0 16,-1-13-16,0-1 0</inkml:trace>
  <inkml:trace contextRef="#ctx0" brushRef="#br0" timeOffset="75026.63">8930 9962 0,'13'-14'15,"-26"28"-15,-1-14 47,14 13-47,-13 0 0,13 0 0,0 0 16,0 1-16,0-1 0,0 0 15,0 0-15,13 1 0,-13-1 0,14 0 16,-14 0-16,13-13 0,0 14 16,0-1-16,1-13 0,-1 0 0,0 13 15,0-13-15,-13-13 16,14 13-1,-28-13-15,14-1 16,-13 14-16,13-13 0,-13 13 16,0 0-16,-1 0 0,1-13 0,0 13 15,0 0-15,-1 0 0,-12 0 16,13 0-16,-14 0 0,14 0 0</inkml:trace>
  <inkml:trace contextRef="#ctx0" brushRef="#br0" timeOffset="75338.35">8162 9790 0,'-79'145'31,"66"-105"-31,0-1 16,-1 1-16,14 0 0,-13 0 0,13-14 15,13 0-15,-13 14 0,14-13 16,-1 12-16,0-12 0,13-1 0,1 1 16,-1-14-16,1 13 0,13-12 0,12-1 15,-12-13-15,13 0 0,0 0 0,0 0 16,-13 0-16,12-13 0,1 13 15,-13-14-15,13 1 0,-13 0 0</inkml:trace>
  <inkml:trace contextRef="#ctx0" brushRef="#br0" timeOffset="75707.07">9022 9829 0,'40'-13'31,"-27"26"-31,0-13 0,1 13 0,12 1 15,-13-1-15,1 0 0,-1 14 16,13-14-16,-12 0 0,-14 14 16,13-1-16,0-13 0,-13 14 0,0-1 15,13-13-15,-13 14 0,0-14 16,-13 0-16,13 14 0,0-14 0,-13 0 16,13 0-16,-13 1 0,13-1 0,-14 0 15,1-13-15,0 0 16,13-13-1</inkml:trace>
  <inkml:trace contextRef="#ctx0" brushRef="#br0" timeOffset="76103.6">9379 9631 0,'53'13'16,"-39"-13"-16,-14 13 16,13 1-16,-13-1 15,0 0-15,0 0 16,0 0-16,-13-13 0,13 14 15,0-1-15,0 0 0,0 0 16,0 1-16,0-1 16,0 0-16,13-13 15,0 13-15,0-13 16,1 0-16,-1 0 16,0 0-16,0 0 0,0-13 0,1 13 15,-1 0-15,0 0 0,0 0 16,1 0-16,-1 0 15,0 0-15</inkml:trace>
  <inkml:trace contextRef="#ctx0" brushRef="#br0" timeOffset="76419.66">10094 9895 0,'0'0'16,"0"14"-1,0-1-15,0 0 0,0 0 16,13 1-16,-13-1 0,0 0 0,0 13 16,0-12-16,0 12 0,13-13 0,-13 14 15,0-14-15,0 0 0,0 1 16,0-1-16,0 0 0,0 0 16,14 0-16,-14 1 0</inkml:trace>
  <inkml:trace contextRef="#ctx0" brushRef="#br0" timeOffset="76626.67">9909 10160 0,'0'-13'0,"13"13"0,0 0 16,0-13-16,1 13 0,-1 0 15,13 0-15,1 0 0,-14-14 16,13 14-16,1 0 0,-1 0 0,1 0 15,-1 0-15,1-13 0,-1 13 16,1 0-16,-14 0 0,13 0 0,-12 0 16,12 0-16,-13 0 0,0 0 0,1-13 15,12 13-15</inkml:trace>
  <inkml:trace contextRef="#ctx0" brushRef="#br0" timeOffset="77146.71">10874 9776 0,'-13'-13'16,"26"26"-16,-52-13 15,39 14-15,-14-1 0,1 0 16,0 0-16,0 14 0,13-1 0,-13-13 16,13 14-16,-14-1 0,14 1 0,0-1 15,0 1-15,0-1 0,0-13 16,0 14-16,14-14 0,-1 14 0,-13-14 15,13 13-15,0-13 0,-13 1 0,13-1 16,1 0-16,-1-13 0,0 13 16,0-13-16,1 0 0,-1 14 15,0-14-15,0 0 0,1 0 0,12 0 16,-13-14-16,14 14 0</inkml:trace>
  <inkml:trace contextRef="#ctx0" brushRef="#br0" timeOffset="77416.6">11179 10081 0,'26'0'31,"-13"0"-31,1 0 0,-1 0 16,0 0-16,0 0 0,0 0 0,1 0 15,-1 0 1,13 0-16,-12 0 0,-1 0 16,0 0-16,0 0 0</inkml:trace>
  <inkml:trace contextRef="#ctx0" brushRef="#br0" timeOffset="77994.87">11695 9935 0,'26'13'0,"-13"-13"0,1 0 0,12 40 31,-26-27-16,0 0-15,-13 1 0,13-1 0,-13 0 16,-1 0-16,1 1 0,13-1 16,-13-13-16,0 13 0,13 0 0,-14 1 15,1-1 1,26 0 15,1-13-15,-1 0-16,0 0 15,14 0-15,-14 0 16,0 0-16,0-13 0,0 13 16,1 0-16,-1-13 0</inkml:trace>
  <inkml:trace contextRef="#ctx0" brushRef="#br0" timeOffset="78316.73">12052 9948 0,'13'0'0,"-26"0"0,39 0 15,-13 0-15,1 14 16,-28-1 0,1 0-16,13 0 15,-13-13-15,0 13 0,0 1 0,-1-1 16,1 0-16,0-13 0,13 13 0,-13-13 0,13 14 15,-14-14-15,14 13 16,-13-13-16,26 13 16,1-13-1,12 0 1,-13 0-16,1 0 16,-1 0-16,0 0 0,0 0 15,0 0-15,1-13 0,-1 13 16,0 0-16</inkml:trace>
  <inkml:trace contextRef="#ctx0" brushRef="#br0" timeOffset="78623.09">12475 9948 0,'13'0'0,"-39"0"31,13 14-15,-1-14-16,14 13 0,-13-13 16,13 13-16,0 0 15,0 0 1,13 1-16,1-1 16,-1-13-16,0 13 15,0-13-15,1 0 0,-1 13 16,0-13-16,13 0 15,-12 0-15,-1 0 0,0 0 0,0 0 16,1 0-16,-1 0 16,-13-13-16,13 13 15</inkml:trace>
  <inkml:trace contextRef="#ctx0" brushRef="#br0" timeOffset="78814.96">12634 9988 0,'0'0'0,"-13"0"0,13 13 15,-14 0 1,14 1 0,-13-1-16,13 0 0,0 0 0,0 1 15,0-1-15,0 0 16,0 14-16,0-14 0,-13 0 0,13 0 16,13 0-16,-13 1 0,0-1 15,0 0-15,13 0 16</inkml:trace>
  <inkml:trace contextRef="#ctx0" brushRef="#br0" timeOffset="79216.73">12581 9644 0,'13'0'16,"-26"0"-16,66 13 0,-40-13 0,14 14 15,-1-14-15,0 26 0,14-13 0,-13 14 16,-1-14-16,1 13 0,-1 1 16,0-1-16,14 40 0,-27-39 15,1-14-15,-1 40 16,-13-40-16,0 14 0,0-14 0,0 0 0,0 14 16,0-14-16,-13 0 0,13 0 15,-14 1-15,14-1 0,-13-13 16,13 13-16,-13-13 15,0-13-15</inkml:trace>
  <inkml:trace contextRef="#ctx0" brushRef="#br0" timeOffset="79630.82">13004 9565 0,'40'0'16,"0"13"-1,-27 0 1,0-13-16,-13 13 0,27 1 0,-27 12 15,0-13 1,0 1-16,-14-1 0,14 0 0,-13 0 16,13 0-16,0 1 15,0-1-15,0 0 32,13-13-32,-13 13 15,14-13-15,-1 0 0,0 0 16,0 0-16,0 0 0,1 0 15,12 0-15,-13 0 0,1 0 0,-1 0 16,27 0-16,-27 0 0,0 0 16,0 0-16,0 0 0</inkml:trace>
  <inkml:trace contextRef="#ctx0" brushRef="#br0" timeOffset="80168.02">13613 9842 0,'0'53'31,"0"-26"-31,0-14 0,0 14 16,0-14-16,0 13 0,0 1 0,0-14 15,0 13-15,0 1 0,0-14 16,0 14-16,0-14 0,0 0 0,0 13 16,0-12-16,13-1 0</inkml:trace>
  <inkml:trace contextRef="#ctx0" brushRef="#br0" timeOffset="80380.45">13388 10147 0,'13'0'31,"0"-13"-31,1 13 0,12 0 16,1 0-16,-1 0 0,0 0 15,1-14-15,26 14 0,-14 0 0,1-13 16,13 13-16,-13-13 0,13 13 0,-14 0 16,1 0-16,-13-13 0,-1 13 0,0 0 15</inkml:trace>
  <inkml:trace contextRef="#ctx0" brushRef="#br0" timeOffset="80887.84">14208 9856 0,'13'0'16,"-26"0"-16,40 0 0,-14 0 0,0 13 15,0-13-15,-13 13 16,0 0-16,0 1 0,0-1 16,0 0-16,-13 0 0,0 1 15,0-1-15,13 0 16,-14-13-16,14 13 0,0 0 15,14-13-15,-1 14 16,0-14-16,0 0 16,1 0-16,-1 13 0,0-13 15,0 0-15,0 13 0,1-13 16,-14 13-16,13-13 0,-13 14 16,-13-1-1,-1 0-15,1 0 0,0-13 0,0 14 16,0-14-16,-14 13 0,14 0 0,0-13 15,-1 13-15,1-13 16,40-26 15,-14 13-31,0-1 0</inkml:trace>
  <inkml:trace contextRef="#ctx0" brushRef="#br0" timeOffset="81151.64">14499 9962 0,'40'-14'16,"-80"28"-16,93-41 0,-40 40 15,-13 1 1,0-1-16,0 0 16,0 0-16,0 0 15,0 1-15,14-14 0,-1 26 16,0-13-16,0-13 0,0 14 16,1-14-1,-1 0-15,0 0 0,-13-14 0,13 14 16,-13-13-1,0 0 1,-13 13-16,13-13 16,-26 13-16,12 0 0,1 0 15,0-14-15,0 14 0,0 0 0,-1 0 16,1 0-16,0 0 0</inkml:trace>
  <inkml:trace contextRef="#ctx0" brushRef="#br0" timeOffset="81418.48">14116 9657 0,'-106'146'15,"92"-107"-15,1-12 16,0 13-16,0-1 0,13 14 15,0-13-15,0 0 0,0-1 0,13 1 16,0-14-16,14 14 0,-14-13 16,13-1-16,14 1 0,-13-1 0,12-13 15,-12 0-15,12 1 0,-12-14 16,-1 13-16,14-13 0,-14-13 0,1 13 16,-1 0-16,14-14 0,0 1 0</inkml:trace>
  <inkml:trace contextRef="#ctx0" brushRef="#br0" timeOffset="81719.72">14751 9618 0,'13'0'0,"-26"0"0,39 13 15,-13-13-15,0 13 0,1 0 16,-1 1-16,0-1 0,0 13 16,1-13-16,-1 14 0,0-1 0,0 1 15,-13-1-15,0 1 0,0-1 16,0-13-16,0 14 0,0-1 0,0 1 0,0-1 16,-13-13-16,13 1 0,0 12 15,-13-13-15,13 1 0,0-1 0,0 0 16,0 0-1</inkml:trace>
  <inkml:trace contextRef="#ctx0" brushRef="#br0" timeOffset="82047.75">15068 9538 0,'26'13'16,"-52"-26"-16,66 40 0,-40-14 15,0 0-15,0 0 0,0 14 16,-14-14-16,14 0 0,-13 14 16,0-14-16,13 0 0,-13 0 15,13 1-15,-13-1 0,13 0 0,0 0 16,0 1-16,0-1 15,13-13-15,0 13 16,0-13-16,0 0 0,1 0 16,-1 0-16,13 0 0,-12 0 0,-1 0 15,0 0-15,0 0 0,1-13 0,-1 13 16,0 0-16,0 0 0,0 0 16,1 0-16</inkml:trace>
  <inkml:trace contextRef="#ctx0" brushRef="#br0" timeOffset="82946.81">15663 9803 0,'0'-13'0,"-13"-1"15,0 14 1,0 14 0,-1-1 15,41-13 391,-27 13-407,0 0-15,13 0 16,-13 1-16,0-1 0,0 0 0,0 0 16,0 1-16,0-1 0,0 0 15,0 0-15,0 1 0,13-1 0,-13 0 16,0 0-16,0 14 0,0-14 0,0 0 16,0 0-16,0 1 0,0-1 15,-13 0-15,13 0 0,0 1 16,0-1-16</inkml:trace>
  <inkml:trace contextRef="#ctx0" brushRef="#br0" timeOffset="83147.64">15465 10054 0,'40'-13'31,"-27"13"-31,0-13 15,14 13-15,-14 0 0,13 0 0,1 0 16,-1 0-16,1 0 0,12 0 16,-12 0-16,12 0 0,-12 0 15,13 0-15,-14 0 0,27-14 0,-27 14 16,14 0-16,-13-13 0</inkml:trace>
  <inkml:trace contextRef="#ctx0" brushRef="#br0" timeOffset="83991.69">16470 9909 0,'40'0'47,"-27"0"-32,0 0-15,1 0 0,-1 0 0,0 13 16,0-13-16,1 0 0,-1 0 15,53-13 1,-53 13-16,0 0 16,1 0-16,-1 0 0</inkml:trace>
  <inkml:trace contextRef="#ctx0" brushRef="#br0" timeOffset="84430.85">17039 9737 0,'-26'-14'0,"52"28"0,-66-28 16,27 14-16,-13 0 15,13 0-15,-1 0 0,1 14 0,0-14 16,0 13-16,-1 0 0,1-13 0,0 13 15,13 1-15,-13-14 0,13 13 16,0 0-16,0 0 16,13 0-16,0-13 0,0 0 15,1 0-15,-1 0 16,0 0-16,0 0 0,1-13 0,-1 13 16,0 0-16,0-13 0,0 13 0,1-13 15,-1 13-15,0 0 31,-13 13-31,0 0 0,0 0 16,0 1-16,0-1 0,0 0 0,0 0 16,0 14-16,-13-14 0,13 0 15,0 1-15,0-1 0,0 13 0,0-13 16,0 1-16,0-1 16,0 0-16,13-13 0,-13 13 0,13-13 15</inkml:trace>
  <inkml:trace contextRef="#ctx0" brushRef="#br0" timeOffset="84763.4">17423 9829 0,'0'-13'15,"-27"26"16,14 0-31,0-13 0,0 14 16,-1-14-16,1 13 0,-13 0 0,13-13 16,-1 13-16,14 1 0,-13-14 0,0 13 15,0 0-15,-1 0 16,28 1 0,-1-1-16,0-13 15,0 13-15,1-13 16,-1 0-16,0 0 0,0 0 15,0 13-15,1-13 0,-1 0 0,0 0 16,-13-13-16,13 13 16,1 0-16,-1 0 0,0-13 15,0 0-15</inkml:trace>
  <inkml:trace contextRef="#ctx0" brushRef="#br0" timeOffset="84959.17">17436 9790 0,'-26'39'31,"26"-26"-15,-14 1-16,14-1 0,-13 13 0,13-12 15,0 12-15,0-13 16,0 14-16,0-14 0,-13 13 0,13-12 0,0 12 16,0-13-16,0 1 0,0-1 15,0 0-15,0 0 0,0 1 16,0-1-16,-13-13 0,13 13 0</inkml:trace>
  <inkml:trace contextRef="#ctx0" brushRef="#br0" timeOffset="85338.45">16298 9671 0,'-26'26'0,"52"-52"0,-65 78 0,39-38 16,-14 12-16,1 1 0,13 12 15,-13 1-15,0-14 0,13 14 0,0 0 16,0-14-16,0 1 0,13 12 0,0-12 16,0-1-16,14 14 0,-1-27 15,14 14-15,13-1 0,0-13 0,0 1 16,0-14-16,0 13 0,0-13 0,-1-13 15,15 13-15,-1-14 0</inkml:trace>
  <inkml:trace contextRef="#ctx0" brushRef="#br0" timeOffset="85770.79">17568 9604 0,'80'53'32,"-67"-39"-32,-13 12 0,13 0 15,-13 1-15,13-1 0,-13 1 0,0-1 16,0 1-16,0-1 0,-13 1 0,13 12 15,0-12-15,-13-1 0,13 1 16,-13-14-16,13 13 0,-14-12 16,14-1-16,0 0 0,-13 0 0,13 1 15,-13-14-15,13 13 0</inkml:trace>
  <inkml:trace contextRef="#ctx0" brushRef="#br0" timeOffset="86361.61">17701 9379 0,'53'27'31,"-53"-14"-31,0 0 0,0 14 16,-14-14-16,14 0 0,-13 1 15,13-1-15,-13 0 0,13 0 0,-13 0 16,13 1-16,0-1 0,0 0 16,0 0-1,0 1-15,13-14 16,0 0-16,0 13 0,1-13 0,12 0 16,-13 0-16,0 0 0,1 0 15,12 0-15,-13 0 0,1 0 16,-1 0-16,0 0 0,0 0 0,1 0 15,-1 0-15,0 0 16</inkml:trace>
  <inkml:trace contextRef="#ctx0" brushRef="#br0" timeOffset="88632.61">6019 10848 0,'0'0'16,"40"0"-16,-27 0 0,0 0 0,1-13 16,-1 13-16,13 0 0,-12 0 0,12 0 15,0 0-15,-12 0 0,25 0 0,-12 0 16,-1-14-16,1 14 0,-1 0 15,1 14-15,12-14 0,-12 0 0,13 0 16,-14 0-16,14 0 0,-1 0 0,-12 0 16,13 0-16,-1 0 0,14 13 15,-26-13-15,12 0 0,-12 0 0,12 0 16,1 0-16,13 13 0,-13-13 0,-1 0 16,-12 0-16,26 0 0,-14 0 15,-12 0-15,13-13 0,-1 13 16,-12 0-16,-1 0 0,14 0 0,-14 0 15,1 0-15,-1 0 0,-13 0 16,14 0-16,-1 0 0,-12 0 0,12 0 16,1 0-16,-14 0 0,13 0 0,1 0 15,-14 0-15,13 0 0,1 0 16,-1 0-16,1 0 0,-1-13 16,1 13-16,-1 0 0,1 0 0,12 0 0,-12 0 15,-1 0-15,1 0 0,-1 0 16,1 0-16,12 0 0,-12 0 15,12 0-15,-12 0 0,-1 0 0,14 0 16,-14 0-16,14 0 0,0 0 16,-14 0-16,27 0 0,0 0 0,-13 0 15,-14 0-15,14 0 0,13 0 0,-13 0 16,-14 0-16,14 0 0,-1 0 16,1 0-16,13 0 0,-13 0 0,13-14 15,-14 14-15,1 0 0,0 0 0,13 0 16,-14 0-16,1 0 0,0 0 15,-14 0-15,14 0 0,-14 0 16,14 0-16,0 0 0,-14 0 0,14 0 16,-14 0-16,14 0 0,0 0 0,-1-13 15,14 13-15,-13 0 0,-14 0 16,14 0-16,-14 0 0,14 0 0,-13 0 16,12 0-16,1 0 0,-14 0 0,14 0 15,-13 0-15,12 0 0,-12 0 16,12-13-16,-12 13 0,13 0 0,-1 0 15,1 0-15,0 0 0,13 0 0,-14 0 16,1 0-16,0 0 0,-1 0 16,-12 0-16,12 0 0,14 0 0,-13 0 15,-13 0-15,25 0 0,-12-13 0,0 13 16,13 0-16,0 0 0,-14 0 16,14 0-16,-13 0 0,13 0 15,0-13-15,-14 13 0,14 0 0,0 0 16,0 0-16,0-14 0,0 14 15,-13 0-15,26 0 0,-13 0 0,0-13 16,0 13-16,0 0 0,-1 0 0,1-13 16,0 13-16,0 0 0,0 0 15,0 0-15,0 0 0,0-13 0,0 13 16,13 0-16,-13 0 0,0 0 16,0-14-16,0 14 0,13 0 0,-13 0 15,0 0-15,0-13 0,13 13 16,-13 0-16,0 0 0,13 0 0,-13-13 0,13 13 15,-13 0-15,13 0 0,-13 0 16,0 0-16,13-13 0,-13 13 16,13 0-16,0 0 0,-13 0 0,13-14 15,-13 14-15,13 0 0,-13 0 0,13 0 16,-13 0-16,0-13 0,13 13 16,-13 0-16,13 0 0,-13 0 0,13-13 15,-13 13-15,13 0 0,-13 0 0,13 0 16,-13-13-16,13 13 0,-13 0 15,13 0-15,1 0 0,-14-13 16,13 13-16,-13 0 0,0 0 0,-1-14 16,1 14-16,14 0 0,-28 0 15,14-13-15,0 13 0,0 0 0,0 0 16,-13 0-16,12-13 0,-12 13 0,13 0 16,-13 0-16,-14 0 0,14 0 15,-14 0-15,14 0 0,-13 0 0,12 0 16,1 0-16,-14-13 0,14 13 0,-14 0 15,14 0-15,-13 0 0,12 0 16,-12 0-16,12 0 0,-12 0 0,13 0 16,-14 0-16,14 0 0,-14 0 15,1-14-15,12 14 0,-12 0 0,-1 0 16,14 0-16,-14 0 0,1 0 16,13 0-16,-14-13 0,1 13 0,12 0 15,-12 0-15,26 0 0,-14 0 0,-12-13 16,12 13-16,1 0 0,0 0 15,-14 0-15,14 0 0,-14-13 0,1 13 16,-1 0-16,1 0 0,-1 0 0,1 0 16,-1 0-16,-13 0 0,14 0 15,-14 0-15,0 0 0,0 0 0,1-13 16,-1 13-16,0 0 0,0 0 0,1 0 16,-1 0-16,0 0 15,0 0-15</inkml:trace>
  <inkml:trace contextRef="#ctx0" brushRef="#br0" timeOffset="91435.7">3492 10954 0,'14'13'0,"-1"-13"0,0 0 15,0 0-15,1 13 0,-1-13 16,13 0-16,-12 0 0,-1 0 0,13 0 16,-13 0-16,1 13 0,-1-13 15,13 0-15,-12 0 0</inkml:trace>
  <inkml:trace contextRef="#ctx0" brushRef="#br0" timeOffset="91622.43">3559 11152 0,'0'0'15,"26"13"1,-13-13-16,1 0 15,-1 0-15,0 0 0,0 0 0,0 0 16,14-13-16,-14 13 0,0 0 0,1 0 16,-1 0-16,0 0 0,0 0 15</inkml:trace>
  <inkml:trace contextRef="#ctx0" brushRef="#br0" timeOffset="124567.1">11668 11060 0,'13'13'0,"40"-13"31,-39 0-15,-14-13-16,13 13 0,0 0 16,-53 13 15,27 0-31,0-13 0,-14 13 15,14-13-15,0 13 0,-14-13 0,14 14 16,0-14-16,0 13 0,0-13 0,-1 0 16,14 13-16,-13-13 0,13 13 15,13 1 1,1-14-16,-1 0 0,0 0 16,0 13-16,0-13 0,1 13 15,12-13-15,-13 0 0,1 13 0,-1 1 16,0-14-16,-13 13 15,13-13-15,-26 13 16,0 0-16,0-13 16,-1 13-16,1 1 0,-13-14 0,-1 13 0,1 0 15,-1-13-15,1 13 0,-1-13 0,1 14 16,-1-14-16,-12 0 0,12 13 16,1-13-16,13 0 0,-14 0 0,1 0 15,12 13-15,1-13 0,0 0 0,0 0 16</inkml:trace>
  <inkml:trace contextRef="#ctx0" brushRef="#br0" timeOffset="125675.94">19672 9009 0,'0'27'0,"0"-14"16,0 0-16,0 0 0,0 0 15,0 1-15,0-1 16,0 0-16,0 0 0,-13 1 0,13-1 16,0 0-16,0 0 0,0 1 0,-14-1 15,14 0-15</inkml:trace>
  <inkml:trace contextRef="#ctx0" brushRef="#br0" timeOffset="126107.83">19672 9750 0,'13'26'16,"-13"-12"-1,-13-1-15,0 0 0,-1 0 0,1 0 16,0-13-16,13 14 0,-13-1 0,-1 0 16,1-13-16,13 13 0,0 1 15,-13-14-15,13 13 0,-13 0 16,26 0 0,0-13-16,0 0 15,1 14-15,-1-14 0,0 0 16,0 0-16,1 0 15,-1 0-15,0 0 0,0 0 0,0 0 16,14 0-16</inkml:trace>
  <inkml:trace contextRef="#ctx0" brushRef="#br0" timeOffset="126811.82">19989 10544 0,'0'0'0,"13"0"15,-39 0 17,39 13 30,-13 0-62,0 0 16,13 1-1,-26 12-15,13-13 16,-13 0-16,0 1 16,0-1-16,13 0 15,-14-13-15,14 13 16,0 1-1,0-1 17,0 0-17,-13-13-15,0 13 16,0-13-16,13 14 16,-14-14-16,1 13 0,0 0 15,0 0-15,0 0 0</inkml:trace>
  <inkml:trace contextRef="#ctx0" brushRef="#br0" timeOffset="127426.83">20095 11179 0,'0'0'0,"-26"13"31,12 0-31,1-13 0,0 13 16,0 1-16,-1-14 0,14 13 0,-13-13 15,0 13-15,13 0 0,-13-13 16,13 13-16,-13-13 0,13 14 0,0-1 16,0 0-1,13 0-15,0-13 16,0 14-16,0-14 15,1 0-15,-1 0 0,0 0 16,0-14-16,1 14 0,-1 0 0,-13-13 0,13 13 16,0-13-16,1 0 0,-14-1 15,0 1-15,13 13 0,-13-13 16,0 0-16,0 0 0,0-1 16,0 1-1,-27 26 16,27 1-31,-13-1 0,13 0 0,0 0 16,-13-13-16,13 27 0,0-14 16,0 0-16,0 0 0,-13 14 0,13-14 15,0 0-15,0 1 0,0-1 0,0 0 16,0 13-16,0-12 0,0-1 16,0 0-16,0 0 0,0 1 15,0-1-15,0 0 0</inkml:trace>
  <inkml:trace contextRef="#ctx0" brushRef="#br0" timeOffset="127844.2">20148 11880 0,'0'0'0,"-13"-13"32,0 13-32,-1 13 15,1-13-15,13 13 16,0 0-16,0 0 15,13-13-15,-13 14 0,14-14 16,-1 13-16,0 0 0,0-13 16,-13 13-16,13 1 15,-26-1 1,0 0 0,0 0-16,0-13 0,-1 14 15,1-1-15,-13-13 0,12 13 0,-12-13 16,-1 13-16,1-13 0,0 13 15,-1-13-15,-26 14 0,14-14 0,-1 0 16</inkml:trace>
  <inkml:trace contextRef="#ctx0" brushRef="#br0" timeOffset="128768.89">4604 13004 0,'39'0'15,"-25"0"1,-1 0-16,0 0 0,0 0 0,1 0 16,12 0-16,-13 0 15,0 0-15,1 0 0,-1 0 0,-13 14 16,13-14-16</inkml:trace>
  <inkml:trace contextRef="#ctx0" brushRef="#br0" timeOffset="128947.93">4564 13256 0,'13'13'16,"1"-13"0,-1 0-16,13-13 0,-13 13 15,1 0-15,-1 0 0,13 0 16,-12-14-16,12 14 0,0-13 0</inkml:trace>
  <inkml:trace contextRef="#ctx0" brushRef="#br0" timeOffset="130463.88">6218 12819 0,'-66'40'16,"52"-27"-16,1 0 16,0 0-16,0-13 0,-1 14 15,1-1-15,0 0 0,0-13 0,-1 13 16,1-13-16,13 14 0,-13-14 0,13 13 15,-13-13-15,13 13 16,13 0-16,0-13 16,0 14-16,1-14 0,12 0 0,-13 0 15,14 0-15,-14 13 0,14-13 16,-1 0-16,0 0 0,-12 0 0,12 0 16,-13 0-16,14 0 0,-14 0 0,0 0 15,1-13-15,-1 13 16,0 0-16,0 0 15</inkml:trace>
  <inkml:trace contextRef="#ctx0" brushRef="#br0" timeOffset="130674.93">6178 12872 0,'-26'0'0,"-1"40"31,14-27-31,13 0 0,0 0 16,0 1-16,-13-1 0,13 13 0,0-12 16,0-1-16,0 13 0,-14 1 15,14-14-15,0 13 0,0-12 16,0-1-16,0 0 0,14 0 0,-1 0 16,0 1-1</inkml:trace>
  <inkml:trace contextRef="#ctx0" brushRef="#br0" timeOffset="131231.43">6562 12872 0,'0'0'0,"13"0"0,0 0 15,0 0-15,1 0 16,-14 13-16,13-13 0,-13 13 16,0 1-16,0-1 15,-13 0-15,13 0 16,-14-13-16,14 14 0,-13-1 15,13 0-15,-13-13 0,0 13 0,13 1 16,-14-14-16,14 13 0,-13 0 16,13 0-1,-13 0-15,26 1 32,0-14-32,1-14 0,12 14 15,-13 0-15,1 0 0,-1 0 16,0-13-16,0 13 0,14 0 15,-14 0-15,0-13 0,14 13 0,-14 0 16,0 0-16,0-13 0,1 13 16</inkml:trace>
  <inkml:trace contextRef="#ctx0" brushRef="#br0" timeOffset="131648.1">7038 12806 0,'-27'26'31,"14"-12"-31,0-1 0,0 0 16,-14 0-16,14 0 0,0 1 0,0-1 16,-14 0-16,14-13 0,0 13 15,13 1-15,-14-14 0,14 13 0,-13-13 16,13 13-16,-13-13 0,13 13 16,13 1-16,0-14 15,1 0-15,-1 0 16,0 13-16,0-13 0,14 0 15,-14 0-15,0 0 0,14 0 16,-14-13-16,13 13 0,-12 0 0,-1 0 16,0 0-16,14 0 0,-14-14 0,0 14 15,0-13-15,1 13 0,-14-13 16,13 0-16</inkml:trace>
  <inkml:trace contextRef="#ctx0" brushRef="#br0" timeOffset="131846.95">7104 12793 0,'0'0'0,"-26"-14"0,12 14 15,1 14-15,0-14 16,13 13-16,-13-13 16,13 13-16,-14 0 0,1 1 0,13-1 0,-13 0 15,13 0-15,-13 0 0,13 14 16,-13-14-16,13 0 0,0 14 16,0-14-16,0 0 0,0 1 0,0-1 15,0 0-15,0 0 0,0 0 0,0 1 16,13-1-16,-13 0 0,13-13 15,0 13-15,0-13 0,1 0 16,-1 0-16</inkml:trace>
  <inkml:trace contextRef="#ctx0" brushRef="#br0" timeOffset="132243.75">7302 12806 0,'14'-13'32,"-1"26"-32,-26 0 15,13 0-15,-14-13 16,14 14-16,0-1 0,-13 0 15,13 0 1,13 0-16,-13 1 16,14-14-16,-14 13 0,13 0 15,-13 0-15,13-13 16,-13 14-16,0-1 16,0 0-16,-13 0 15,-14 14 16,14-14-31,40-26 32,-14 0-32</inkml:trace>
  <inkml:trace contextRef="#ctx0" brushRef="#br0" timeOffset="132528.07">7580 12766 0,'-26'13'31,"26"1"-31,-13-14 0,13 13 0,0 0 16,-14 0-16,14 1 0,0-1 0,0 0 15,0 0-15,0 0 16,0 1-16,14-1 0,-1 0 0,-13 0 16,13-13-16,0 14 15,-26-28 63,0 14-62</inkml:trace>
  <inkml:trace contextRef="#ctx0" brushRef="#br0" timeOffset="132886.68">8083 12819 0,'-26'40'31,"26"-27"-31,0 0 0,0 0 0,0 1 0,0-1 16,0 0-16,0 0 0,0 14 16,0-14-16,0 0 0,0 1 15,0-1-15,0 0 0,0 0 0</inkml:trace>
  <inkml:trace contextRef="#ctx0" brushRef="#br0" timeOffset="133118.37">7885 12938 0,'39'27'16,"-25"-27"-1,12 0-15,0 13 16,-12-13-16,12 0 0,1 0 0,-1 0 15,0 0-15,1 0 0,-14 0 0,14 0 0,-1 0 16,-13 0-16,14 0 16,-1 0-16,1 0 0</inkml:trace>
  <inkml:trace contextRef="#ctx0" brushRef="#br0" timeOffset="134023.68">9022 12726 0,'14'0'16,"-1"-13"-16,0 13 15,0 0-15,0-13 16,-39 39 31,13-26-47,0 14 16,-1-14-16,14 13 0,-13-13 0,0 0 15,13 13-15,-13-13 0,-1 13 16,1 1-1,26-1 1,1-13-16,-1 13 0,0-13 16,-13 13-16,13-13 0,1 14 15,-1-1-15,-13 0 0,13-13 16,-13 13-16,13 0 0,-26 1 16,13-1-1,-13 0-15,0 0 16,-1-13-16,1 14 0,0-14 0,-14 13 15,14-13-15,-13 13 0,12-13 16,-12 0-16,13 13 0,0-13 0,-1 0 16,1 0-16,0 0 0,0 0 0,-1 0 15</inkml:trace>
  <inkml:trace contextRef="#ctx0" brushRef="#br0" timeOffset="134484.84">9247 12740 0,'-13'0'0,"26"0"0,0-14 32,1 14-32,-1 0 15,0 0-15,0 0 0,1 0 16,-1 0-16,0 0 0,0 0 15,0 0-15,1 0 0,-1 0 0,-13 14 16,13-14-16,0 13 0,1 0 16,-14 0-16,0 1 15,13-1-15,-13 0 0,0 0 0,13 14 16,-13-14-16,0 0 0,0 0 0,0 1 0,0-1 16,0 0-16,0 0 15,0 1-15,0-1 0,0 0 16,0 0-16,0 1 0,0-1 15</inkml:trace>
  <inkml:trace contextRef="#ctx0" brushRef="#br0" timeOffset="134670.6">9366 12938 0,'-13'0'15,"53"0"17,-27 0-32,0 0 0,0 0 0,1 0 15,-1 0-15,13 0 0,-12 0 0,12 0 16,-13 0-16,14 0 0,-14 0 16,13-13-16,-12 13 0,12 0 0,-13 0 15</inkml:trace>
  <inkml:trace contextRef="#ctx0" brushRef="#br0" timeOffset="134971.87">9803 12674 0,'0'0'16,"13"-14"-1,0 14-15,0 14 16,1-14-16,-14 13 0,13-13 16,0 13-16,-13 0 0,13 0 15,-13 14-15,14-14 0,-1 0 0,-13 14 16,0-14-16,13 0 0,-13 14 0,0-14 16,0 0-16,0 0 0,0 1 15,0-1-15,0 0 0,13 0 0,-13 1 16,0-1-16,0 0 0,0 0 15,0 1-15</inkml:trace>
  <inkml:trace contextRef="#ctx0" brushRef="#br0" timeOffset="135158.79">9750 12938 0,'-13'0'0,"52"0"32,-25 0-17,12 0-15,0-13 0,-12 13 16,12 0-16,1-13 0,-1 13 0,1-14 16,-1 14-16</inkml:trace>
  <inkml:trace contextRef="#ctx0" brushRef="#br0" timeOffset="135458.89">10266 12700 0,'-40'13'15,"40"0"-15,-13 1 16,0-1-16,13 0 0,-14 0 16,1 1-16,13-1 0,0 13 0,-13-12 15,13-1-15,0 0 0,0 0 0,13 0 16,-13 1-16,13-1 0,-13 0 15,14-13-15,-1 0 0,-13 13 16,13-13-16,0 0 16,-13-13-1,-13 0 1,13 0-16,-13 13 16,0 0-16,-1-14 0,1 14 0,0 0 15,0 0 1,0 0-16</inkml:trace>
  <inkml:trace contextRef="#ctx0" brushRef="#br0" timeOffset="135687.38">10835 12660 0,'-27'40'0,"54"-80"0,-54 93 0,14-40 15,13 1-15,-13 12 0,13 1 0,-13-14 16,13 13-16,0-12 0,0 12 0,0-13 16,0 0-16,-14 14 0,28-14 15,-14 0-15,0 1 0,0-1 16</inkml:trace>
  <inkml:trace contextRef="#ctx0" brushRef="#br0" timeOffset="135926.56">10478 12872 0,'52'13'32,"-38"-13"-32,12 0 0,-13 0 15,14 0-15,-1 0 0,-13 0 16,14 0-16,-1 0 0,-12 0 0,12 0 16,1 0-16,-1 0 0,0-13 15,-12 13-15,12 0 0</inkml:trace>
  <inkml:trace contextRef="#ctx0" brushRef="#br0" timeOffset="137491.73">11470 12607 0,'13'-13'0,"0"13"16,0 0-1,-52 0 17,25 13-32,1-13 0,0 14 15,0-14-15,0 0 16,-1 13-16,1 0 0,0-13 16,13 13-16,-13-13 15,13 14-15,13-1 16,0 0-16,0 0 15,1 0-15,-1-13 0,0 14 0,-13-1 16,13-13-16,0 13 0,-13 0 16,14-13-16,-14 14 0,0-1 0,0 0 15,0 0-15,0 1 0,-14-14 16,1 13-16,0 0 0,-13 0 16,12 0-16,-12 1 0,13-1 15,-14-13-15,14 13 0,-14-13 0,14 13 16,0-13-16,0 0 0,0 0 0,-1 0 31,28-26-15,-1 13-16,0-1 0</inkml:trace>
  <inkml:trace contextRef="#ctx0" brushRef="#br0" timeOffset="137787.28">11483 12753 0,'13'0'0,"-26"0"15,39 13 1,-26 0-1,0 1-15,0-1 16,14-13-16,-14 13 0,13 0 16,0 1-16,0-14 0,1 13 15,-1-13-15,0 0 0,13 0 0,-12 0 16,-1-13-16,13 13 0,-12 0 16,-1-14-16,0 14 0,0-13 0,-13 0 15,14 13-15,-14-13 0,0-1 0,0 1 16,-14 0-16,14 0 0,-13 13 15,0-14-15,0 14 0,-1-13 16,1 13-16,0 0 0,0 0 0,-1 0 16,1 0-16,0 0 0,0 0 0,0 0 15</inkml:trace>
  <inkml:trace contextRef="#ctx0" brushRef="#br0" timeOffset="137998.79">11800 12568 0,'27'-14'16,"-54"28"-16,67-28 0,-27 28 31,-13-1-31,0 0 16,-13 0-16,13 1 0,0 12 0,0-13 0,0 14 16,0-14-16,0 13 15,-13-12-15,13 12 0,0-13 0,0 14 16,0-14-16,0 0 0,0 1 0,0-1 15,0 0-15,13 0 0,-13 0 0,0 1 16,13-14-16,1 13 16,-1-13-16,13 0 0,-13-13 15</inkml:trace>
  <inkml:trace contextRef="#ctx0" brushRef="#br0" timeOffset="138426.15">12025 12568 0,'0'-14'32,"14"14"-32,-1 0 15,0 14 1,0-14-16,0 13 0,1 0 16,-14 0-16,13 1 0,-13-1 0,13 13 15,-13-12-15,0-1 0,0 0 16,0 0-16,0 0 0,13 14 0,-26-14 15,13 0-15,0 1 0,0-1 0,0 0 16,0 0-16,0 1 0,0-1 16,0 0-16,0 0 15,13 0-15</inkml:trace>
  <inkml:trace contextRef="#ctx0" brushRef="#br0" timeOffset="138855.72">11972 12779 0,'-13'0'15,"26"-13"17,14 13-32,-14 0 15,0-13-15,14 13 0,12-13 16,1-1-16,-13 1 0,12 0 15,-12 0-15,12 0 0,-12-1 0,13 1 16,-14 0-16,-13 0 0,14-1 16,-14 1-16,0 0 0,0 0 0,1-1 15,-14 1 1,-14 26 0,1 1-1,0-1-15,0 0 0,13 14 0,-14-14 16,1 0-16,13 0 0,-13 14 0,13-14 15,26 40 1,-26-40-16,14-13 0,-1 13 16,0-13-16,0 14 0,1-14 15,-1 0-15,0 0 16,0-14 0,-13 1-1,-13 0-15,0 13 16,0 0-1,-1 0-15</inkml:trace>
  <inkml:trace contextRef="#ctx0" brushRef="#br0" timeOffset="139523.71">13295 12462 0,'0'0'16,"-13"40"-1,13-27-15,-13 0 0,13 13 0,0 1 16,0-14-16,0 14 0,0-1 16,0 1-16,0-1 0,13 0 0,-13-12 15,0 12-15,0-13 0,0 14 0,0-14 16,0 0-16</inkml:trace>
  <inkml:trace contextRef="#ctx0" brushRef="#br0" timeOffset="139728.74">13110 12674 0,'-13'0'16,"39"13"15,-12-13-31,12 0 0,0 0 16,1 0-16,-1 0 0,1 0 0,13 0 0,12 13 15,-12-13-15,-13 0 0,12-13 16,14 13-16,-13 0 0</inkml:trace>
  <inkml:trace contextRef="#ctx0" brushRef="#br0" timeOffset="140096.76">14155 12541 0,'-13'27'31,"13"-14"-31,0 13 0,0-12 16,0 12-16,0-13 0,0 14 16,0-14-16,-13 13 0,13 1 0,0-14 15,13 14-15,-13-14 0,0 13 16,0-12-16,0-1 0,0 0 0,0 0 15,0 0-15,13 1 0</inkml:trace>
  <inkml:trace contextRef="#ctx0" brushRef="#br0" timeOffset="140486.66">14327 12554 0,'13'0'0,"-26"0"0,53 0 16,-27 0-16,-13 14 0,13-14 16,-13 13-16,0 0 15,0 0-15,0 1 0,-13-1 0,13 13 16,-13-12-16,0 12 0,-1-13 0,1 0 15,0 14-15,0-14 0,0 0 16,-1 1-16,14-1 0,-13-13 16,13 13-16,-13-13 0,13 13 15,-13 1-15,26-14 32,0 0-32,0 0 15,1 0-15,-1 0 0,0 0 16,0 0-16,14 0 0,-14 0 15,0-14-15,0 14 0,14 0 0,-14 0 16,13-13-16,-12 13 0,-1-13 0,0 13 16,0 0-16</inkml:trace>
  <inkml:trace contextRef="#ctx0" brushRef="#br0" timeOffset="140951.78">14817 12528 0,'-40'13'16,"14"-13"-16,12 13 0,1-13 15,0 14-15,-14-1 0,14 0 0,13 0 16,-13 1-16,0-14 0,13 13 0,0 0 16,0 0-1,0 1-15,13-14 0,0 0 0,0 0 16,1 0-16,-1-14 0,13 14 0,1-13 16,-14 0-16,13 0 0,-12-1 15,-1 14-15,0-13 0,0 13 0,1-13 16,-1 13-16,-13-13 0,13 13 0,0 13 15,-13 0 1,0 0-16,-13 1 0,13-1 16,0 13-16,0 1 0,-13-14 0,13 13 15,-13 1-15,13-1 0,-14 1 0,14-14 16,0 0-16,-13 14 16,13-14-16,0 0 0,0 0 0,13-13 15,-13 14-15,14-14 0,12-14 16,0 1-16</inkml:trace>
  <inkml:trace contextRef="#ctx0" brushRef="#br0" timeOffset="141232.03">15253 12528 0,'-13'0'0,"-53"40"31,53-27-31,-1 0 0,1 14 0,0-14 16,0 13-16,-1 1 0,1-1 15,13-13-15,0 14 0,0-14 0,0 0 16,13 1-16,-13-1 0,14 0 16,-1-13-16,-13 13 0,13-13 0,0 0 15,1 0-15,-1 0 0,0 0 16,0-13-16,-13 0 16,0 0-16,-13-1 15,0 14-15,0-13 0,-1 13 16,1 0-16,0-13 0,0 13 0,-1 0 15,-12 0 1</inkml:trace>
  <inkml:trace contextRef="#ctx0" brushRef="#br0" timeOffset="141510.96">15729 12528 0,'0'26'31,"0"-12"-31,0 12 16,-13-13-16,13 14 0,0-14 0,0 14 15,0-1-15,0 0 0,0-12 0,0 12 16,0 1-16,0-14 0,0 0 16,0 0-16,0 14 0,0-14 0,0 0 15,0 0-15</inkml:trace>
  <inkml:trace contextRef="#ctx0" brushRef="#br0" timeOffset="141719">15518 12766 0,'40'-13'31,"-27"13"-31,13 0 16,-13 0-16,14 0 0,-1 0 0,1 0 15,12 0-15,-12 0 0,-1 0 16,14 0-16,-13-13 0,-1 13 15,0 0-15,1 0 0,-1 0 0,14 0 16,-13-14-16</inkml:trace>
  <inkml:trace contextRef="#ctx0" brushRef="#br0" timeOffset="142743.81">17079 12594 0,'-66'-26'32,"52"26"-32,-12 0 0,13 0 15,0 0-15,-1 0 16,1 0-16,13 13 16,-13-13-16,26 13 0,-13 0 15,0 1-15,13-1 0,1 0 0,-1 0 16,0 1-16,0 12 0,0-13 15,-13 0-15,14 1 0,-1-1 16,-13 0-16,0 0 0,0 1 0,-13-1 16,-1 0-16,1 0 15,0-13-15,0 0 0,0 0 16,-14 0-16,14 0 16,0-13-16,-1 13 15,14-13-15,0 0 16,14-1-16,-1 1 15,0 0-15,0 13 0,1-13 16,12-1-16,-13 1 0,0 0 0,14 0 16,-14 0-16,0-1 0,1 14 15,-1-13-15,0 0 0,0 0 0,-13-1 16,0 1-16,0 0 0,0 0 16,0-1-16,-13 14 15,0-13-15,0 13 0,-1-13 16,1 13-16,0 0 0,-14 0 15,14 13-15,0-13 0,0 0 16,0 0-16,13 13 0,-14-13 16</inkml:trace>
  <inkml:trace contextRef="#ctx0" brushRef="#br0" timeOffset="143176.59">17264 12515 0,'27'26'31,"-27"-13"-31,13 1 0,-13-1 0,13 0 16,-13 0-16,13 1 0,-13-1 16,0 13-16,0-12 0,0-1 0,0 0 15,0 0-15,0 0 0,-13 1 16,13-1-16,-13 0 0,13 0 15,-13-13-15,-1 14 16,1-14-16,13-14 31,13-12-31,1 26 0,-14-13 16,13-1-16,0 1 0,0-13 16,0 13-16,-13-1 0,14 1 0,-1-13 15,0 12-15,-13 1 0,0 0 16,13 0-16,-13-1 0,0 1 15,0 0-15,0 0 0,-13 13 0,13-13 16,-13-1-16,0 14 0,-1 0 0,1-13 16,0 13-16,0 0 0,0 0 15,-1 0-15,1 0 0,0 13 0,0-13 16,-1 0-16,1 14 0,0-14 16,13 13-16</inkml:trace>
  <inkml:trace contextRef="#ctx0" brushRef="#br0" timeOffset="143622.6">17582 12449 0,'39'26'31,"-39"-13"-31,0 1 16,0-1-16,0 0 0,-13 0 15,0 0 1,13 1-16,0-1 15,0 0 1,13-13-16,-13 13 16,13 1-16,-13-1 15,13-13-15,-13 13 0,0 0 16,0 1-16,0-1 16,-13-13-16,13 13 0,-13-13 15,13 13-15,-13-13 0,0 13 16,-1-13-16,1 14 0,0-14 0,0 13 15,-1-13-15,1 0 16,13-13 0,0-1-1</inkml:trace>
  <inkml:trace contextRef="#ctx0" brushRef="#br0" timeOffset="143944.03">17886 12382 0,'-27'40'31,"14"-27"-31,13 1 0,0 12 16,-13-13-16,13 1 0,0 12 0,0-13 16,0 14-16,0-14 0,13 0 15,0 0-15,-13 1 0,14-1 0,-1 0 16,0 0-16,0-13 0,1 0 0,-1 0 15,0 0-15,13 0 16,-26-13-16,0 0 16,0 0-16,-13 13 15,0-14-15,0 14 0,-14 0 16,14 0-16,-13 0 0,-1 0 0,1 0 16,-14 0-16,14 14 0,-14-14 0,0 13 15,0 0-15,1-13 0,-1 13 16,-13 1-16</inkml:trace>
  <inkml:trace contextRef="#ctx0" brushRef="#br0" timeOffset="145240.73">6284 13335 0,'-13'13'16,"26"-26"-16,-13 39 16,13-26-16,0 0 0,14 0 15,-14 0-15,13 14 0,14-14 0,-13 0 16,26 0-16,-1 0 0,15 0 0,-14-14 16,26 14-16,0 0 0,1 0 15,12 0-15,-12 0 0,-1 0 0,14 0 16,-14 0-16,0-13 0,1 13 0,12 0 15,-12 0-15,12 0 0,-12 0 16,12 0-16,-12-13 0,12 13 16,-12 0-16,-1 0 0,14 0 0,-14 0 15,14 0-15,-14 0 0,-13 0 16,13 0-16,1 0 0,-1 0 0,1 0 16,-1-13-16,0 13 0,-26 0 0,27 0 15,-14 0-15,0 0 0,-13 0 16,26-13-16,-13 13 0,14 0 0,-14 0 15,0-14-15,-13 14 0,13 0 0,-13 0 16,13 0-16,-13 0 0,0 0 16,13 0-16,-13 0 0,13 0 0,0 0 15,-13 0-15,27 0 0,-27-13 0,13 13 16,0 0-16,0 0 0,0 0 16,14 0-16,-1-13 0,-13 13 0,13 0 15,-12 0-15,12 0 0,0 0 16,-13 0-16,14-13 0,-1 13 0,1 0 15,-1 0-15,0 0 0,-13 0 16,14 0-16,-1 0 0,1 0 16,-1 0-16,14 0 0,356-14 31,-250 14-31,-93 0 0,-1 0 0,1 0 16,0 0-16,26 0 0,-26 0 15,0 0-15,40 0 0,-41 0 0,28 0 16,-1 0-16,-26 0 0,0 14 0,39-14 15,-12 0-15,-1 0 0,-26 0 16,-1 0-16,28-14 0,-1 14 0,14 0 16,-14 0-16,-26 0 0,26 0 15,0 0-15,1 0 0,-1-13 0,-26 13 16,0 0-16,26 0 0,0-13 0,-26 13 16,0 0-16,0 0 0,-14-13 15,1 13-15,-1 0 0,-12 0 0,-1 0 16,-13 0-16,-13-14 0,0 14 0,-13 0 15,-14 0-15,-12 0 0,-1 0 16,0 0-16</inkml:trace>
  <inkml:trace contextRef="#ctx0" brushRef="#br0" timeOffset="145991.9">12197 13679 0,'14'0'0,"-28"0"0,41 0 0,-54 0 63,14 0-63,0 13 0,0-13 15,-1 0-15,1 13 16,26 1-1,-13-1 1,14-13-16,-1 13 0,0-13 0,0 13 16,1-13-16,-14 14 0,13-14 15,0 13-15,0-13 0,0 13 16,-13 0-16,14-13 16,-28 27-1,1-27-15,0 13 0,-13 0 0,-14 0 16,0 1-16,0-1 0,1 0 0,-1 0 15,0 1-15,1-1 0,-1 0 16,14-13-16,-1 13 0,1-13 0,-1 0 16,1 0-16,-1 0 0</inkml:trace>
</inkml:ink>
</file>

<file path=ppt/ink/ink16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6:04.094"/>
    </inkml:context>
    <inkml:brush xml:id="br0">
      <inkml:brushProperty name="width" value="0.05292" units="cm"/>
      <inkml:brushProperty name="height" value="0.05292" units="cm"/>
      <inkml:brushProperty name="color" value="#0070C0"/>
    </inkml:brush>
  </inkml:definitions>
  <inkml:trace contextRef="#ctx0" brushRef="#br0">6072 6932 0,'-13'0'16,"0"0"-16,-1 13 218,14 27-218,0 0 16,-13 39-16,0-13 16,0-13-16,13 0 15,0 0-15,0 0 16,0-13-16,0-1 16,0 1-16,0 0 0,0 26 15,13-27 1,-13 14-16,0-26 15,0 13-15,0-1 16,0-26 0,0 14-16,0-14 0,0 27 15,0 0-15,0-27 16,0 0-16,-13-13 16,13 13-1,0 0-15,0 1 16,0-1-1,0 0-15,0 14 16,0-14-16,0 0 0</inkml:trace>
  <inkml:trace contextRef="#ctx0" brushRef="#br0" timeOffset="1226.69">8334 6839 0,'40'14'31,"0"12"-15,-14-13-16,14 14 16,13-14-16,-40 0 15,0 1-15,27-14 16,26 0-1,-13 0-15,-53 13 94,13 26-78,-13 1-16,13-13 15,1 26-15,-14 13 16,0 39 0,0-38-16,13-1 0,-13 13 15,0-26 1,0 13-16,0-13 16,0 27-16,0-14 15,0-27-15,0 14 16,0-26-16,0 12 15,0-12-15,13-14 16,-13 0 0,-26 1 187,-1-14-203,1 0 15</inkml:trace>
  <inkml:trace contextRef="#ctx0" brushRef="#br0" timeOffset="3860.47">6059 8427 0,'0'40'16,"-13"-27"-16,13 27 15,0-1-15,0 1 0,0 13 0,0 0 16,-14 13-16,14 0 0,-13 0 0,13 0 16,-13-13-16,13 13 0,-13-26 15,13 13-15,-13 0 0,13-13 0,0-1 16,0-12-16,0-1 0,0 1 0,0-14 16,0 0-16,0 14 0,0-14 15,0 0-15,0-53 31</inkml:trace>
  <inkml:trace contextRef="#ctx0" brushRef="#br0" timeOffset="4612.39">5861 8493 0,'0'0'0,"13"0"0,0 0 0,0 0 15,0 0-15,14 0 0,-1 0 16,1 0-16,26 0 0,0 0 16,0 0-16,13 0 0,13-13 0,0 13 15,14 0-15,0 0 0,-1-13 0,41 13 16,-1-14-16,0 1 0,-13 13 15,-26-13-15,26 0 0,13 0 0,-39-1 16,-1 14-16,1-13 0,0 0 16,-14 0-16,0-1 0,1 14 0,-14-13 15,0 0-15,-13 13 0,0-13 0,-13 13 16,12 0-16,-25-14 0,-1 14 0,1 0 16,-14 0-16,0 0 0,0 0 15,1 0-15,-1 0 0,0 0 16,0 0-1,1 14-15,-14-1 0,13 0 16,-13 0-16,0 1 16,0 12-16,0-13 0,13 14 0,-13-1 15,0 1-15,0 12 0,13 1 0,-13 0 16,0-1-16,14 1 0,-14 0 16,13-1-16,0 1 0,-13 0 0,13-14 15,0 14-15,1-14 0,-1 14 16,-13-13-16,13-14 0,0 13 0,1-12 15,-14 12-15,13-13 0,-13 0 16,13 1-16,-13-1 0,0 0 0,0 0 16,13-13-16,-26 14 0,13-1 0,-13 0 15,0 0-15,-1-13 16,1 14-16,-13-14 0,-1 13 0,-12-13 16,-14 13-16,13-13 0,-13 0 0,-13 13 15,0-13-15,-27 0 0,14 13 0,-14-13 16,-13 0-16,14 14 0,-41-14 15,1 13-15,-13 0 0,12-13 0,1 13 16,-13 1-16,25 12 0,-12-13 0,0 0 16,13 1-16,0 12 0,0-13 15,0 14-15,26-14 0,14 0 16,-80 14-16,80-14 0,-1 0 16,14 0-16,-13 1 0,-1-1 0,14 13 15,-13-26-15,13 14 0,13 12 16,0-26-16,13 13 0,-13-13 0,13 14 15,14-14-15,0 0 0</inkml:trace>
  <inkml:trace contextRef="#ctx0" brushRef="#br0" timeOffset="10771.34">8837 8903 0,'-13'0'0,"53"-13"31,-14 13-16,0 0-15,14-13 0,13 13 16,0 0-16,26-13 0,-12 13 0,-15-14 16,1 14-16,0 0 0,0 0 0,0-13 15,0 13-15,0 0 0,0 0 0,-13-13 16,-1 13-16,-12 0 0,-1 0 16,1 0-16,-14 0 0,0 0 0,0 0 15,0 0-15,1 0 0,-1 0 16,0 0-16,-53-13 47,27 13-47</inkml:trace>
  <inkml:trace contextRef="#ctx0" brushRef="#br0" timeOffset="11137.37">9538 8652 0,'13'0'31,"1"0"-31,-1 0 0,0 0 16,0 13-16,1-13 0,-1 0 16,13 13-16,-12-13 0,12 14 0,0-14 15,1 13-15,-14-13 0,14 13 0,-1 0 16,-13-13-16,14 13 0,-14-13 0,0 14 15,0-1-15,1-13 0,-1 13 16,0-13-16,0 13 0,1 1 16,-1-1-16,-13 0 0,0 0 15,0 1 1,-13-1-16,13 0 0,-14 0 0,1 0 16,-13 14-16,12-1 0,-12 1 0,-1-1 15,1 1-15,13-1 0,-14 1 16,1-14-16,-1 13 0,1 1 0,0-1 15,-1-12-15,14 12 0,-14 0 0,14-12 16,0-1-16,0 13 0,-1-12 0</inkml:trace>
  <inkml:trace contextRef="#ctx0" brushRef="#br0" timeOffset="16282.46">19037 5636 0,'-27'0'0,"-12"39"15,25-25 1,-12 12-16,13 0 0,-1 14 0,1-13 16,0-1-16,13 14 0,-13-14 0,13 1 15,-13-14-15,13 13 0,0-12 0,0-1 16,13 13-16,-13-13 0,13 1 15,-13-1-15,13 0 0,0-13 0,1 13 16,-1-13-16,0 0 0,0 0 16,1-13-16,-1 13 0,-13-13 15,13 0-15,-13-1 16,0 1-16,0 0 0,0 0 0,0 0 16,-13 13-16,13-14 0,-13 1 0,13 0 15,-14 13-15,1-13 0,0 13 16,0-14-16,-1 14 0,1 0 15,0 0-15,0 0 16,0 0-16</inkml:trace>
  <inkml:trace contextRef="#ctx0" brushRef="#br0" timeOffset="16599.91">19143 5781 0,'-27'40'16,"27"-27"0,0 0-16,-13 1 0,13-1 0,13 13 15,-13-13-15,0 1 0,13-1 16,1 0-16,12 0 16,-13-13-16,1 14 0,-1-14 0,13 0 15,-13 0-15,1-14 0,-1 14 0,0-13 16,0 13-16,1-13 0,-1 0 15,-13-1-15,0 1 16,0 0-16,0-13 0,0 12 0,0 1 16,-13 0-16,13 0 0,-14-1 0,1 1 15,13 0-15,-13 0 0,0 13 0,-1 0 16,1 0-16,0 0 0,0 0 16,0 0-16,-1 13 0,1-13 15</inkml:trace>
  <inkml:trace contextRef="#ctx0" brushRef="#br0" timeOffset="16869.27">19394 5768 0,'0'13'0,"0"-26"0,0 39 16,0-12-16,0-1 0,0 0 15,0 0-15,0 1 0,13-1 16,0 0-16,-13 0 0,14-13 15,-1 0-15,0 0 0,0 0 16,1 0-16,-1 0 0,0 0 0,0-13 16,0 13-16,-13-13 0,14 13 0,-14-13 15,0-1-15,0 1 0,0-13 0,0 12 16,-14 1-16,1-13 0,0 12 16,0-12-16,0 13 0,-1 0 15,1 13-15,0 0 0,0-14 0,-1 28 16,-12-14-16,-14 13 0,14 13 15,-1 1-15,-12-14 0,12 13 0,1 1 16</inkml:trace>
  <inkml:trace contextRef="#ctx0" brushRef="#br0" timeOffset="17397.43">18891 6601 0,'27'-13'0,"-54"26"0,67-26 16,-27 13-16,0 0 0,1 0 16,-14 13-1,0 1-15,0-1 0,0 0 16,-14 0-16,1 14 0,0-14 0,0 0 15,-1 14-15,1-14 0,0 0 0,0 0 16,13 1-16,-13-1 0,13 0 16,-14-13-16,14 13 0,-13-13 0,13 13 15,0 1-15,0-1 16,13-13-16,1 0 16,-1 0-16,0 0 15,0 0-15,14 0 0,-14-13 0,13 13 16,1 0-16,-1-14 0,1 1 0,-14 13 0,13-13 15,-12 13-15,12-13 0,-13 13 16,1-13-16,-1-1 0,0 14 16,0-13-16,1 0 0</inkml:trace>
  <inkml:trace contextRef="#ctx0" brushRef="#br0" timeOffset="17612.48">19222 6535 0,'13'-13'0,"0"13"15,14-13-15,-1 13 16,-26 13-16,14-13 16,-1 13-1,0 0-15,-13 1 0,13-1 16,-13 0-16,0 0 0,0 1 0,0-1 16,0 0-16,0 14 0,0-14 0,-13 0 15,13 0-15,0 0 0,0 1 16,0-1-16,0 0 0,0 0 15</inkml:trace>
  <inkml:trace contextRef="#ctx0" brushRef="#br0" timeOffset="18136.48">19248 6707 0,'-13'-13'15,"26"26"-15,-13-39 16,14 13-1,-1 13 1,0-14-16,14 14 0,-14-13 0,0 13 16,14-13-16,-1 13 0,0-13 0,1-1 15,13 1-15,-27 0 0,13 0 16,-13-1-16,14 1 0,-14 0 0,0 13 16,-13-13-16,14 13 0,-1-13 15,0-1 1,-39 28-1,26-1-15,-14 0 16,1 0-16,13 0 0,-13 1 16,13-1-16,-13 0 0,13 0 15,0 1-15,0-1 0,0 0 16,13-13-16,-13 13 0,13-13 16,0 0-16,1 0 15,-14-13-15,13 13 0,0 0 0,0-13 16,-13 0-16,14-1 0,-1 1 0,-13 0 15,13 0-15,-13-1 0,13 1 0,-13 0 16,0 0-16,0 39 47,-13-13-47,13 1 16,0-1-16,0 0 0,0 0 0,0 14 15,0-14-15,0 0 0,0 14 0,0-14 16,13 0-16,-13 14 0,13-14 0,-13 0 15,14 14-15,-14-14 0,13 0 16,-13 0-16,0 0 0,0 14 0,0-14 16</inkml:trace>
  <inkml:trace contextRef="#ctx0" brushRef="#br0" timeOffset="18667.72">18944 7448 0,'13'0'0,"14"0"16,-14 13-1,-13 0 1,0 1-16,0-1 0,0 0 16,0 0-1,0 1 1,13-14-16,-13 13 0,14 0 16,-14 0-16,13 1 15,-13-1-15,0 0 16,0 0-16,-13-13 0,13 13 15,-14 1-15,1-1 0,0-13 16,13 13-16,-13-13 0,13 13 0,-14-13 16,28-26-1,-1 13 1</inkml:trace>
  <inkml:trace contextRef="#ctx0" brushRef="#br0" timeOffset="18933.34">19143 7527 0,'0'0'0,"13"-13"0,0 0 16,0 26 15,-13 0-31,14-13 0,-14 14 16,13-1-16,0-13 0,-13 13 15,13-13-15,0 0 0,1 13 16,-1-13-16,0 0 0,0 0 0,1 0 16,-1 0-16,0-13 0,0 13 15,-13-13-15,0 0 16,0-1-16,-13 1 15,0 0-15,13 0 16,-13 13-16,-1 0 0,14-14 0,-13 14 16,0 0-1,0 0-15</inkml:trace>
  <inkml:trace contextRef="#ctx0" brushRef="#br0" timeOffset="19200.84">19447 7395 0,'13'0'0,"-13"27"16,0-14-16,0 0 15,13 0-15,-13 0 0,0 1 16,0-1-16,14 0 16,-1 0-16,0-13 0,0 14 15,0-14-15,1 0 0,-1 0 0,0 0 16,0-14-16,1 14 0,-1 0 15,0-13-15,-13 0 0,13 13 0,-13-13 16,0-1-16,0 1 0,-13 0 0,13 0 16,-13-14-16,0 27 0,13-13 0,-14 0 15,1 13-15,0 0 0,0 0 16,-1 0-16,1 0 0,-13 13 16,13 0-16,-14 14 0,1-1 0,-1-13 0,1 14 15</inkml:trace>
  <inkml:trace contextRef="#ctx0" brushRef="#br0" timeOffset="19716.29">19129 8176 0,'-13'13'15,"0"0"1,0 0-16,-1-13 0,1 14 0,0 12 16,0-13-16,-14 0 0,14 1 0,0-1 15,0 0-15,-1 0 0,1 1 16,0-1-16,13 0 0,-13 0 0,13 1 15,0-1-15,0 0 16,13-13-16,-13 13 16,13-13-16,0 0 0,1 0 15,12 0-15,-13 0 0,14 0 0,-1 0 0,1-13 16,-1 13-16,1 0 0,-1-13 16,-13 13-16,14-13 0,-14-1 15,0 14-15,0-13 0,1 0 16,-14 0-16</inkml:trace>
  <inkml:trace contextRef="#ctx0" brushRef="#br0" timeOffset="19908.61">19222 8215 0,'-13'-13'16,"0"0"-16,-1 13 15,1 0 1,13 13-16,-13-13 0,13 13 16,-13 1-16,13-1 0,0 0 0,0 0 15,0 14-15,-14-14 0,14 13 16,0-12-16,0 12 0,0-13 15,14 14-15,-14-14 0,0 13 0,0-12 16,13-1-16,-13 0 0,0 0 0,13 1 16,0-1-16,1 0 15,-1-13-15</inkml:trace>
  <inkml:trace contextRef="#ctx0" brushRef="#br0" timeOffset="20548.62">19473 8242 0,'0'-13'0,"0"26"0,-13-26 16,0 26-1,0 0-15,13 0 16,-14 0-16,14 1 0,-13 12 16,13-13-16,0 14 0,0-14 0,0 0 15,13 1-15,-13-1 16,14-13-16,-1 13 16,0-13-16,0-13 0,1 13 0,-1-13 15,0-1-15,-13 1 16,13 0-16,-13 0 0,0-1 15,0 1-15,0 0 0,-13 0 16,13-1-16,-13 1 0,13 0 16,-13 13-16,13-13 0,-14 0 15,41 13 32,-14 0-31,-13 13-16,13-13 0,0 0 15,-13 13-15,14-13 16,-1 13-16,0 0 16,0-13-16,1 0 15,-1 14-15,0-14 0,0 0 16,14-14-16,-14 14 0,0-13 16,0 13-16,1-13 0,12-13 15,-26 12 1,0 1-16,0 0 0,0 0 0,0-1 15,-13 1-15,13 0 0,-13 13 16,-1-13-16,1-1 16,0 14-16,0 14 0,0-14 0,-1 13 15,1 0-15,-13 0 0,12 1 0,-12 12 16,13-13-16</inkml:trace>
  <inkml:trace contextRef="#ctx0" brushRef="#br0" timeOffset="21205.53">19275 9036 0,'13'0'0,"-13"-14"0,27 41 31,-27-14-15,0 0-16,-14-13 0,14 13 0,-13 1 16,13-1-16,-13 0 15,13 0-15,0 1 16,13-1-16,0 0 16,1 0-16,-1-13 15,-13 14-15,13-14 0,-13 13 0,13 0 16,-13 13-1,-13-26-15,13 14 0,-13-1 0,0 0 16,-1 0 0,1-13-16,-66 27 62,52-40-31</inkml:trace>
  <inkml:trace contextRef="#ctx0" brushRef="#br0" timeOffset="21304.55">19487 8969 0,'185'225'31</inkml:trace>
  <inkml:trace contextRef="#ctx0" brushRef="#br0" timeOffset="21473.37">19460 9128 0,'0'0'0,"-13"0"15,39-13 1,-12 13-16,-1 0 16,0 0-16,0-13 0,14 13 0,12-14 15,-12 1-15,-1 13 0,1-13 16,12 0-16</inkml:trace>
  <inkml:trace contextRef="#ctx0" brushRef="#br0" timeOffset="21725.24">19910 8930 0,'0'0'0,"-13"0"15,13-14-15,-14 14 16,1 14-16,0-14 16,0 13-1,26 0-15,-13 0 16,13 1-16,0-1 0,1 0 15,-14 0-15,13-13 0,0 14 16,-13-1-16,13-13 16,-13 13-16,0 0 0,0 0 15,-13-13 1,13 14-16,-13-14 0,0 0 16,-1 13-16,1-13 0,0 0 0,0 0 15,0 13-15,-1-13 0,1 0 0,0 13 16,0-13-16,-1 0 0</inkml:trace>
  <inkml:trace contextRef="#ctx0" brushRef="#br0" timeOffset="22185.4">19500 8996 0,'0'-13'0,"-27"13"16,14 13-1,0-13-15,0 13 16,-1-13-16,1 13 0,-13 1 16</inkml:trace>
  <inkml:trace contextRef="#ctx0" brushRef="#br0" timeOffset="28295.36">5543 11112 0,'-53'14'0,"80"-1"31,-14-13-31,0 0 0,27 0 0,-1 0 16,14 0-16,27 0 0,-1 0 0,0 0 16,1-13-16,12 13 0,-12 0 15,-1-14-15,-13 1 0,14 13 16,-27-13-16,0 13 0,-1 0 0,-12-13 15,-13 13-15,12 0 0,-25 0 16,12 0-16,-13 0 0,0-13 0,1 13 16,-1 0-16,-13 13 0,-13 0 15,-1 0 1,-12-13-16</inkml:trace>
  <inkml:trace contextRef="#ctx0" brushRef="#br0" timeOffset="28596.63">5305 11523 0,'53'0'15,"-27"0"1,14 0-16,13-14 0,0 14 0,13-13 16,13 0-16,1 13 15,-14-13-15,13-1 0,1 14 0,-14-13 0,13 13 16,-26 0-16,0-13 0,0 13 0,-13 0 15,-1 0-15,-12 0 0,-1 0 16,1 0-16,-14-13 0,13 13 0,-12 0 16,-1 0-16,0 0 0,0 13 15,0-13-15</inkml:trace>
  <inkml:trace contextRef="#ctx0" brushRef="#br0" timeOffset="29549.63">5503 10530 0,'27'-13'16,"-14"13"-16,252-53 31,-199 40-31,0 0 0,0 0 0,13 13 16,1-14-16,-14 1 0,0 13 15,0-13-15,0 13 0,-13-13 0,-13 13 16,13 0-16,-13-14 0,-14 14 0,1 0 16,-1 0-16,0 0 0,-12 0 15,-1 0-15,0 0 0,0 0 0,-13 14 16</inkml:trace>
  <inkml:trace contextRef="#ctx0" brushRef="#br0" timeOffset="29862.48">5768 10676 0,'106'-13'0,"-67"-1"16,14 1-16,357-53 31,-343 66-31,-14-13 0,-1 13 0,1-13 15,0 13-15,-13-14 0,0 14 16,-1-13-16,-12 13 0,-1 0 0,1 0 16,-1-13-16,-13 13 0,1 0 0,-1 0 15,0 0-15,0 0 0,1 0 16,-1 0-16,0 0 16,-13 13-1,0 0 1,-13-13-16</inkml:trace>
  <inkml:trace contextRef="#ctx0" brushRef="#br0" timeOffset="44244.07">10610 10755 0,'13'-26'0,"0"26"0,0-13 0,1 13 16,-1 0-16,13 0 0,-12 0 0,-1 0 15,0 0-15,0 13 0,1-13 0,-1 13 16,0-13-16,-13 13 0,0 1 16,0-1-16,0 13 0,-13-13 15,0 27-15,-14-13 0,14-1 0,-14-13 16,1 14-16,-1-1 0,14-13 0,0 1 15,0-1-15,0 0 16,-1-13-16,14 13 0,-13-13 16,13 14-16,13-1 15,1-13-15,25 0 16,1-13 0,-27 13-16,14 0 0,-14 0 0,13-14 15,1 14-15,-14 0 0,13-13 0,-12 13 16,12-13-16,-13 13 0,14-27 15,-14 27-15,14-13 0,-14 0 16</inkml:trace>
  <inkml:trace contextRef="#ctx0" brushRef="#br0" timeOffset="44455.26">11099 10716 0,'0'-14'16,"0"28"-16,-13-41 0,13 54 31,0-14-31,0 0 15,0 0-15,0 14 0,-13-1 16,13 1-16,0-1 0,0 1 16,0-14-16,0 13 0,-13 1 0,13-1 15,0-13-15,0 14 0,0-14 0,13 0 16,-13 1-16,0-1 0,0 0 16,13-13-16,0 0 0,0 0 0,14 0 15,-14-13-15</inkml:trace>
  <inkml:trace contextRef="#ctx0" brushRef="#br0" timeOffset="44964.47">11364 10676 0,'0'-13'15,"0"-1"-15,13 14 16,0 0-16,1 0 0,-1 0 16,0 0-16,0-13 0,0 13 15,1 0-15,-1 0 0,0 13 0,0-13 16,1 0-16,-1 14 16,0-1-16,-13 0 0,13-13 15,-13 13-15,0 1 0,0-1 0,0 0 16,0 0-16,0 14 0,0-14 15,-13 0-15,13 14 0,0-14 0,0 0 16,-13 14-16,13-14 0,0 0 16,0 0-16,0 1 0,0-1 0,0 0 15,0 0-15,0 0 0,0 1 16,13-1 0,0-13-1,1-13 1</inkml:trace>
  <inkml:trace contextRef="#ctx0" brushRef="#br0" timeOffset="45184.55">11337 10927 0,'0'0'0,"-13"0"31,40-13-31,-14 13 15,13 0-15,-12 0 16,-1-13-16,13 13 0,1 0 0,-14 0 16,13-13-16,1 13 0,-1 0 0,1-14 15,-1 14-15,1 0 16,-1-13-16,1 13 0,-14-13 0,13 0 16,1 13-16</inkml:trace>
  <inkml:trace contextRef="#ctx0" brushRef="#br0" timeOffset="45495.52">11933 10689 0,'-27'0'16,"54"0"-16,-67 13 0,27-13 15,13 14-15,-13-14 0,-1 13 0,14 0 16,-13 0-16,0 1 16,13-1-16,0 13 0,0-13 15,0 1-15,13-1 0,-13 0 0,13-13 0,14 13 16,-14 1-16,13-14 0,-12 0 15,12 0-15,-13 0 0,14 0 0,-14 0 16,0 0-16,14-14 0,-14 1 16,0 13-16,-13-13 0,13 0 15,-13-1-15,0 1 0,0 0 16,-13 0-16,13 0 0,-13-1 0,0 1 16,0 0-16,-1 0 0,1-1 0,0 14 15,0-13-15,-1 13 0,1-13 16,0 13-16,0 0 0,-1 0 15,14 13-15</inkml:trace>
  <inkml:trace contextRef="#ctx0" brushRef="#br0" timeOffset="45831.38">12369 10557 0,'0'0'0,"13"0"16,-39 13 15,13-13-31,13 13 16,-13 1-16,-1-1 0,1-13 0,0 13 15,0 0-15,13 0 0,-14-13 16,14 14-16,-13-14 0,13 13 16,-13 0-16,13 0 15,0 1 1,13-1-16,0 0 15,1-13-15,-1 0 16,0 13-16,0-13 0,1 0 16,-1 0-16,0 0 15,0 0-15,0 0 0,1 0 0,-1 0 16,-13-13-16,13 13 0,0 0 0,1-13 16,-1 13-16,-13-13 15,13-1-15</inkml:trace>
  <inkml:trace contextRef="#ctx0" brushRef="#br0" timeOffset="46045.39">12409 10517 0,'-13'0'0,"26"0"16,-40 13-16,27 1 16,0-1-16,-13 0 0,13 14 15,-13-1-15,13 27 0,0-40 16,-13 14-16,13-1 0,0 1 15,0-1-15,0-13 0,0 14 0,0-14 16,0 13-16,0-12 0,0-1 0,0 0 16,0 0-16,0 1 15,0-1-15,-13-13 0,13 13 16,-14-13-16</inkml:trace>
  <inkml:trace contextRef="#ctx0" brushRef="#br0" timeOffset="46791.92">9062 11099 0,'13'0'16,"-26"0"-16,26-13 16,-13 26-1,13 0-15,-13 1 0,14-1 16,-1 13-16,-13-12 0,13 12 0,0 1 15,14-1-15,-14 0 0,14-12 16,-14 12-16,0-13 0,0-13 0,14 14 16,-14-1-16,0-13 0,0 0 0,-13 13 15,14-13-15,-1 0 0,0-13 16,0 0-16,-13-1 0,13 1 16,-13 0-16,0 0 0,0-14 15,0 1-15,0-1 0,0 1 0,0-1 16,0 1-16,-13-1 0,13 14 15,0 0-15,0-13 0,-13 12 0,13 1 16,0 0-16,13 39 31</inkml:trace>
  <inkml:trace contextRef="#ctx0" brushRef="#br0" timeOffset="47401.9">9578 11086 0,'-13'0'0,"-1"0"0,-38 40 31,38-27-15,1 0-16,13 14 0,0-14 0,-13 0 0,13 0 15,0 1-15,0-1 0,13 0 16,-13 0-16,13-13 15,-13 13-15,14-13 0,-1 0 16,0 0-16,-13-13 16,13 13-16,-13-13 0,0 0 15,13 0-15,-13-1 16,0 1-16,14 0 0,-14 0 16,0-1-16,0 1 15,13 0-15,0 0 16,0 13-16,1 0 15,-14 13-15,13-13 0,-13 13 16,13-13-16,-13 13 0,13 1 16,-13-1-16,14-13 0,-14 13 0,0 0 15,0 1-15,13-1 0,-13 0 16,0 0 0,13-26-1,0 0 1,-13 0-16,13-1 15,-13 1-15,14 0 0,-14 0 0,13-1 16,0 1-16,0 0 0,1 0 16,-1 13-16,0-14 0,0 14 15,0 0-15,1 0 16,-1 14-16,-13-1 16,13 0-16,-13 0 0,0 1 15,0-1-15,0 0 16,0 0-16,0 1 0,0-1 15,0 0-15</inkml:trace>
  <inkml:trace contextRef="#ctx0" brushRef="#br0" timeOffset="47648.13">9842 10888 0,'-13'0'47</inkml:trace>
  <inkml:trace contextRef="#ctx0" brushRef="#br0" timeOffset="48077.99">10107 11046 0,'0'-13'15,"-66"53"16,53-27-31,-1 0 16,14 0-16,-13 1 0,13-1 16,0 0-16,0 0 15,13-13-15,1 0 16,-1 0 0,0-13-16,0 13 0,-13-13 0,14 13 15,-14-13-15,13-1 0,0 1 16,0 0-1,1 13 1,-14 13 0,13-13-1,-13 13-15,13 1 16,0-14 15,0 0-31,1-14 16,-1 14-1,0 0-15,0 0 16,1 0 0,-1 0-1,0-13 1,0 13 0</inkml:trace>
  <inkml:trace contextRef="#ctx0" brushRef="#br0" timeOffset="49774.5">8559 11443 0,'13'13'32,"-13"1"-32,0-1 0,14 13 15,-14-12-15,13 12 16,0 1-16,0-1 0,1 0 0,-1 1 16,0-1-16,0 1 0,-13-14 0,14 0 0,-1 14 15,0-14-15,0-13 16,0 13-16,1 0 0,-1-13 0,0 14 15,0-28-15,1 14 0,-1-13 16,0-13-16,0 13 16,1-14-16,-14-13 0,13 1 0,-13-1 15,0 0-15,0-13 0,0 0 0,0 1 16,-13-15-16,-1 14 0,1-13 0,0 0 16,-14 13-16,14 0 0,-13 0 15,-1 1-15,1 12 0,-1-13 0,-12 26 16,12-12-16,14 12 0,-14 1 0,1 13 15,13-14-15,0 14 16,-1 0-16,1-1 0,0 1 16,13 0-16,0 0 15,13 13-15,0-13 16,14 13-16,-1 0 0,14-14 0,0 14 16,13-13-16,-1 13 0,1-13 0,14 13 15,12-13-15,14-1 0,-14 1 16,14 0-16,-1 0 0,27 0 15,0-14-15,14 14 0,-14-14 0,13 14 16,0 0-16,0-14 0,1 14 0,12 0 16,1-13-16,-1 12 0,1 1 0,-1-13 15,1 12-15,-1 1 0,14 0 16,-13-14-16,-1 14 0,1 0 0,-1 0 16,1-14-16,-1 14 0,-12 0 15,-1 0-15,-13 13 0,0-14 0,-26 1 16,-1 13-16,1-13 0,-14 0 0,1 13 15,-14-14-15,-13 14 0,0 0 0,-14-13 16,-12 13-16,-1 0 0,-13 0 16,1 0-16,-1 0 0,0 0 15,0 0-15,0 0 0,1 0 0,-14-13 0,13 13 16,0 0 0,0-13 15,-39 26 0,13 0-31,-14 0 16,1 14-16,-14-14 0</inkml:trace>
  <inkml:trace contextRef="#ctx0" brushRef="#br0" timeOffset="50948.28">11284 12753 0,'0'40'32,"0"-27"-32,0 13 15,0 1-15,14-1 0,-14 1 0,13-1 16,0 14-16,0-14 0,1 1 0,-1-1 16,0-13-16,0 14 0,14-14 15,-14 0-15,0-13 0,-13 14 0,13-14 16,1 0-16,-1 0 0,0 0 0,0-14 15,1 14-15,-14-26 0,13 13 16,0-14-16,-13-12 0,13-1 0,-13 0 16,0 0-16,0-12 0,0-15 0,-13 14 15,0-13-15,0 0 0,-1 13 16,1 0-16,0-13 0,0 13 0,-1 14 16,1 12-16,0-13 0,0 14 0,0 13 15,13 0-15,0-14 0,0 14 16,0 0-16,13-1 15,0 1-15,13 0 0,14 0 0,0 13 16,13-14-16,0 14 0,13-13 0,13 13 16,1-13-16,-1 13 0,0-13 15,14 13-15,0-13 0,-1-1 0,40 1 16,-26 0-16,0 0 0,13-1 0,-26 1 16,26 0-16,-27 0 0,1-1 15,-14 1-15,1 0 0,-1 0 0,-13 13 16,0-13-16,-26-1 0,13 14 0,-27-13 15,1 13-15,-1-13 0,-12 13 16,-1 0-16,0 0 0,-13-13 16,13 13-16,-52 13 15,12 0 1,-13 0-16,14 1 0,-14-1 16,-13 13-16,14-13 0,-27 14 0,13-1 15</inkml:trace>
  <inkml:trace contextRef="#ctx0" brushRef="#br0" timeOffset="51487.71">11986 12621 0,'13'-14'0,"27"1"31,-27 13-31,0 13 0,-13 1 16,0-1-16,0 0 15,0 0-15,0 1 0,-13-1 0,13 0 16,-13 0-16,13 0 0,-14 1 0,14-1 15,-13 0-15,13 0 0,-13 1 16,13-1-16,0 0 16,0 0 15,13-13-31,0 14 16,1-14-16,-1 0 0,0 0 15,0 0-15,0 0 0,1-14 0,-1 14 16,0 0-16,0-13 15,1 13-15,-14-13 0</inkml:trace>
  <inkml:trace contextRef="#ctx0" brushRef="#br0" timeOffset="51681.16">12290 12674 0,'0'-14'16,"0"28"-16,0-41 16,0 54 15,0-14-31,0 0 0,0 0 15,0 0-15,0 1 0,0-1 16,0 0-16,0 0 0,-13 1 0,13-1 16,0 0-16,13-13 0,-13 13 0,0 1 15,0-1-15,13-13 16,0 0-16</inkml:trace>
  <inkml:trace contextRef="#ctx0" brushRef="#br0" timeOffset="52020.33">12449 12581 0,'0'0'15,"13"-13"1,13 13-1,1 13 1,-14-13-16,0 0 16,0 13-16,1-13 0,-14 13 0,13-13 15,0 14-15,-13-1 0,13-13 0,-13 13 16,0 0-16,14 1 0,-14-1 16,0 0-16,13 0 0,-13 0 15,0 1-15,0-1 0,0 0 16,0 0-16,13 1 0,-13-1 15,0 0-15,0 0 16,0 1-16,0-1 16</inkml:trace>
  <inkml:trace contextRef="#ctx0" brushRef="#br0" timeOffset="52425.38">12475 12753 0,'-13'0'32,"39"-13"-32,-12-1 15,12 14-15,-13 0 0,0-13 0,14 13 16,-14 0-16,14-13 0,-14 13 16,0 0-16,0 0 0,1-13 15,-1 13-15,0 0 0,0 0 16,0 0-1,1 0-15,-14 13 0,13-13 16,-13 13-16,13 0 0,0 1 16,1-14-16,-14 13 0,13-13 15,0 0-15,14 0 0,-14 0 16,0 0-16,0 0 0,0 0 0,1 0 16,-1-13-16,13 13 0,-26-14 0,14 14 15,-14-13-15,13 0 0,-13 0 16,-13 0-16,13-1 0,-14 1 15,1 13-15,0-13 0,0 0 0,-1 13 16,1-14-16,0 14 0,0 0 16,0 0-16,-1 0 15,28 14 1</inkml:trace>
  <inkml:trace contextRef="#ctx0" brushRef="#br0" timeOffset="52816.43">13652 12594 0,'-13'0'0,"-26"27"16,25-14 0,1 0-16,13 0 0,-13-13 15,0 14-15,-1-1 0,1 0 0,0 0 0,0 0 16,13 1-16,-13-14 0,13 13 16,-14 0-1,28 0 1,-1-13-16,0 0 0,0 0 15,0 0-15,14 0 0,-14 0 0,0 0 16,14 0-16,-14 0 16,0 0-16,14 0 0,-14 0 0,0 0 0,0-13 15,1 13-15,-1 0 0,0-13 16,0 0-16,-13-1 16</inkml:trace>
  <inkml:trace contextRef="#ctx0" brushRef="#br0" timeOffset="53024.66">13666 12581 0,'-14'0'0,"28"0"0,-41 13 16,14-13-16,13 13 15,-13-13-15,13 14 0,-13-1 0,13 0 16,-14 14-16,1-14 0,13 13 0,-13 1 16,0-14-16,13 13 0,-14 1 15,14-1-15,-13 1 0,13-14 0,-13 13 16,13-12-16,0-1 0,0 0 0,0 14 15,0-14-15,13 0 16,0-13-16,-13 13 16,14-26-16,-1 13 0,13 0 0,-12-13 15</inkml:trace>
  <inkml:trace contextRef="#ctx0" brushRef="#br0" timeOffset="53309.16">14473 12462 0,'-14'0'0,"67"-13"31,-39 13-31,12 0 0,1 0 16,-14 0-16,13 0 0,-13 0 15,14 0-15,-14 0 0,0 0 0,1 0 16,-1 0-16,0 13 16</inkml:trace>
  <inkml:trace contextRef="#ctx0" brushRef="#br0" timeOffset="53523.56">14393 12647 0,'0'0'0,"-13"0"0,53 0 32,-27 0-32,0-13 15,0 13-15,1 0 0,12 0 0,-13 0 16,1 0-16,12 0 0,-13-13 15,14 13-15,-14 0 0,13 0 0,-12 0 16,12 0-16,1-14 0,-14 14 0,13 0 16,1-13-16,-14 13 0</inkml:trace>
  <inkml:trace contextRef="#ctx0" brushRef="#br0" timeOffset="69589.39">16073 12303 0,'14'0'31,"-41"-13"31,1 26-62,13-13 0,-14 0 16,14 0-16,-14 13 0,1-13 16,-1 14-16,1-14 0,0 13 0,-14 0 15,0-13-15,14 13 0,12 0 0,-12-13 16,13 14-16,0-1 0,-1 0 15,28 0 1,-14 1-16,13-14 0,0 13 0,0-13 16,27 13-1,-14 0-15,1 1 0,-1-14 0,-12 13 16,12-13-16,-13 13 0,14-13 0,-14 13 16,0 0-16,0 1 0,-13-1 15,0 0-15,-13 0 16,0 1-16,0-1 0,-14 0 0,-12 14 15,12-14-15,-13 0 0,14 0 0,-14 0 16,1 1-16,-1-1 0,0 0 0,14-13 16,-1 0-16,1 13 0,-1-13 15,14 0-15,-13 0 0,12 0 16,1 0-16,0 0 0,0 0 0,13-13 16,13 0-1,0 13 1</inkml:trace>
  <inkml:trace contextRef="#ctx0" brushRef="#br0" timeOffset="70057.28">16325 12356 0,'0'-13'0,"-13"39"31,13-13-31,-14 1 0,14 12 0,-13 1 16,13-1-16,-13 14 0,0-14 15,13 14-15,-14 0 0,1-14 16,13-13-16,-13 14 0,13-1 0,-13 1 0,13-14 16,0 13-16,-14-12 0,14-1 0,0 0 15,0 0-15,0 1 0</inkml:trace>
  <inkml:trace contextRef="#ctx0" brushRef="#br0" timeOffset="70504.31">16285 12422 0,'0'0'0,"13"-26"0,1 12 16,-1 1-16,0 0 0,0 13 0,14-13 0,-1 13 15,1-13-15,-1 13 0,1 0 0,-1 13 16,14-13-16,-1 13 0,-12 0 16,13 14-16,-27-14 0,0 0 15,0 14-15,0-14 0,-13 13 0,0 1 16,-13-1-16,-13 27 0,-1-13 16,-12 0-16,-14-1 0,0 1 0,-13 0 15,-1-1-15,1 1 0,0-14 0,0 1 16,0-1-16,13 1 0,-13-14 0,26 0 15,0 1-15,1-1 0,12-13 16,1 0-16,13 0 0</inkml:trace>
  <inkml:trace contextRef="#ctx0" brushRef="#br0" timeOffset="71023.52">15465 13203 0,'40'-14'32,"-14"1"-32,27 13 0,0-13 0,13 0 15,0 0-15,0-1 0,14 1 16,-1 0-16,80-14 0,-80 14 16,1 0-16,-1 0 0,0 0 0,-13-1 15,-13 14-15,-13-13 0,0 13 0,-1-13 16,-25 13-16,12 0 15,-13 0-15,-39 13 16,-1-13-16,-12 13 16,-1-13-16,-13 14 0,-13-1 0</inkml:trace>
  <inkml:trace contextRef="#ctx0" brushRef="#br0" timeOffset="71317.42">15174 13309 0,'0'0'15,"-27"13"-15,14-13 0,66 0 16,-26 0-16,12-13 16,14-1-16,13 1 0,0 0 0,14 0 15,-14-1-15,13 1 0,1 0 0,-1 0 16,0-1-16,1 1 0,-14 0 16,0 0-16,0 13 0,-13-13 15,0-1-15,-13 14 0,-14-13 0,1 13 16,-1 0-16,-13 0 0,1 0 0,-1 0 15,0 0-15,0-13 0,1 13 16,-14-13 47,0-1-63,13 1 0</inkml:trace>
  <inkml:trace contextRef="#ctx0" brushRef="#br0" timeOffset="71954.67">17462 12065 0,'-66'79'16,"132"-158"-16,-171 185 0,78-66 0,1 12 15,-14-12-15,14 13 0,-1 0 0,1 0 16,12 0-16,-12 0 0,13 0 0,0 0 15,-1-14-15,14 1 16,0 0-16,0-27 0,0 13 0,14 1 16,-1-14-16,0 13 0,0-12 0,0-1 15,14-13-15,-14 13 0,0-13 0,14 0 16,-14-13-16,14 13 0,-1-13 16,-13-1-16,27 1 0,-14-13 0,-12 13 15,12-14-15</inkml:trace>
  <inkml:trace contextRef="#ctx0" brushRef="#br0" timeOffset="72444.96">17859 12184 0,'-13'0'0,"26"0"0,-39 0 0,13 0 0,-1 0 15,1 13-15,0-13 16,0 14-16,0-14 0,-14 13 0,14 0 15,0 0-15,13 0 16,13 1-16,0-1 16,0-13-16,1 13 0,12 0 0,0 1 15,-12-14-15,12 13 0,1 0 0,-1-13 16,-13 13-16,1 0 0,12 1 16,-13-14-16,-13 13 0,13-13 0,-13 13 15,0 0-15,0 1 0,0-1 0,-13 0 16,0 0-16,-13 1 0,-14 12 0,0-13 15,0 14-15,1-14 16,-1 0-16,0 14 0,1-27 0,-1 13 16,0 0-16,14-13 0,13 0 0,-14 13 15,14-13-15,13-13 0,-13 13 0,26-26 32,13 26-32,-12-14 0</inkml:trace>
  <inkml:trace contextRef="#ctx0" brushRef="#br0" timeOffset="72755">18389 12039 0,'-14'0'0,"-12"39"31,13-12-31,13-14 0,-14 13 16,14 14-16,-13 0 0,13-14 0,0 1 16,-13-1-16,13 1 15,0-1-15,0 0 0,0 1 0,0-14 16,0 14-16,0-14 0,0 27 15,0-27-15,0 0 0,0 0 0,0 0 16</inkml:trace>
  <inkml:trace contextRef="#ctx0" brushRef="#br0" timeOffset="73313.38">18111 12462 0,'13'-13'31,"0"13"-31,0 0 0,1-14 16,12 14-16,-13 0 0,27 0 15,-14-13-15,14 13 0,0-13 0,0 0 16,-1 13-16,1-14 0,0 1 0,-1 0 16,14 0-16,-13 0 0,-14-1 15,14-12-15,0 13 0,-14-1 16,-13 1-16,1 13 0,-14-13 15,-40 26 17,27 0-32,-1 1 15,-12-1-15,0 0 0,-1 14 0,14-14 16,-14 13-16,14-13 0,0 1 16,0-1-16,13 0 0,0 0 0,-13 1 15,26-1-15,-13 0 0,0 0 0,13-13 16,0 14-16,0-14 0,1 0 15,-1 0-15,13-14 0,-12 14 0,12-13 16,0 0-16,1-14 0,-1 1 0,-12-14 16,12 1-16,-13-1 0,1 0 15,-1-13-15,0 14 0,-13-1 0,13 0 16,-13 14-16,0-1 0,13 1 16,-13 13-16,0-1 0,-39 41 31,39-14-31,-13 27 0,-14-14 15,14 14-15,13 0 0,-13 13 0,-1-27 16,14 14-16,0-1 0,0 1 16,0-14-16,0 14 0,27 13 15,-14-26-15,0-1 0,1-13 0,12 0 16,0-13-16,-12 14 0,12-14 0,1 0 16</inkml:trace>
  <inkml:trace contextRef="#ctx0" brushRef="#br0" timeOffset="73594.37">19817 11933 0,'-13'13'0,"26"-26"0,-39 26 0,26 0 15,-13 0-15,-1 1 0,14-1 16,-13 27-16,0-14 0,0 14 16,13-1-16,-14-12 0,14 13 0,-13-14 15,13 0-15,0 1 0,0-1 0,0 1 16,13-14-16,-13 13 0,0-12 16,14 12-16,-14-13 0,13 1 0,-13-1 15,0 0-15,13 0 16</inkml:trace>
  <inkml:trace contextRef="#ctx0" brushRef="#br0" timeOffset="73877.49">19725 12012 0,'13'-53'16,"-26"106"-16,39-119 0,-13 39 0,1 14 15,-1 0-15,13 13 0,-12 0 0,-1 13 16,13-13-16,-13 13 0,14 1 15,-1 12-15,1-13 0,-14 14 16,13-1-16,-12 1 0,-14-1 0,13 1 16,-13-1-16,-13 1 0,-14 52 15,1-39-15,-1-1 0,-12-12 16,-1 12-16,-13-12 0,-40 26 16,54-40-16,12 14 0,-12-27 0,12 13 15,1-13-15,12 0 0,1 0 0,0 0 16,13-13-1,13-1-15,0 1 0,14 0 16,-1 13-16</inkml:trace>
  <inkml:trace contextRef="#ctx0" brushRef="#br0" timeOffset="74673.22">20241 12449 0,'13'-14'31,"0"1"-31,0 0 0,-13 0 0,14-1 16,-1 1-16,0-13 0,0-1 0,-13 14 15,13-13-15,-13-1 0,14 14 16,-14 0-16,0-14 0,13 14 16,-13 0-16,0 0 0,0-1 15,-13 14-15,-14 14 16,27-1-1,-13-13-15,13 13 0,-13 0 0,13 1 16,0-1-16,-13 0 0,13 0 0,13 0 16,-13 1-1,0-1-15,13 0 0,0 0 0,0 1 16,1-14-16,12-14 16,-13 14-16,-13-13 15,14 13-15,-1-13 0,0 0 16,0 13-16,-13-14 0,14 1 0,-1 13 0,-13-13 15,13 13-15,0 0 16,14 0 0,-27 13-16,13-13 0,-13 13 0,13 1 15,0-1-15,1 0 0,-14 0 0,26 14 16,-26-14-16,13-13 16,-13 13-16,0 0 0,14-13 0,-14 14 15,13-1-15,0 0 16,0-26 15,-13 0-31,0-1 0,13 1 16,1 0-16,-14 0 0,13 0 15,0-1-15,0 1 0,-13 0 16,14 13-16,-1-13 0,0-1 16,0 14-16,0 0 0,1 14 15,-1-1 1,0 0-16,-13 0 0,0 1 15,0-1-15,0 0 16,0 0-16,0 0 0,0 1 16,-13-1-1</inkml:trace>
  <inkml:trace contextRef="#ctx0" brushRef="#br0" timeOffset="75576.28">21114 12171 0,'-40'-13'16,"27"26"-16,0 0 15,-1-13-15,1 13 0,0-13 16,0 14-16,-1-1 0,14 0 15,-13-13-15,0 13 0,13 0 16,-13-13-16,13 14 0,0-1 0,0 0 16,13-13-1,0-13 1,0 13-16,1 0 16,-1-13-16,0 13 15,0 13 1,1-13-1,-14 13-15,13-13 0,0 13 16,0-13-16,14 0 16,-27-13-16,13 13 0,13-13 15,-12 13-15,-1-13 0,0-1 0,0-12 16,1 13-16,-1-14 0,0 1 16,0-1-16,0-12 0,1 12 15,-1-12-15,0-14 0,-13 26 16,13 14-16,-13 0 0,0-1 0,0 1 15,0 0-15,0 53 32,0-27-32,-13 13 0,13 1 15,-13-1-15,13 1 0,-13 12 16,13-12-16,-14-1 0,14 1 0,0-1 16,-13-12-16,13 12 0,-13-13 0,13 0 15,0 1-15,-13-1 0,0 0 16,-1-26-1,1 0 1,13-1-16,13 1 16,-13 0-16,0 0 0,14 0 0,-1-1 15,0 1-15,0 0 0,0 0 16,1-1-16,-1 1 0,13 13 0,-12-13 16,-1 0-16,0 13 0,0 0 0,1-14 15,-1 14-15,0 0 0,0 0 0,0 0 16,1 14-16,-1-14 15,-13 13-15,13-13 16,-13 13-16,0 0 0,13-13 0,-13 14 0,0 12 16,-13-13-1,13 1-15,0-1 32</inkml:trace>
  <inkml:trace contextRef="#ctx0" brushRef="#br0" timeOffset="75708.42">21590 11986 0,'-13'0'16,"0"0"-1,-1 0-15</inkml:trace>
  <inkml:trace contextRef="#ctx0" brushRef="#br0" timeOffset="76090.39">21696 12025 0,'0'14'0,"-13"-1"16,-1 0-1,14 0-15,0 0 16,-13-13-16,13 14 0,0-1 15,13 0 1,1-13 0,-1-13-1,0 0-15,0 13 16,-13-14-16,14 14 47,-1 14-47,0-14 15,0 13-15,0-13 16,1 0-16,-1 0 16,0 0-16,0 0 0,27-13 15,-27 13-15,1 0 0,-1 0 16,-53 0 0,14 0-16,-27 0 15,0 0-15,-40 0 0,1 0 16</inkml:trace>
  <inkml:trace contextRef="#ctx0" brushRef="#br0" timeOffset="-146675.64">16589 1442 0,'-13'-13'15,"13"39"17,0-13-32,0 1 0,-13-14 15,13 13-15,0 0 0,0 0 16,0 1-16,0-1 15,0 0-15,0 0 16,0-52 15,0 25-31,0 1 0,0-13 16,0 12-16,0-25 0,13 26 16,-13-14-16,0 14 0,0 0 0,0-1 15,0 1-15,13 13 16,1 0-16,-1 13 15,0 1-15,0-1 16,-13 0-16,27 0 16,-14 1-16,0-14 15,0 0 1,1-14-16,-1 1 16,-13 0-16,13 13 0,-13-13 15,13 13-15,1-14 0,-1 14 16,-13 14-16,13-1 15,-13 0 1,13 0-16,-13 1 0,0-1 16,0 0-16,14 13 0,-14-12 0,0-1 0,0 13 15,0-12-15,13-1 0,-13 0 0,0 0 16,13 1-16,-13-1 16,13-13-16,0 13 0</inkml:trace>
  <inkml:trace contextRef="#ctx0" brushRef="#br0" timeOffset="-146306.89">17211 1455 0,'0'0'0,"27"-13"31,-14 13-31,13 0 16,-12 0-16,12 0 0,-13 0 0,14-13 15,-1 13-15,-13 0 0,14 0 16,-1-13-16,-13 13 0,1 0 0,12 0 0,-13 0 16,1 0-16,-1-14 0,0 14 15,0 0-15,1 0 0,-1 0 16,-13-13-16,13 13 16</inkml:trace>
  <inkml:trace contextRef="#ctx0" brushRef="#br0" timeOffset="-146011.15">17462 1244 0,'0'0'0,"0"-14"0,27 28 31,-14-1-31,0 0 16,1 0-16,12 0 0,-13 1 0,40 25 16,-40-25-16,1-1 15,-1 0-15,-13 0 0,13 14 0,-13-14 16,0 13-16,0-12 0,-13 12 0,13-13 16,-13 14-16,-1-14 0,1 14 15,13-14-15,-13 13 0,0-13 0,0 1 16,-1-1-16,14 0 0,-13-13 15</inkml:trace>
  <inkml:trace contextRef="#ctx0" brushRef="#br0" timeOffset="-145642.28">18177 1230 0,'0'53'47,"0"-26"-47,0-1 16,0-13-16,13 1 0,-13 25 15,0-12-15,0-14 0,13 0 16,-13 0-16,0 1 0,0-1 15</inkml:trace>
  <inkml:trace contextRef="#ctx0" brushRef="#br0" timeOffset="-145371.5">18137 1204 0,'13'-40'0,"1"27"0,-1 13 15,0 0-15,53 0 16,-39 13 0,-1-13-16,14 27 0,-27-14 15,0 13-15,1-12 0,-1 12 0,-13-13 16,0 0-16,0 14 0,-13-1 16,-1-12-16,-12 39 0,-1-27 15,14 0-15,0-12 0,-14-1 0,14 13 16,0-26-16,0 14 0,0-1 15,-1 0-15,1-13 16</inkml:trace>
  <inkml:trace contextRef="#ctx0" brushRef="#br0" timeOffset="-144867.37">18547 1482 0,'27'-40'16,"-54"80"-16,54-93 0,-27 40 0,0-1 0,0 1 15,0 0-15,0 0 16,0-1-16,-27 14 31,27 14-31,-13-1 0,13 0 16,-13 0-16,13 1 15,0-1-15,0 0 0,0 0 16,13-13-16,-13 13 0,13-13 16,1 14-16,-1-14 15,13-14-15,-13 14 16,1 0-16,-1-13 0,0 13 16,0-13-16,1 13 15,-1 0 1,0 0-16,0 13 15,0-13-15,-13 13 16,14-13-16,-1 14 16,0-14-1,0 0 1,1-14 0,-1 1-16,0 13 15,-13-13-15,13 13 0,1-13 16,-1 13-16,0 0 15,-13-13-15,13 13 16,0 0-16,1 0 0</inkml:trace>
  <inkml:trace contextRef="#ctx0" brushRef="#br0" timeOffset="-144592.53">19037 1336 0,'-13'0'15,"-27"13"1,40 1-16,-13-14 0,13 13 15,-14-13-15,14 13 16,0 0 15,14-13-15,-14 14 0,13-14-16,0 13 15,0 0 1,-13 0-1,14-13 1,-14 13-16,0 1 0,0-1 16,0 0-1</inkml:trace>
  <inkml:trace contextRef="#ctx0" brushRef="#br0" timeOffset="-144416.78">19010 1177 0,'-13'-13'0,"0"26"16</inkml:trace>
  <inkml:trace contextRef="#ctx0" brushRef="#br0" timeOffset="-144164.41">19209 1296 0,'-27'14'0,"1"25"15,26-25-15,0-1 16,-13 0-16,13 0 16,13 1-16,0-1 31,0-13-31,1 0 31</inkml:trace>
  <inkml:trace contextRef="#ctx0" brushRef="#br0" timeOffset="-143239.31">22053 1019 0,'-13'0'0,"0"0"0,-14 13 15,14-13 1,13 13-16,0 14 15,13-27-15,-13 13 16,13 0-16,1 0 0,-14 0 0,13 1 16,0-1-16,0 0 0,-13 0 0,13-13 15,-13 14-15,0-1 0,14 0 16,-14 0-16,0 1 16,0-1-16,-14-13 0,14 13 15,-13 0-15,0-13 0,0 13 0,0-13 16,-14 14-16,14-1 0,0-13 15,-1 0-15,1 13 0,0-13 16,0 0-16</inkml:trace>
  <inkml:trace contextRef="#ctx0" brushRef="#br0" timeOffset="-143019.33">22278 1111 0,'0'-13'0,"13"39"31,-13-12-31,0-1 16,0 0-16,-13 14 16,13-14-16,0 0 0,0 0 0,0 1 15,0-1-15,0 0 0,0 0 16,0 0-16,-13-13 0</inkml:trace>
  <inkml:trace contextRef="#ctx0" brushRef="#br0" timeOffset="-142683.75">22278 1058 0,'13'-26'0,"-26"52"0,39-65 15,-12 25-15,-1 14 16,0 0-16,0 0 0,1 0 0,-1 0 16,0 14-16,13-1 0,-12-13 0,-1 13 15,13 14 1,-12-14-16,-1 0 0,-13 0 0,13 0 15,-13 14-15,0-14 0,-13 0 0,13 1 16,-13-1-16,-1 13 0,1-12 16,0-1-16,-14 0 0,14 0 0,-13 0 15,13 1-15,-14-1 0,1 0 0,12 0 16,-12-13-16,-1 14 0,1-14 16,-27 0-16</inkml:trace>
  <inkml:trace contextRef="#ctx0" brushRef="#br0" timeOffset="-141877.59">19381 1363 0,'172'-14'94</inkml:trace>
  <inkml:trace contextRef="#ctx0" brushRef="#br0" timeOffset="-141669.47">19513 1230 0,'26'-13'31,"-12"26"-31,-1-13 0,0 0 0,0 14 15,1-14-15,-1 13 16,0-13-16,-13 13 0,13 0 16,-13 0-16,-13 1 0,13-1 15,0 0-15,-13-13 0,13 13 16,-13 1-16,13-1 0,-14 0 0,1 0 16,0 1-1</inkml:trace>
  <inkml:trace contextRef="#ctx0" brushRef="#br0" timeOffset="-140928.2">21564 1151 0,'39'13'31,"-26"-13"-31,1 0 16,-1 0-16,0 0 0,0 0 16,1 0-16,-1 0 0,0 0 15,0 0-15,1 0 0,-1 0 16,0 0-16</inkml:trace>
  <inkml:trace contextRef="#ctx0" brushRef="#br0" timeOffset="-140691.41">21749 1085 0,'13'-13'15,"27"52"16,-14-12-31,-26-14 16,13 13 0,-26-12-16,13-1 0,-26 13 15,12-12-15,-12-1 16,13 0-16,0-13 0</inkml:trace>
  <inkml:trace contextRef="#ctx0" brushRef="#br0" timeOffset="-139736.56">19010 1072 0,'0'-14'32,"0"-12"-17,14 13-15,-14-1 0,13 1 16,-13 0-16,13-14 0,13 14 0,-12-13 16,12-14-16,1 14 0,-1-14 0,1 0 15,-1 1-15,0-1 0,14 13 16,-13 1-16,12-14 0,1 14 0,0-14 15,-1 14-15,1-1 0,13 1 0,0 13 16,0-14-16,13 1 0,-13 12 16,13-12-16,0 0 0,0 12 15,14 1-15,-1-13 0,14 12 0,-14 1 16,14 0-16,-14 0 0,14 13 0,-1-14 16,1 14-16,-14 0 0,14 14 15,-1-14-15,-12 13 0,-1 0 0,0 0 16,1 1-16,-14-1 0,66 40 15,-52-27-15,-27-13 0,13 14 16,-13-1-16,0 14 0,-14-14 0,1 1 16,0-14-16,-14 14 0,1-1 0,-1 1 15,0-14-15,1 0 0,-14 13 0,14-12 16,-14-14-16,0 13 16,0 0-16,1 0 0,-1 1 15,0-14-15,-13 13 0,13-13 0,-13 13 16,13-13-1,1 0-15,-14 13 16,13-13-16,-13 14 47,13-14-31,0 0 30,-13-14-30,14 14 0</inkml:trace>
  <inkml:trace contextRef="#ctx0" brushRef="#br0" timeOffset="-139295.59">22225 556 0,'-13'0'16,"26"26"30,0-13-46,-13 1 0,13-14 16,-13 13-16,14 0 0,-1 0 16,-13 0-16,13 1 0,0-1 0,-13 0 15,14 0-15,-14 1 0,13-1 0,-13 0 16,13-13-16,0 13 16,-13 1-16,14-1 0,-14 0 0,13 0 15,-13 0 1,0 1-1,0-1-15,-13-13 16,13 13-16,-14-13 0,1 13 16,0-13-16,0 14 0,-1-14 15,1 0-15,0 0 0,-14 0 16,14 13-16,0-13 0,-13 13 16,12-13-16,-12 0 0,-1 0 0,1 13 15</inkml:trace>
  <inkml:trace contextRef="#ctx0" brushRef="#br0" timeOffset="-138301.52">19897 1177 0,'-14'0'0,"41"14"47,-14-1-31,-13 0-16,13 0 0,1 1 15,-14-1-15,13 0 0,-13 13 0,0-12 16,13-1-16,-13 0 0,13 0 0,-13 1 15,13-1-15,-13 0 16,0 0-16,14-13 0,-14 14 16,0-1-1,13-13-15,-13 13 16,13-26 0,-13 0-16,13-1 15,-13 1-15,0-13 16,14 12-16,-14-12 0,0 13 15,0-14-15,0 14 0,0-13 0,13 12 16,-13 1-16,0 0 0,0 0 0,0-1 16,0 1-16,0 0 0,0 39 47</inkml:trace>
  <inkml:trace contextRef="#ctx0" brushRef="#br0" timeOffset="-137576.56">20214 1244 0,'-13'-14'31,"0"14"-31,13 14 0,-14-1 16,14 0-1,0 0-15,-13 0 0,13 1 16,0-1-16,0 0 16,13 0-1,-13 1-15,14-1 16,-14 0-1,13-26 17,-13 0-32,13 13 0,-13-14 15,0 1-15,0 0 16,13 0 0,1-1-1,-1 14 1,0 0-16,0 0 15,-13 14-15,14-14 0,-14 13 16,13-13-16,-13 13 0,13-13 16,-13 13-16,0 1 15,13-14-15,-13 13 0,0 0 16,0 0 0,0 1-16,13-14 15,1-14 16,-14 1-15,13 13-16,0-13 0,-13 0 0,13-1 16,1 1-16,-1 13 0,-13-13 0,13 13 15,0-13-15,1-1 16,-1 14-16,0 0 16,0 0-16,0 0 15,-13 14-15,14-1 16,-14 0-16,0 0 15,13 1 1,-13-1-16,0 0 16,0 0-1</inkml:trace>
  <inkml:trace contextRef="#ctx0" brushRef="#br0" timeOffset="-137437.24">20585 1138 0,'-14'-14'31,"14"28"-31</inkml:trace>
  <inkml:trace contextRef="#ctx0" brushRef="#br0" timeOffset="-136635.5">20783 1204 0,'0'-13'16,"0"-1"-16,-26 28 31,26-1-31,-14-13 15,14 13-15,-13-13 0,13 13 0,0 1 16,-13-14-16,13 13 0,0 0 0,-13 0 16,13 0-16,0 1 15,-14-1-15,14 0 16,14 0-16,-1 1 31,0-28-15,0 14-1,-13-13-15,14 0 16,-14 0-16,13 13 16,-13-14-16,0 1 0,13 13 15,-13-13-15,0 0 0,13 0 16,-13-1 0,13 1 15,-13 40 0,14-14-15,-14 0-1,0 0 1,13-13-16,-13 13 16,0 1-1,0-1 32,13-26-16,-13-1-31,13 1 16,1 13-16,-14-13 0,13 0 16,0 13-1,0 0 1,1 0-1,-1 13 1,-13 0 0,13 0-1,-13 1 1,0-1 15</inkml:trace>
  <inkml:trace contextRef="#ctx0" brushRef="#br0" timeOffset="-136283.3">21114 1138 0,'-13'0'16,"-1"0"15,1 13-31,13 0 16,-13 0-16,13 1 15,0-1-15,13 0 0,-13 0 16,13-13-16,1 0 16,-1 0-16,0 0 15,0 0-15,0 0 16,1-13-1,-1 13 1,0 0 15,-13 13-15,13-13 0,-13 14-1</inkml:trace>
  <inkml:trace contextRef="#ctx0" brushRef="#br0" timeOffset="-135579.58">20016 1667 0,'39'-13'15,"-25"13"-15,-1 0 0,13-14 16,1 14-16,-1-13 0,14 13 0,0-13 16,-1 0-16,14 13 0,-13-13 15,13-1-15,-13 14 0,-1-13 0,1 13 16,0-13-16,-14 13 0,1 0 0,-1 0 16,-13-13-16,14 13 0,-14 0 0,0 0 15,0 0-15,1 0 16,-1 0-16,-40 13 31,14-13-31,-13 13 0,-1-13 0,-12 13 16,-1-13-16,-13 14 0,13-1 15,-13 0-15,14 0 0,-14-13 0,13 13 16,0 1-16,14-14 0,-1 0 0,14 13 16,-13-13-16,12 0 15,1 13-15,0-13 0,53-13 31,-14 13-31,1 0 16,-1-13-16,14 13 0,13-14 0,-14 14 16,1 0-16,-13-13 0,-1 13 0,14 0 15,-14-13-15,1 13 0,-14 0 0,13 0 16,-12 0-16,-1-13 0,0 13 16,0 0-16,0 0 0,1 0 15,-1 0-15,0 0 16</inkml:trace>
  <inkml:trace contextRef="#ctx0" brushRef="#br0" timeOffset="-132720.42">19209 1257 0,'-13'-13'62,"13"-1"-46,0 1-16,13 0 0,-13 0 16,13-1-1,-13 1-15,13 0 16,0 0-16,1-1 0,-1 1 15,-13 0-15,13 0 0,0 13 16,1-13-16,-1-1 0,0 1 0,0 0 16,1 13-16,-1-13 0,0-1 15,0 1-15,14 13 0,-1-13 0,-13 0 16,14-1-16,-14 14 0,13 0 0,-12-13 16,12 0-16,14 0 15,-14 13-15,1-13 0,-14 13 16,13-14-16,-12 14 0,12-13 0,-13 13 15,1-13-15,12 13 0,-13 0 0,14-13 16,-14 13-16,13 0 0,-12 0 0,-1 0 16,0 0-16,14 0 0,-14 0 15,0 0-15,0 0 0,14 0 0,-14 0 16,13 0-16,-12 0 0,12 0 0,1 13 16,-14-13-16,13 0 0,-13 0 15,14 13-15,-14-13 0,14 13 0,-14-13 16,0 0-16,14 14 0,-14-14 0,0 13 15,0-13-15,0 13 16,1-13-16,-14 13 0,13-13 0,0 13 16,0-13-16,1 0 0,-1 0 15,-13 14-15,13-14 16,0 13 0,1-13-1,-14 13-15,13-13 47,-13 13 0,13-26 31,-13 0-62,0 0-1,0-1 17,13 14-17,-13-13 1,13 0-1,-13 0-15,14 0 16,-14-1-16,13 14 16,-13-13-16,13 0 15,0 13-15,-13-13 0,14-1 16,-1 1-16,0 0 16,-13 0-16,13 13 15,1-13-15,-1-1 16,0 1-16,0 13 0,-13-13 15,13 13-15,1-13 0,-1 13 16,0-14-16,0 14 0,1-13 16,-1 13-16,0-13 0,13 0 0,-12 13 15,-1-14-15,13 14 0,-12-13 0,12 13 16,-13-13-16,14 13 0,-14 0 16,13-13-16,-12 13 0,12 0 0,1-13 15,-14 13-15,13 0 0,-12-14 0,12 14 16,-13 0-16,0 0 0,14 0 0,-14 0 15,0-13-15,14 13 16,-14 0-16,0 0 0,0 0 0,14 0 0,-14 0 16,0 0-16,14 0 0,-14 0 15,0 0-15,14 0 0,-14 0 16,0 0-16,0 13 0,14-13 0,-14 0 16,0 0-16,14 0 0,-14 0 0,0 0 15,14 14-15,-14-14 0,0 0 0,0 0 16,14 0-16,-14 13 0,0-13 15,1 0-15,12 13 0,-13-13 0,1 0 16,12 13-16,-13-13 0,0 13 0,1-13 16,12 0-16,-13 14 0,1-14 15,-1 13-15,0-13 0,0 0 16,-13 13-16,14-13 0,-1 13 0,0-13 16,0 0-16,-13 14 0,13-14 0,1 13 15,-1-13-15,0 13 16,0-13-16,-13 13 15,14-13-15,-1 14 16,0-14 15,0 13 16,-26-40 31</inkml:trace>
  <inkml:trace contextRef="#ctx0" brushRef="#br0" timeOffset="-131951.58">21881 648 0,'27'13'63,"-27"1"-48,13-14-15,-13 13 16,13-13-16,0 13 15,0-13-15,-13 13 16,14-13-16,-1 14 0,0-14 16,0 13-16,1-13 15,-14 13-15,13-13 16,-13 13-16,13-13 0,-13 14 16,13-14-16,0 0 15,-13 13-15,14-13 16,-14 13 15,13-13-15,-26 13 31,-1-13-47,14 13 0,-13-13 0,13 14 15,-13-14-15,0 13 0,0-13 16,-1 13-16,1 0 0,0-13 0,-14 14 15,14-1-15,0 0 0,0-13 16,13 13-16,-13-13 0,-1 0 0,14 13 16</inkml:trace>
  <inkml:trace contextRef="#ctx0" brushRef="#br0" timeOffset="-129997.39">22093 1588 0,'26'0'32,"-13"0"-32,1 0 0,12-14 15,1 14-15,-1 0 16,14-13-16,-1 13 0,1-13 0,0 13 16,-14 0-16,14 0 0,-14-13 0,1 13 15,-14 0-15,13 0 0,-12 0 16,-1 0-16,0 0 0,0 0 0,1 0 15</inkml:trace>
  <inkml:trace contextRef="#ctx0" brushRef="#br0" timeOffset="-129771.53">22053 1707 0,'-13'13'16,"39"-13"-1,-13 0 1,1 0-16,12-13 0,1 13 0,-1 0 16,1 0-16,12 0 0,-12-14 15,12 14-15,-12 0 0,-1 0 0,1 0 16,-1 0-16,1 0 0,-14-13 0,13 13 16,-12 13-16,-1-13 0,0 0 15,0 0-15,0 0 0,1 14 16,-1-14-16</inkml:trace>
</inkml:ink>
</file>

<file path=ppt/ink/ink16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6T13:17:28.244"/>
    </inkml:context>
    <inkml:brush xml:id="br0">
      <inkml:brushProperty name="width" value="0.05292" units="cm"/>
      <inkml:brushProperty name="height" value="0.05292" units="cm"/>
      <inkml:brushProperty name="color" value="#0070C0"/>
    </inkml:brush>
  </inkml:definitions>
  <inkml:trace contextRef="#ctx0" brushRef="#br0">7541 4921 0,'26'0'78,"53"0"-78,14 0 16,13 40-16,39-27 15,14-13 1,-13 0-16,12 13 15,-25 1-15,-1-14 16,-53 0-16,14 0 16,-40 0-16,-40 0 15,27 0-15,0 0 16,-27 0 0,0 0 15,13 0-16,67 0-15,13 0 16,-40 0-16,13 0 16,1 0-1,26 0-15,52 0 0,-65 0 16,-53 0-16,-27 0 16,0 0-1,-13-14 63,0 1-46,0-66-32,0 39 15,0-13-15,0 0 16,-13-39-16,13 12 15,0-12-15,0 39 16,0-53-16,0 53 16,0 0-16,0 27 15,0 12-15,0 1 16,0 0 0,-27 13 171,-39 0-171,-40 0-16,-13-13 15,40 0-15,-53-1 16,-14 1-16,27 0 16,13 13-16,-13 0 15,66-13-15,-53 13 16,54-14-16,-1 14 15,0 0-15,13 0 16,-13 0-16,13 0 16,1 0-16,-1 0 15,14 0-15,-27 0 16,0 0-16,26 0 16,1 0-1,-27 0-15,26 0 0,-12 0 16,-1 0-1,14 0-15,-14 0 16,14 0-16,-1 0 16,1 0-16,-14 0 15,0 0-15,1 0 16,-1 0-16,0 0 0,14 0 16,-14 0-1,0 0-15,1 0 16,-1 0-16,0 0 15,-13 0 1,27 0-16,-14 0 0,0 0 16,1 0-16,-14 0 15,0 0-15,13 0 16,1 0-16,-14 0 16,-27 0-16,14 0 15,-66 0-15,105 0 16,-12 0-16,39 14 172,0-1-157,0 13-15,0 40 16,0 14-16,39 12 16,14 27-16,-26 14 15,-1-41-15,1 1 16,-14-14-16,13-13 15,-26 14-15,0-40 16,0-1-16,0 14 16,0-26-16,0-14 15,0 0-15,14 0 16,-14 1 0,0-1-1,0 0 1,0 0-16,13-13 15,-13 13 1,13-13 281,0-13-281,1-13-16,12 26 15,-26-13-15,26-1 16,-26 1-16,14 13 15,-1-13-15,13 0 16,1-14-16,-14 27 16,14-13-1,-27 0-15,26 13 16,-13-14-16,14-12 16,-14 26-16,27 0 15,-14 0-15,-13-13 16,0 13-16,1-13 15,-1-1-15,0 14 16,14 0-16,-27-13 16,13 13-1,0 0 392,0 0-407,1 0 15,-1 0 1,0 0-16,0 0 15,0 0-15,14-13 0,-1 13 32,-12 0-1,-1 0-15,0 0 30,0 0-30,1 0 15,-1 0 79,0 0-79,-13-13-31,13-1 16,0 14-16,1 0 15,-1-13-15,0 13 47,-13-13-47,13 13 16,-13-13 46,14 13-31</inkml:trace>
  <inkml:trace contextRef="#ctx0" brushRef="#br0" timeOffset="5239.85">14261 10848 0,'0'-13'0,"0"-1"62,13 14-46,1 0-16,-1 0 15,0 14-15,0-14 0,14 0 0,-14-14 16,13 14-16,1 0 0,-1 0 0,1 0 16,-14 0-16,13 0 0,1 0 15,-1 0-15,-12 0 0,-1 0 0,0 0 16,0 0-16,0 0 0,1-13 0,-1 13 16,0 0-1,-53 0 16,27 0-15,0 0-16</inkml:trace>
  <inkml:trace contextRef="#ctx0" brushRef="#br0" timeOffset="5908.07">14420 10716 0,'13'0'16,"-26"0"15,-14 0-16,14 0 1,0 13-16,0-13 0,-1 0 16,1 13-16,0-13 15,0 0-15,13 13 0,-13-13 16,-1 14-16,1-14 16,13 13-16,-13-13 15,13 13 1,-13-13-1,13 13-15,0 0 32,0 1-17,13-1 1,0-13-16,-13 13 16,13-13-16,1 13 0,-1 1 15,0-14-15,0 13 16,0-13-16,1 13 0,-1-13 15,0 13-15,0-13 0,1 14 16,-1-14 0,0 13-1,13-26 1</inkml:trace>
  <inkml:trace contextRef="#ctx0" brushRef="#br0" timeOffset="7382.06">14684 10821 0,'0'-13'15,"14"0"1,-14 0-16,0 0 0,0-14 16,0 14-16,13 0 15,-13-14-15,0 1 0,0-14 0,0 0 16,-13-13-16,13 14 0,-14-27 0,14 13 15,-13-13-15,13-1 0,-13 14 16,0-13-16,13 0 0,-14 13 16,1-13-16,13 26 0,-13-13 0,13 14 15,0-1-15,-13 0 0,13 14 16,0 0-16,0-14 0,0 13 16,0 14-16,-13 0 0,13 0 0,0-1 15,0 1-15,0 0 16,13 39 15,0-26-31,0 14 16,0-1-1</inkml:trace>
  <inkml:trace contextRef="#ctx0" brushRef="#br0" timeOffset="8205.14">15068 9141 0,'26'-26'15,"-52"52"-15,66-65 0,-27 39 0,0 0 16,0 0-16,1 0 15,-1 0-15,0 0 16,-13 13-16,-13 0 16,13 0-1,-13 1-15,13-1 16,0 0 0,13-13-16,0 13 15,0-13-15,1 14 0,-1-14 16,0 0-16,0 13 15,0-13-15,-13 13 16,0 0-16,-13 0 16,0 1-1,0-14-15,0 0 0,-1 13 0,1-13 16,0 0-16,0 13 0,-1-13 16,1 0-16,13 13 0,-13-13 15</inkml:trace>
  <inkml:trace contextRef="#ctx0" brushRef="#br0" timeOffset="8638.87">15558 9062 0,'-14'-13'16,"28"26"-16,-41-26 0,14 13 16,-14 0-16,27 13 15,-13-13-15,0 13 0,0-13 0,13 13 16,-14 1-16,14-1 15,-13-13-15,13 13 0,13 0 16,14-26 15,-14 13-31,0 0 16,1-13-16,-1 13 0,-13-13 16,13 13-16,0 0 15,1 0 1,-14 13-16,0 13 15,0-12 1,0-1-16,0 0 16,0 0-16,0 1 0,0-1 15</inkml:trace>
  <inkml:trace contextRef="#ctx0" brushRef="#br0" timeOffset="9060.28">15888 9036 0,'0'-14'31,"-26"28"-15,13-1-16,-1-13 15,1 13-15,0-13 0,0 13 16,-1-13-16,1 13 0,13 1 16,-13-14-16,0 0 0,-1 13 0,1 0 15,0-13-15,13 13 16,-13-13-16,13 14 16,13-14 15,0 13-31,0-26 15,14 13 1,-14 0-16,0 0 0,1 0 0,-1 0 16,0 0-16,0 0 0,1-14 15,-1 14-15,0 0 0,0 0 16,0 0 0,1-13-16,-1 13 15</inkml:trace>
  <inkml:trace contextRef="#ctx0" brushRef="#br0" timeOffset="9275.73">15928 8983 0,'-13'0'0,"26"0"0,-26-14 0,-1 28 32,1-1-32,13 0 0,-13 0 15,13 1-15,0-1 0,0 0 0,-13 13 16,13-12-16,0-1 0,0 0 15,0 0-15,0 1 0,0 12 16,0-13-16,0 1 0,0-1 0,0 0 0,0 0 16,13 0-16,-13 1 15,0-1-15,-13 13 16</inkml:trace>
  <inkml:trace contextRef="#ctx0" brushRef="#br0" timeOffset="11962.71">2791 10147 0,'27'0'0,"52"-13"31</inkml:trace>
  <inkml:trace contextRef="#ctx0" brushRef="#br0" timeOffset="13395.17">15028 8599 0,'0'-13'0,"-13"-14"31,26 67 0,-13-27-15,0 14-16,0-14 15,0 0-15,0 0 0,0 1 16,0-1-16,0 0 16,0 0-1,0 0 1</inkml:trace>
  <inkml:trace contextRef="#ctx0" brushRef="#br0" timeOffset="13598.04">14936 8665 0,'13'-13'15,"0"0"1,0 13-16,1 0 16,-1-14-16,0 14 15,0 0-15,1 0 0,-1-13 16,0 13-16,13 0 0,-12 0 15,-1 0-15,0-13 0,0 13 16,1 0-16</inkml:trace>
  <inkml:trace contextRef="#ctx0" brushRef="#br0" timeOffset="14246.81">15425 8467 0,'-13'0'0,"0"13"32,13 0-17,0 0-15,-13 1 16,13-1-16,0 0 0,-14 0 0,14 0 0,0 1 15,-13-1-15,13 0 16,0 0-16,-13 1 0,13-1 16</inkml:trace>
  <inkml:trace contextRef="#ctx0" brushRef="#br0" timeOffset="14570.16">15610 8467 0,'14'0'16,"-28"0"-16,1 13 31,0-13-31,13 13 16,-13 0-16,0-13 0,-1 14 16,1-1-16,0-13 0,0 13 0,-1 0 15,1 0-15,0 1 16,13-1-1,0 0 1,13-13-16,0 0 16,1 0-16,-1 0 0,0 0 0,0 0 15,1 0-15,-1 0 0,0 0 0,0 0 16,0 0-16,1 0 0,-1 0 16,0 0-16,0 0 0,1 0 15,-1-13-15,0 13 0,0 0 16</inkml:trace>
  <inkml:trace contextRef="#ctx0" brushRef="#br0" timeOffset="14803.51">15650 8467 0,'-13'-14'31,"13"28"-31,-13-1 16,13 0-16,-14 0 0,14 1 15,0-1-15,0 0 0,-13 0 0,13 0 16,0 1-16,0-1 16,-13 0-16,13 0 0,0 1 15,0-1-15,0 0 0,0 0 16,0 1 0,13-1-1</inkml:trace>
  <inkml:trace contextRef="#ctx0" brushRef="#br0" timeOffset="15251.04">15756 8414 0,'0'-13'0,"13"-1"31,0 14-15,1 0-16,-1 0 15,0 0-15,0 0 0,-13 14 16,14-14-16,-14 13 0,13-13 0,-13 13 16,0 0-16,13 0 15,-13 1-15,0-1 0,0 0 0,0 0 16,0 1-16,0-1 0,-13 0 0,13 0 16,0 0-16,0 1 0,0-1 15,0 0-15,-13 0 0,13 1 16,0-1-1,13 0 1,0-26 0</inkml:trace>
  <inkml:trace contextRef="#ctx0" brushRef="#br0" timeOffset="15523.86">15690 8533 0,'0'0'0,"13"-13"15,0 13-15,0 0 16,1 0-16,-1 0 0,0 0 16,14 0-16,-14-14 0,13 14 15,-12 0-15,12 0 0,0 0 0,1 0 16,-14 0-16,14 0 0,-14-13 0,0 13 15,0 0-15,1 0 0,-1 0 0,0 0 16,0 0-16,0 0 16,1 0-1,-1 0-15,-13 13 16</inkml:trace>
  <inkml:trace contextRef="#ctx0" brushRef="#br0" timeOffset="16683.57">16589 9022 0,'-13'0'0,"0"0"32,39-26-17,-12 26-15,118-27 31,-79 27-31,-27-13 0,14 13 0,13-13 16,-13 13-16,-1-13 0,14 13 0,-13 0 16,0-14-16,-1 14 0,-12 0 15,12-13-15,1 13 0,0 0 0,-14-13 16,1 13-16,26 0 0,-27-13 16,14 13-16,-14 0 0,14-13 0,-14 13 15,1 0-15,12 0 0,-12-14 16,-1 14-16,-12 0 0,12 0 0,1-13 15,-14 13-15,0 0 0,13 0 0,-12 0 16,-1-13-16,0 13 0,0 0 16,1 0-16,-1 0 15,0 0-15,0-13 16,-13-1 109,14 14-109,-14-13-1</inkml:trace>
  <inkml:trace contextRef="#ctx0" brushRef="#br0" timeOffset="17055.18">17859 8705 0,'0'0'0,"27"0"31,-14 0-15,0 0-16,1 0 0,-14 13 0,13-13 16,0 0-16,0 0 0,0 0 15,1 0-15,-1 0 0,0 13 0,0-13 16,1 0-16,-1 0 16,0 0-16,0 0 15,-13 13-15,14-13 0,-1 0 16,-13 14-1,0-1-15,0 0 16,-13 0-16,13 1 16,-14-14-16,14 13 0,-13 0 0,0 0 15,0-13-15,-1 14 0,1-1 0,-13 0 16,12 0-16,-12 0 0,0 1 16,-14-1-16,0 0 0,14 0 0,-14 1 15,0-14-15</inkml:trace>
  <inkml:trace contextRef="#ctx0" brushRef="#br0" timeOffset="17654">16735 8864 0,'-13'-14'0,"-1"14"0,1 14 16,0-14-16,0 0 16,0 13-16,-14-13 0,14 13 15,0-13-15,-14 13 0,14 0 0,-14 1 16,14-1-16,-13 0 0,13 0 0,-1 1 15,1-1-15,0-13 0,0 13 0,13 0 16,-14 1-16,1-1 16,13 0-16,0 0 15,0 0-15,13-13 0,-13 14 16,14-14-16,-1 13 0,0-13 16,0 0-16,14 0 0,-14 13 0,0-13 15,14 0-15,-14 0 0,0 0 16,0 13-16,14-13 0,-14 0 15,0 0-15,1 0 0,-1 0 0,0 0 16,0 0-16,0 0 0,-13 14 0,14-14 16,-1 0-16,0 0 0,0 13 15,1-13-15,-1 0 0,0 0 16,14 0-16,-14 0 0,13 13 0</inkml:trace>
  <inkml:trace contextRef="#ctx0" brushRef="#br0" timeOffset="18666.15">19050 8692 0,'13'-14'16,"14"1"-1,-1 13-15,-13 13 16,1-13-16,-1 14 16,0-14-16,-13 13 15,0 0-15,0 0 16,-13 0-16,13 1 0,-13-14 15,13 13-15,0 0 32,13 0-32,0-13 15,0 0-15,1 14 16,-1-14-16,0 0 0,-13 13 0,13-13 16,0 0-16,-13 13 0,14 0 15,-28 1 1,1-14-1,0 13-15,0-13 0,-14 13 16,14-13-16,0 0 0,0 0 0,-1 0 16,1 0-16,0 13 15,0-26-15</inkml:trace>
  <inkml:trace contextRef="#ctx0" brushRef="#br0" timeOffset="19046.21">19500 8665 0,'-27'-13'16,"54"26"-16,-67-26 0,14 26 15,-1-13-15,27 13 16,-26-13-16,26 14 0,-13-14 15,-1 13-15,1-13 0,13 13 0,-13 0 16,26-13 0,0 0-16,1 0 15,-1 0-15,0-13 0,0 13 16,0 0-16,1-13 0,-1 13 16,0 0-1,0 0 1,-13 13-16,0 0 15,0 0-15,0 1 16,0-1-16,0 0 16,0 0-16,0 1 0,0-1 0,0 0 15,0 0-15,0 1 16,14-14-16,-14 13 0,13-13 16,0 0-16</inkml:trace>
  <inkml:trace contextRef="#ctx0" brushRef="#br0" timeOffset="19352.11">19897 8678 0,'13'-13'31,"-26"26"-15,-1-13-1,1 14-15,0-14 0,0 13 16,-14 0-16,14 0 0,0 0 0,-14 1 15,14-1-15,0-13 0,0 13 0,13 0 16,-14-13-16,1 14 0,13-1 16,-13-13-16,13 13 15,13-13-15,-13 13 16,13-13-16,1 14 0,12-14 16,-13 0-16,14 13 15,-1-13-15,-12 0 0,-1 0 16,0 0-16,0 0 0,0-13 0,1 13 15,-1 0-15,0-14 0,0 14 16,1-13-16</inkml:trace>
  <inkml:trace contextRef="#ctx0" brushRef="#br0" timeOffset="19555.98">19936 8599 0,'-26'13'0,"13"-13"0,13 13 15,-14 1-15,14-1 0,0 0 0,-13 14 16,13-14-16,0 0 0,-13 13 16,13-12-16,0 39 15,0-40-15,0 0 0,0 0 16,0 1-16,13-1 0,-26 0 0,13 0 0,0 0 16,0 1-16</inkml:trace>
  <inkml:trace contextRef="#ctx0" brushRef="#br0" timeOffset="20068.09">18666 8401 0,'0'0'0,"27"0"31,-14 0-15,0-14-16,0 14 0,1 0 16,-1 0-16,0 0 0,0-13 15,1 13-15,-1 0 0,0 0 16,0-13-16</inkml:trace>
  <inkml:trace contextRef="#ctx0" brushRef="#br0" timeOffset="20700.16">19010 8215 0,'0'-13'31,"0"26"219,0 1-250,0-1 0,14-13 15,-14 13-15,0 0 0,0 0 16,0 1-16,0-1 0,0 0 16,13 0-16,-13 1 0,0-1 15,0 0-15,0 0 16,13 1 0</inkml:trace>
  <inkml:trace contextRef="#ctx0" brushRef="#br0" timeOffset="21061.87">19328 8162 0,'0'-13'32,"-13"26"-32,-1 1 15,1-14-15,13 13 0,-13 0 0,0-13 16,-1 13-16,1 1 16,13-1-16,-13-13 0,0 13 0,13 0 15,-13-13-15,13 13 16,13 1-1,0-14-15,0 0 16,0 0-16,1 0 0,-1 0 0,0-14 16,0 14-16,1 0 0,12 0 0,-13 0 15,1-13-15,-1 13 16,0 0-16,0 0 0,0-13 0,1 13 16,-1 0-16,0-13 0,0 13 0,-13-13 15</inkml:trace>
  <inkml:trace contextRef="#ctx0" brushRef="#br0" timeOffset="21287.02">19420 8096 0,'-13'-13'0,"0"26"32,0 0-17,13 1-15,-13-1 16,13 0-16,0 0 0,0 1 15,0-1-15,-14 0 16,14 0-16,0 1 0,0-1 16,0 0-16,0 0 0,0 0 15,14 1-15,-14-1 0,13 0 16,0-13 0</inkml:trace>
  <inkml:trace contextRef="#ctx0" brushRef="#br0" timeOffset="21626.99">19500 7977 0,'66'-13'16,"-53"13"-16,0 0 16,1 0-16,-1 13 0,0-13 15,0 0-15,-13 13 0,14-13 16,-1 14-16,0-14 0,-13 13 0,13-13 16,-13 13-16,0 0 0,13 1 0,-13-1 15,14 0-15,-14 0 0,0 0 16,0 1-16,0-1 15,13 0-15,-13 0 0,0 1 16,13-1-16,0 0 16,1 0-1</inkml:trace>
  <inkml:trace contextRef="#ctx0" brushRef="#br0" timeOffset="21816.07">19619 8096 0,'13'-13'16,"0"13"-1,14 0-15,-14-13 0,13 13 0,-12 0 16,12-13-16,1 13 0,-14 0 0,0-14 16,14 14-16,-14 0 0,0 0 15</inkml:trace>
  <inkml:trace contextRef="#ctx0" brushRef="#br0" timeOffset="22380.07">18322 7818 0,'-39'-39'0,"78"78"0,-92-91 15,27 25-15,-14 1 0,-13-1 0,1 1 16,-1-1-16,-27-12 0,1 12 16,-1-13-16,-25 14 0,-1-14 0,0 14 15,-13-1-15,0 14 0,0-13 0,-27 12 16,14 1-16,-14 0 0,1 13 0,-14-13 15,14 13-15,-14 13 16,-13 0-16,13 0 0,0 1 0,-13 12 16,14 14-16,-14-14 0,13 14 0,0 13 15,-13 0-15,-26 13 0,39-13 16,14 0-16,-1 13 0,-132 40 16,146-40-16,13 0 0,-93 40 15,120-53-15,-1 0 0,27-14 0,13 1 16,0-13-16,0-1 0,13 0 15,14-12-15,13-1 0,-14 0 0,14 0 16</inkml:trace>
  <inkml:trace contextRef="#ctx0" brushRef="#br0" timeOffset="22667.83">12740 8096 0,'-40'27'0,"80"-54"0,-93 80 0,26-26 16,1-1-16,-1 14 0,14-14 15,-13 14-15,12-14 0,1 14 16,13-13-16,0-1 0,0-13 0,0 14 15,27-1-15,-1-13 0,1 14 0,12-14 16,14 0-16,0-13 0,0 0 16,26 0-16,14 0 0,0-13 0,-1 0 15,27 0-15,0-14 0,0 14 0,0 0 16,14-14-16,-14 14 0,0-13 16,13-1-16,1 14 0</inkml:trace>
  <inkml:trace contextRef="#ctx0" brushRef="#br0" timeOffset="36838.93">19341 6390 0,'27'-14'0,"-1"14"31,-26-13-31,-40 26 31,27-13-15,0 0-16,-14 14 0,14-14 16,0 13-16,-14-13 0,14 13 0,0-13 15,-13 13-15,12-13 0,1 14 0,0-14 16,0 13-16,-1-13 15,14 13 1,14 0-16,-1 1 16,0-1-16,0-13 15,1 13-15,-1-13 0,13 13 16,-13-13-16,1 13 0,-1-13 0,0 14 16,0-14-16,-13 13 0,14-13 0,-1 0 15,-13 13-15,13-13 0,-13 13 0,0 1 16,0-1-1,-13-13-15,13 13 0,-13-13 16,-1 13-16,14 1 0,-13-14 0,0 13 16,0-13-16,-1 13 0,1-13 15,0 0-15,0 13 0,0-13 0,-1 0 16,1 0-16,0 13 0,0-13 16,-1 0 15,41 0-16</inkml:trace>
  <inkml:trace contextRef="#ctx0" brushRef="#br0" timeOffset="37686.69">19764 6403 0,'-39'13'31,"25"-13"-31,1 13 0,0-13 16,0 14-16,0-1 0,-1 0 0,-12 0 15,13 1-15,-1-14 0,1 13 0,13 0 16,-13 0-16,0-13 0,13 13 16,-14 1-16,1-14 0,13 13 15,0 0-15,13-13 16,1 13-16,-1-13 15,13 0-15,-12 0 16,-1 0-16,13 0 0,1-13 0,-1 13 16,1 0-16,-1-13 0,-13 13 0,14 0 15,-1-13-15,-12 13 0,-1 0 0,0 0 16,0 0-16,0 0 16,1-14-16,-1 14 0,0 0 15,-13-13-15</inkml:trace>
  <inkml:trace contextRef="#ctx0" brushRef="#br0" timeOffset="37919">19831 6429 0,'-14'-13'0,"1"26"31,13 1-31,0-1 16,-13 13-16,13-12 0,0-1 15,0 0-15,-13 13 0,13-12 0,0-1 16,0 13-16,-14-12 0,14-1 16,0 0-16,0 0 0,0 1 0,0-1 15,0 0-15,0 0 16,14-13-16,-14 13 16,13-13-16</inkml:trace>
  <inkml:trace contextRef="#ctx0" brushRef="#br0" timeOffset="38690.86">20148 6376 0,'13'0'0,"-26"0"0,39 0 16,-12 0-16,-1 14 31,-13-1-31,0 0 16,0 0 0,13-13-16,-13 14 15,13-14-15,1 0 0,-1 13 16,0-13-16,0 13 15,1-13-15,-14 13 0,13-13 0,-13 14 16,0-1 0,0 0-16,-13 0 0,-1 0 15,1 1-15,-13-14 0,12 13 16,1 0-16,0 0 0,-14-13 0,14 14 16,-13-1-16,13-13 15,-14 13-15,1-13 0,12 13 0,-12-13 16,13 0-16</inkml:trace>
  <inkml:trace contextRef="#ctx0" brushRef="#br0" timeOffset="40128.19">18640 6469 0,'-27'-13'47,"14"13"-47,0 0 15,-13 0-15,-1-13 0,1 13 0,-1 0 16,1 0-16,-27-14 0,13 14 16,-13 0-16,13 0 0,-12-13 0,-1 13 15,0 0-15,0 0 0,13 0 16,-13-13-16,0 13 0,14 0 0,-1 0 15,0 0-15,1 0 0,-1 0 0,-13 0 16,0 0-16,13 0 0,1 0 0,-1 13 16,13-13-16,-12 0 15,12 0-15,1 0 0,-1 0 0,1 13 16,0-13-16,12 0 0,1 0 0,0 0 0,0 0 16,-1 0-16,1 0 0,0 0 15,0 14-15,-1-14 0,1 0 16,0 0 15</inkml:trace>
  <inkml:trace contextRef="#ctx0" brushRef="#br0" timeOffset="40583.9">17502 6297 0,'-13'-13'0,"-14"13"15,14 0-15,-106 26 16,93-12-1,-1-14-15,1 13 0,-1-13 0,14 13 16,-13-13-16,-1 13 0,14-13 16,0 13-16,0-13 0,-1 0 0,1 14 15,0-14-15,0 13 0,-1-13 0,1 13 16,13 0 0,0 1-16,0-1 15,13 0-15,-13 0 16,14-13-16,-1 14 0,0-1 0,14 0 15,-14-13-15,13 13 0,-13 0 0,14-13 16,-1 14-16,-12-14 0,12 13 16,-13-13-16,14 13 0,-14-13 0,0 13 15,0-13-15,1 0 0,-1 14 16,0-14-16,0 0 0,1 13 0,-1-13 16,0 13-1</inkml:trace>
  <inkml:trace contextRef="#ctx0" brushRef="#br0" timeOffset="46742.04">15610 6284 0,'14'-13'16,"-28"26"-16,41-26 0,-14-1 0,0 14 0,1 0 16,-1 0-16,0 0 0,0 0 15,0 0-15,1 14 0,-1-1 16,-13 0-16,0 14 0,-13-14 16,-14 13-16,14 1 0,0-1 15,-14 1-15,1-1 0,13-13 16,-14 14-16,1-14 0,13 0 0,-1 0 15,1-13-15,13 14 0,-13-1 0,0-13 16,13 13-16,-14-13 16,41 0-1,-14 0 1,0 0-16,1 0 0,12-13 16,-13 13-16,0 0 0,14-13 0,-14 13 15,0 0-15,1-14 0,-1 14 0,0 0 16,0 0-16,0-13 0,1 13 0,-1 0 15,0 0-15,14 0 16,-14-13-16,0 13 16,0-13-16</inkml:trace>
  <inkml:trace contextRef="#ctx0" brushRef="#br0" timeOffset="47070.89">16140 6297 0,'0'-13'0,"-14"13"32,1 0-32,0 0 0,-14 13 0,14-13 15,-13 13-15,13 1 0,-14-1 16,1 0-16,12 0 0,-12 0 0,13-13 16,-1 14-16,1-1 0,0-13 15,13 13-15,-13-13 0,13 13 0,0 1 16,13-14-16,0 0 15,0 13-15,1-13 0,12 0 16,-13 0-16,14-13 0,-14 13 0,14 0 16,-1 0-16,0 0 0,-12-14 0,12 14 15,1 0-15,-14-13 0,0 13 16,0 0-16,0 0 0,1-13 16,-1 13-16,0 0 0,0 0 15,1-13-15</inkml:trace>
  <inkml:trace contextRef="#ctx0" brushRef="#br0" timeOffset="47315.74">16153 6284 0,'-13'-13'31,"13"39"-15,0-13-16,0 1 0,-14-1 15,14 0-15,0 0 0,0 0 16,0 1-16,-13-1 0,13 13 16,0-12-16,0-1 0,0 0 0,0 0 15,-13 1-15,13-1 0,0 0 0,0 0 16,0 0-16,0 1 16,13-14-16,-13 13 0,13-13 15</inkml:trace>
  <inkml:trace contextRef="#ctx0" brushRef="#br0" timeOffset="48378.1">16378 6204 0,'26'0'46,"-13"-13"-30,1 13-16,-1 0 0,0 0 16,0 0-16,14 0 15,-14 13-15,-13 1 16,13-14-16,-13 13 0,0 0 16,0 0-16,0 14 0,0-14 15,-13 0-15,13 1 0,0-1 16,0 0-16,0 0 0,0 0 15,-13-13-15,13 14 0,0-1 0,0 0 16,0 0-16,0 1 16,-13-14-1</inkml:trace>
  <inkml:trace contextRef="#ctx0" brushRef="#br0" timeOffset="48556.09">16378 6416 0,'-14'0'15,"41"-13"1,-14 13-16,0 0 16,14 0-16,-14-13 0,14 13 15,-14 0-15,13 0 0,-13-14 0,14 14 16,-14 0-16,0-13 0,1 13 0,-1 0 16,0-13-16,0 13 0,1 0 15,-1 0-15</inkml:trace>
  <inkml:trace contextRef="#ctx0" brushRef="#br0" timeOffset="53027.41">23125 10279 0,'-40'-13'15,"27"13"1,-1-13 0,41 26 15,-1-13-31,1 13 0,13-13 15,-1 0-15,14 0 0,0 13 16,0-13-16,-13 0 0,13 0 16,-1 0-16,1 0 0,0 0 0,0 0 15,-13 0-15,-14 0 0,14 0 0,-14 0 16,-12-13-16,12 13 0,-13 0 16,1 0-16,-1 0 0,0 0 0,-53 0 31,27 0-31,-27 0 15,14 0-15,-27 13 0,13-13 0,-12 0 16,-1 0-16,26 0 0,-13 14 0,14-14 16,13 0-16,-14 0 0,14 0 15,0 0-15,39 13 32,-12-13-32,12 0 0,14 0 15,-14 0-15,27 0 0,0 0 0,0-13 16,-13 13-16,12 0 0,-25 0 0,13 0 15,-14-14-15,1 14 0,-1 0 16,0 0-16,-12 0 0,12 0 0,-26-13 16,13 13-16,-52 13 15,-1 1 1,-13-14-16</inkml:trace>
  <inkml:trace contextRef="#ctx0" brushRef="#br0" timeOffset="54017.12">17820 10941 0,'-14'0'15,"54"0"16,-27 0-31,14 0 0,13 0 0,-1 0 16,14 0-16,0 0 0,13 0 16,0 0-16,14 0 0,-1 0 0,0 0 15,14 0-15,-14 0 0,14 0 0,13 0 16,-14 0-16,1-14 0,-14 14 16,14 0-16,-14 0 0,1-13 15,-1 13-15,-26 0 0,0 0 0,0 0 16,-13 0-16,-14-13 0,-13 13 0,14 0 15,-14 0-15,0 0 16,0 0-16,-39-13 31,13 13-31</inkml:trace>
  <inkml:trace contextRef="#ctx0" brushRef="#br0" timeOffset="54842.96">21577 10967 0,'26'0'46,"-13"0"-46,1 0 16,-1 0-16,13 0 0,1 0 16,13 0-16,12 0 0,1 0 0,0 0 15,13 0-15,14 0 0,-1-13 0,1 13 16,12 0-16,-12 0 0,12 13 16,-13-13-16,14 0 0,-14 0 15,14 0-15,0 0 0,-14 0 0,0 0 16,1 13-16,-1-13 0,-26 0 0,13 0 15,-13 0-15,0 0 0,0 0 16,-27 0-16,14-13 0,-27 13 0,14 0 16,-14 0-16,0 0 0,1 0 0,-1 0 15,0-13-15,0 13 16,-13-13 0,-13 13-1,0-14-15,0 14 16,-1 0-16,1 0 0,-13 0 15,12 0-15,1 0 0</inkml:trace>
  <inkml:trace contextRef="#ctx0" brushRef="#br0" timeOffset="55881.9">15266 11602 0,'-13'0'0,"26"0"16,-52 0-16,26 0 15,26 13 16,13-13-31,-13 0 0,14 0 16,-1 13-16,27-13 0,0 0 16,0 0-16,13 0 0,14 0 0,-14-13 15,13 13-15,80 0 0,-80-13 16,1 13-16,-14 0 0,26 0 16,-12-13-16,-1 13 0,14-13 0,-14 13 15,1-14-15,12 14 0,1 0 0,-14-13 16,14 13-16,-14-13 0,14 13 15,-14 0-15,0-13 0,1 13 16,-14 0-16,0 0 0,-13 0 0,0-14 0,0 14 16,0 0-16,-14 0 0,-12 0 15,-1 0-15,-12 0 0,-1 0 16,0 0-16,0 0 0,1 0 0,-1 0 16,-13-13-16,13 13 0,-13-13 31,13 13 16,0 0-32</inkml:trace>
  <inkml:trace contextRef="#ctx0" brushRef="#br0" timeOffset="56469.52">18190 11589 0,'-13'0'31,"39"13"-31,-12-13 16,12 13-16,-13-13 0,14 0 15,12 13-15,1-13 0,0 14 16,13-14-16,-14 0 0,80 0 16,-52 0-16,-1 0 0,13 0 0,0 0 15,-12 0-15,-14 0 0,13 0 16,-13 0-16,13 0 0,-13 0 0,0-14 16,0 14-16,-14 0 0,1 0 0,-14 0 15,1 0-15,-14 0 0,0 0 16,14 0-16,-14 0 0,0-13 15,0 13-15,1 0 0,-1 0 16,0 0 15,-13-13 1,27 13-1,-14 0-31,0 0 15,0 0-15,0 0 0</inkml:trace>
  <inkml:trace contextRef="#ctx0" brushRef="#br0" timeOffset="57267.98">21048 11046 0,'0'-13'0,"0"26"0,0-39 16,0 52 15,0-12-31,0 12 0,0 0 0,-14 14 16,14 13-16,-13-13 0,13 13 0,-13 0 15,13 0-15,-13-1 0,-1-12 16,14 13-16,-13-13 0,0-1 15,13-12-15,0-1 0,-13 1 0,13-1 16,0-12-16,0-1 0,-13 0 16,26 0-16,-13 0 15,13-39-15,0 13 16</inkml:trace>
  <inkml:trace contextRef="#ctx0" brushRef="#br0" timeOffset="57943.14">20929 11073 0,'26'0'31,"-13"0"-31,14 0 0,-1 0 15,14 0-15,13 0 0,-14 0 0,80 0 16,-66 0-16,27-13 0,-1 13 16,1 0-16,12 0 0,-12 0 0,12-14 15,1 14-15,-1 0 0,14 0 0,-13-13 16,-1 13-16,14 0 0,-13-13 16,-1 13-16,1 0 0,0-13 0,-14 13 15,14 0-15,-14 0 0,-13 0 0,0-14 16,-13 14-16,0 0 0,0 0 15,-13-13-15,-14 13 0,1 0 16,-1 0-16,-13 0 0,14-13 0,-14 13 16,0 0-16,0-13 0,1 13 15,-1 0-15,-13-13 16,13 13-16,0 0 31,1 13-15,-1 0-16,-13 0 15,13 0-15,-13 1 0,13-1 16,1 0-16,-1 14 0,13-14 0,-13 13 16,14 1-16,-14-1 0,14 1 15,-14-14-15,0 13 0,0-12 0,0 12 16,1-13-16,-1 0 0,0 14 0,0-14 16,-13 0-16,14 1 0,-14-1 0,0 0 15,13 0-15,-13 1 0,0-1 16,0 0-16,-13 0 0,13 0 0,-14 1 15,1-1-15,-13 0 0,-14 14 0,0-14 16,1 0-16,-14 14 0,-13-14 16,-1 0-16,-12 0 0,0 0 0,-1 1 15,-12-1-15,-14 0 0,-26 0 16,-14-13-16,1 14 0,-14-14 0,-13 0 16,0 0-16,-27 0 0,1 0 15,0-14-15,-67 1 0,-13-13 0,27 12 16,-14-12-16</inkml:trace>
  <inkml:trace contextRef="#ctx0" brushRef="#br0" timeOffset="61346.92">20227 8572 0,'-13'0'15,"13"-13"-15,-40-13 32,27 26-32,-13-13 0,13 13 15,-1-14-15,-12 14 0,-1 0 0,-12 0 16,-14 0-16,13 0 0,-13 14 0,-13-1 16,0-13-16,0 26 0,0-13 15,-14 14-15,1-1 0,13 1 0,0-1 0,-1 1 16,1-1-16,13 1 15,0-1-15,14 1 0,-1-1 0,14 1 16,12-1-16,-12 0 0,13 1 0,13-1 16,0-12-16,13 12 0,0 1 15,27-1-15,0 0 0,26 1 16,-13-1-16,26-12 0,0 12 0,14-13 16,-14 1-16,14-1 0,13-13 0,-14 13 0,1-13 15,0-13-15,-1 13 0,1-13 16,-14-1-16,1 1 0,-14-13 0,0 12 15,-13-12-15,-14-1 0,1 1 0,-13 0 16,-14-14-16,0 13 0,0-12 16,-13 12-16,0 1 0,-13-27 15,0 13-15,-14-13 0,-12 14 0,12-1 16,-12 0-16,-1 0 0,-13 1 0,13 12 16,-13 14-16,0-13 0,14 12 15,-14 1-15,13 0 0,-13 0 0,0 13 16,14-13-16,-14 13 0,0 0 0,-40-27 15,53 14-15,-12-14 16</inkml:trace>
  <inkml:trace contextRef="#ctx0" brushRef="#br0" timeOffset="62182.76">20942 3254 0,'26'-13'0,"-13"13"0,1 0 15,-1 0-15,0 0 0,0 0 16,1 0-16,-1 0 0,-13 13 15,13-13-15,-13 14 0,0-1 16,0 0-16,0 0 16,-13-13-16,13 14 0,0-1 15,13 0 1,0 0-16,1-13 16,-14 13-16,13-13 0,0 14 0,0-14 15,0 0-15,-13 13 0,14-13 0,-14 13 16,13-13-16,-13 13 15,-13 1 1,-1-1-16,1 0 0,0-13 0,0 13 16,-14 0-16,14-13 0,-13 14 0,12-14 15,1 13-15,-13-13 0,12 0 16,1 0-16,13 13 0,-13-13 0,0 0 16</inkml:trace>
  <inkml:trace contextRef="#ctx0" brushRef="#br0" timeOffset="62543.4">21418 3188 0,'-13'-13'15,"26"26"-15,-39-26 0,12 13 0,1 0 0,0 0 0,-14 0 16,14 13-16,0-13 0,-14 13 15,14-13-15,0 14 0,0-1 0,-14 0 16,27 0-16,-13-13 16,13 14-16,13-14 0,1 0 15,-1 0-15,0 0 0,0 0 16,14 0-16,-14 0 0,13-14 16,-12 14-16,-1 0 0,13 0 0,-12 0 15,-1 0-15,0 0 0,0 0 16,0 0-16,1 0 15,-14 14-15,13-14 0,-13 13 0,0 0 16,0 0-16,0 1 0,0-1 16,0 0-16,-13-13 0,13 13 15,0 0-15,0 1 0,0-1 16,0 0-16,13-13 16</inkml:trace>
  <inkml:trace contextRef="#ctx0" brushRef="#br0" timeOffset="62852.25">21868 3122 0,'0'-13'16,"-40"26"0,27 0-1,0 1-15,-1-1 0,-12 0 16,13 0-16,0 0 0,-1 1 0,1-1 15,0 0-15,0 0 0,13 1 16,-14-1-16,28 0 16,-14 0-1,13-13-15,0 0 0,0 14 16,1-14-16,-1 0 0,13 0 0,1 0 16,-14 0-16,13 0 0,1 0 15,-14 0-15,0 0 0,14 0 0,-14 0 16,0-14-16,0 14 0,1 0 15,-1 0-15,-13-13 0,0 0 16</inkml:trace>
  <inkml:trace contextRef="#ctx0" brushRef="#br0" timeOffset="63056.03">21894 3082 0,'-13'0'15,"26"0"-15,-39 14 0,26-1 16,0 0-16,-13 0 15,13 1-15,0-1 0,0 13 0,0-13 16,0 14-16,0-1 0,0 1 0,0-14 16,13 14-16,-13-1 0,0 0 15,0-12-15,0 12 0,0-13 16,0 14-16,0-14 0,0 0 0,0 0 16,0 1-16,0-1 0,0 0 15,-13-13-15,-1 13 0</inkml:trace>
  <inkml:trace contextRef="#ctx0" brushRef="#br0" timeOffset="63552.43">20690 3731 0,'-13'13'15,"26"0"-15,-13 0 0,40 1 16,-13-14-1,12 13-15,14-13 0,0 13 0,13-13 16,14 0-16,78-13 0,-78 13 16,12-13-16,-12 13 0,12-14 0,-12 1 15,-1 0-15,0 0 0,1-14 16,-1 14-16,-13-14 0,0 1 0,-13 0 16,14-1-16,-28 1 0,54-41 15,-40 41-15,-27-14 0,27-26 16,-26 27-16,-14-14 0,0 13 15,0 0-15,-13-13 0,0 14 0,0-1 16,-13-26-16,0 26 0,-14-13 0,-12 0 16,-1 14-16,-13-1 15,0 0-15,-13 14 0,-40-14 0,27 27 16,-106-14-16,79 14 0,0 13 16,-159 40-16,146-14 15,-13 14-15,13 0 0,0 13 0,13 13 16,0 0-16,14 0 0,-1 13 0,14 1 15,26-1-15,0 1 0,13-1 0,14-13 16,12-13-16,1 13 0,13-13 16,13 0-16,14-13 0,-1 13 0,14-14 15,13 1-15,13 0 0,-13-14 0,0 1 16,26-1-16,-13-13 16,1 0-16,-15-13 0,1 14 0,0-14 15,-13-14-15</inkml:trace>
  <inkml:trace contextRef="#ctx0" brushRef="#br0" timeOffset="66656.39">22410 3413 0,'66'0'31,"-39"0"-31,12 0 15,1 0-15,-13 0 0,12 0 0,-12 0 16,12 0-16,1 13 0,-13-13 0,12 0 16,-12 0-16,12 0 0,-12 0 15,-1-13-15,1 13 0,-1 0 0,1 0 16,-14 0-16,13 0 0,-12 0 0</inkml:trace>
  <inkml:trace contextRef="#ctx0" brushRef="#br0" timeOffset="66923.05">23032 3281 0,'53'0'32,"-40"0"-32,14 13 0,-1 0 15,-13 1-15,14-14 0,-14 13 16,0 0-16,0 0 0,1 0 0,-14 1 15,13-14-15,-13 13 0,0 0 0,0 0 16,0 1-16,0-1 0,-13 0 16,-1 0-16,1 0 0,-13 1 0,13-1 15,-14 0-15,14 0 0,-14-13 0,1 14 16,-1-14-16,14 0 16,-13 0-16,-1 0 0,1 0 0</inkml:trace>
  <inkml:trace contextRef="#ctx0" brushRef="#br0" timeOffset="67291.83">22648 3281 0,'0'-13'16,"-13"-1"-16,0 14 0,0 0 16,-1 0-16,1 14 0,0-14 0,-14 13 15,14-13-15,-13 13 0,13 0 16,-1 1-16,1-1 0,0-13 0,0 26 16,-1-13-16,14 1 0,0-1 0,0 0 15,0 0-15,14 14 0,-1-14 16,0 0-16,14 14 0,-14-14 0,13 13 15,1-12-15,-1-1 0,-13 0 0,14-13 16,-1 13-16,-12 1 16,12-14-16,-13 13 0,14-13 0,-14 0 15,13 13-15,-12-13 0,-1 0 0,0 13 16,0-13-16,1 13 16,-1-13-16</inkml:trace>
  <inkml:trace contextRef="#ctx0" brushRef="#br0" timeOffset="70492.85">21577 4299 0,'0'27'32,"0"-14"-17,0 14-15,0-14 0,0 0 0,0 0 16,0 14-16,13-14 0,-13 0 0,0 14 15,0-14-15,0 0 0,0 0 16,13 1-16,-13-1 0,0 0 0,0 0 16</inkml:trace>
  <inkml:trace contextRef="#ctx0" brushRef="#br0" timeOffset="70695.77">21431 4485 0,'13'-14'15,"1"1"-15,12 13 16,-13-13-16,1 13 0,12 0 16,-13-13-16,14 13 0,-14-13 0,13 13 15,1 0-15,-14-14 0,14 14 0,-1-13 16,1 13-16</inkml:trace>
  <inkml:trace contextRef="#ctx0" brushRef="#br0" timeOffset="70887.59">21974 4233 0,'0'-13'0,"-14"40"47,14-14-47,0 0 15,-13 0-15,13 0 0,0 14 0,-13-14 16,13 0-16,0 14 0,-13-27 16,13 26-16,0-12 0,0-1 15,0 0-15,0 0 0</inkml:trace>
  <inkml:trace contextRef="#ctx0" brushRef="#br0" timeOffset="71180.17">22225 4286 0,'0'-13'0,"13"13"31,-39 13-15,13-13-16,-1 13 0,1-13 0,0 14 16,13-1-16,-13 0 0,-1-13 15,1 13-15,0 1 16,13-1-16,-13 0 0,13 0 15,13 1 1,0-1-16,0-13 16,1 0-16,12 0 15,-13 13-15,1-26 0,-1 13 0,13 0 16,-13 0-16,1 0 0,-1-13 16,0 13-16,0 0 0,1-14 0,-14 1 15,13 13-15</inkml:trace>
  <inkml:trace contextRef="#ctx0" brushRef="#br0" timeOffset="71399.14">22344 4233 0,'0'-13'0,"-13"13"16,13-13-16,-27 26 31,27 0-31,0 1 16,0-1-16,-13 0 0,13 0 15,0 0-15,0 14 0,0-14 16,0 0-16,0 27 0,13-13 15,-13-14-15,0 0 0,0 13 16,0-12-16,0-1 0,0 0 16,14 0-16,-14 1 0,13-1 0,0 0 15,14-13 1,-14-13-16</inkml:trace>
  <inkml:trace contextRef="#ctx0" brushRef="#br0" timeOffset="71683">22529 4114 0,'13'-13'0,"-26"26"0,40-26 0,-14 13 0,0 0 16,0 0-16,-13 13 0,14-13 15,-1 14-15,0-14 0,-13 13 0,13 0 16,1 0-16,-1 27 0,-13-27 16,13 14-16,-13-14 0,0 13 15,0-13-15,0 1 0,0 12 16,0-13-16,-13 1 0,13-1 0,0 0 0,0 0 16,0 1-16,0-1 0,0 0 15</inkml:trace>
  <inkml:trace contextRef="#ctx0" brushRef="#br0" timeOffset="71891.14">22516 4339 0,'0'-13'16,"13"13"-1,0 0 1,1-13-16,-1 13 0,0 0 15,0 0-15,1 0 0,-1 0 0,0 0 16,0 0-16,1 0 0,-1 0 0,0 0 16,0 0-16,0 13 15,1-13-15,-14 13 0</inkml:trace>
  <inkml:trace contextRef="#ctx0" brushRef="#br0" timeOffset="72417.24">21947 4842 0,'40'0'15,"-14"0"-15,40-13 0,-26-1 16,212-25 0,-186 25-16,0-12 0,0 13 15,66-27-15,1 0 16,-81 27-16,15-13 0,-14-1 16,-1 1-16,41-40 0,-53 39 15,-14 1-15,1-14 0,-1 14 16,-13-14-16,1 0 0,-14 1 0,0-1 15,-14-13-15,1 13 0,-13-13 16,-1 0-16,-12 14 0,-14-1 0,-66-26 16,52 53-16,1-14 0,-26 14 15,-94 13-15,81 0 16,-14 26-16,-14 1 0,1-1 0,13 14 16,0 0-16,0 13 0,13 0 15,0 0-15,13 13 0,14 0 0,0 0 16,13 0-16,-1 0 0,41-13 0,-14 0 15,27 0-15,0 53 0,13-67 16,26 14-16,54 27 16,-27-54-16,13 1 0,13-1 15,0 1-15,14-14 0,0 0 0,-14-13 16,14 0-16,-14 0 0,14-13 0,-14 0 16,0-1-16,1 1 0</inkml:trace>
  <inkml:trace contextRef="#ctx0" brushRef="#br0" timeOffset="72890.81">23257 4471 0,'92'-13'31,"-78"13"-31,12 0 0,1 0 0,12 0 16,-12-13-16,-1 13 0,1 0 0,12 0 16,-12-13-16,-1 13 0,1 0 15,-14 0-15,13 0 0,-12-13 16</inkml:trace>
  <inkml:trace contextRef="#ctx0" brushRef="#br0" timeOffset="73136.12">23667 4286 0,'53'40'31,"-40"-27"-31,0 0 0,1-13 0,-14 27 16,13-14-16,0 0 0,0 1 0,-13-1 15,0 13-15,13-13 0,-13 1 16,0-1-16,-13 0 0,13 0 0,-13 1 15,13-1-15,-13 0 0,0 0 16,13 1-16,-14-1 0,1 0 16</inkml:trace>
  <inkml:trace contextRef="#ctx0" brushRef="#br0" timeOffset="74408.07">24104 4299 0,'13'0'16,"-26"0"-16,26 0 0,-26 0 0,39 0 15,-52 27-15,26-14 0,26-26 0,-52 39 0,26-12 16,-14-1-16,14 13 0,0-12 15,-13 12-15,13 0 0,0-12 0,0-1 16,-13 13-16,13-12 0,0-1 16,-13 13-16,13-12 0,0-1 0,0 0 15,0 0-15,0 0 16</inkml:trace>
  <inkml:trace contextRef="#ctx0" brushRef="#br0" timeOffset="74813.08">24315 4419 0,'-53'0'31,"40"13"-15,-13 13-16,12-13 0,14 1 16,-13-1-16,0-13 0,13 13 0,0 0 15,-13 1-15,13-1 16,13-26-16,-26 26 0,26 0 16,13-13-16,-52 0 0,52-13 0,-52 26 0,39-13 15,14-13-15,-14 13 0,-26-13 0,26 13 16,0-14-16,0 14 0,-26 0 0,40-13 15,-27 0-15,13 13 0,0-13 16,0 26 0,0 0-1,-13 0-15,0 1 0,0-1 16,14 0-16,-14 0 0,0 1 16,0-1-16,0 0 15,13-26-15,-26 26 0,13 0 0</inkml:trace>
  <inkml:trace contextRef="#ctx0" brushRef="#br0" timeOffset="75336.03">24408 4485 0,'13'-14'32,"-13"41"-17,13-14 1,-13 14-16,0-14 15,14-13 1,-28 13-16,14 0 16,14-39 15,-1 26-31,-13-13 16,13 13-16,-13-14 0,13 1 15,0 13-15,1-13 0,-1 13 0,0-13 16,0-1-16,1 1 0,-1 13 0,0-13 15,0 0-15,0 13 0,-13-13 16,14 13-16,-1-14 16,-13 28 15,0-1-31,-13 0 16,13 0-16,0 0 0,-14 1 15,14-1-15,-13-13 0,13 13 16,0 0-16,-13-13 15,13 14-15,13-14 47,0-14-47,-13 1 0,14 13 0,-14-13 16,13 13-16,0-13 0,0 13 16,1-14-16,-1 14 15</inkml:trace>
  <inkml:trace contextRef="#ctx0" brushRef="#br0" timeOffset="76292.06">24051 4114 0,'0'-39'16,"0"78"-16,-14-92 0,14 40 0,0 0 16,0-14-16,0 14 0,0-13 0,-13-14 15,13 0-15,0 1 0,0-1 0,0-13 16,0 0-16,0 13 0,-13-12 15,13 12-15,0-13 0,0 13 0,0 14 16,0-1-16,0 1 0,0 13 0,0-1 16,0 1-16,0 0 0,13 0 15</inkml:trace>
  <inkml:trace contextRef="#ctx0" brushRef="#br0" timeOffset="76497.11">24143 3334 0,'-13'-13'0,"-13"39"31,12-13-31,1 0 0,-13 14 16,-1-1-16,14 14 0,-14-14 0,1 1 15,0 13-15,-1-14 0,-13 40 16,27-39-16,0-1 16,0-13-16,-1 14 0,14-14 0</inkml:trace>
  <inkml:trace contextRef="#ctx0" brushRef="#br0" timeOffset="76686.78">23971 3360 0,'0'0'0,"13"0"0,1 0 0,-1 0 15,0 13-15,0-13 0,1 0 16,-1 14-16,27-1 0,-27 0 16,13-13-16,1 13 0,-14 1 15,0-14-15,14 13 0,-14-13 0</inkml:trace>
  <inkml:trace contextRef="#ctx0" brushRef="#br0" timeOffset="79470.14">19725 7144 0,'66'0'0,"185"-27"31,-185 27-31,14-13 0,-14 0 16,0 0-16,0-14 0,0 14 16,0-14-16,-13 14 0,14-13 0,-15-1 15,-12 1-15,13-1 0,-13-12 0,-1-1 16,-12 0-16,-14 1 0,0-1 0,1-13 16,-14 13-16,-14-26 0,1 13 15,-13 0-15,-14-13 0,-13 0 0,-13 0 16,-13 13-16,12 13 0,-12 1 15,-80-14-15,80 39 0,-1 1 0,-12 13 16,-1 0-16,-13 13 0,1 14 16,-1-1-16,-13 14 0,13 0 0,13 13 15,1 0-15,12 13 0,1 0 16,13 0-16,26-13 0,0 0 0,14 0 16,-1 13-16,27-26 0,0-1 15,0 14-15,27-13 0,-1 13 0,14-13 16,13-1-16,0 1 0,13-14 0,0 1 15,14-14-15,-14 0 0,26-13 16</inkml:trace>
  <inkml:trace contextRef="#ctx0" brushRef="#br0" timeOffset="79803.28">21167 6601 0,'79'0'31,"-39"0"-31,-1 0 0,14 0 16,13 0-16,1 0 0,-1 0 0,13-13 16,-26 13-16,0 0 0,0 0 0,0 0 15,0-13-15,-14 13 0,1 0 16,-13-13-16,-1 13 0,0 0 0,-12-14 16,-1 14-16,0-13 0,0 13 0,-13-13 15,0 0-15</inkml:trace>
  <inkml:trace contextRef="#ctx0" brushRef="#br0" timeOffset="80008.09">21960 6297 0,'0'0'16,"27"0"-16,-27-13 0,13 13 15,0 13-15,14-13 0,-14 0 0,13 13 16,1 1-16,-1 12 0,14-13 0,-13 14 16,-1-1-16,-13-13 0,0 14 15,-13-1-15,14-12 0,-14 12 0,0 0 16,-14 1-16,1-1 0,13 14 0,-13-13 15,-13-1-15,12 14 0,1-27 16,0 13-16,0-12 0,13-1 16,-14 0-16,14 0 0,-13-13 15</inkml:trace>
  <inkml:trace contextRef="#ctx0" brushRef="#br0" timeOffset="80365.96">23085 6271 0,'-13'26'31,"-1"-13"-15,14 1-16,-13-1 0,0 0 0,0 13 15,0-12-15,13-1 0,-27 27 16,14-27-16,13 13 16,-13-12-16,13-1 0,0 0 0,0 0 15,13-13-15,-13 13 0,13-13 0,0 14 16,1-14-16,12 0 0,-13 13 16,14-13-16,-14 0 0,13 0 15,14 0-15,-13 0 0,-14 0 0,13 0 16,-13-13-16,1 13 0,-1 0 15,0 0-15,0 0 0,-13-14 0,14 14 16</inkml:trace>
  <inkml:trace contextRef="#ctx0" brushRef="#br0" timeOffset="80683.88">23085 6456 0,'-27'-13'15,"54"26"-15,-40-40 16,26 27-16,0 0 15,0-13-15,14 13 0,-14 0 0,14 0 16,-14-13-16,13 13 0,-13 0 16,1 0-16,12 0 0,-13-13 15,1 13-15,-1-14 16,-40 1 0,27 0-16,-26 0 0,13 0 15,-14 13-15,1-14 0,-1 1 0,14 13 0,-13-13 16,12 0-16,1 13 15,0 0-15,0-14 0,-1 14 0,14-13 16,14 0 0,-1 13-16,0 0 0,0-13 15,14 13-15,13 0 0,-14 0 0,0 0 16,41 0-16,-28 0 0,-12 0 16,-1 0-16,14 0 0,-14 0 15,-12 0-15,12 0 0</inkml:trace>
  <inkml:trace contextRef="#ctx0" brushRef="#br0" timeOffset="81031.05">23720 6231 0,'13'0'31,"-39"26"-15,12-12-16,1-1 0,0 0 16,0 0-16,0 1 0,-1 12 0,1-13 15,-27 14-15,27-14 16,0 0-16,0 0 0,13 1 0,-27-1 15,14 0-15,0-13 16,0-13 0,13 0-1,-14-1-15,14 1 0,0 0 16,14 13 15,-1 0-15,0 13-16,0-13 0,0 0 0,1 13 15,-1-13-15,0 14 0,0-14 16,1 13-16,-1-13 0,13 13 0,-12-13 16,-1 13-16,0-13 0,0 0 15,14 14-15,-14-14 0,0 0 0,0 0 16,1 0-16</inkml:trace>
  <inkml:trace contextRef="#ctx0" brushRef="#br0" timeOffset="81675.41">23958 6284 0,'0'-13'0,"0"26"0,0-40 0,-13 27 16,13-13 0,-13 26-1,13 1-15,-14-1 0,14 0 16,-13 0-16,13 1 0,-13-1 15,13 13-15,-13-13 0,13 14 0,-14-14 0,14 0 16,-13 1-16,13-1 0,0 0 16,-13 0-16,13 1 15,-13-1-15,-1-13 0,1 0 32,0-13-32,0-1 15,13 1 1,13 0-1,0 0-15,0 13 0,1 0 16,-1 0-16,0 0 16,0 0-16,1 0 15,-1 0-15,0 0 0,0 0 0,1 13 16,-1-13-16,-13 13 16,13-13-16,0 0 0,0 13 15,1-13 16,-1-13-31,0 13 16,0-13-16,1 13 16,-14-13-16,13 13 0,0-14 15,0 14 1,1-13-16,-1 13 16,0 0-16,0 0 15</inkml:trace>
  <inkml:trace contextRef="#ctx0" brushRef="#br0" timeOffset="82234.62">24659 6204 0,'0'-13'0,"-13"40"47,0-14-47,13 0 0,0 0 15,-14 1-15,14-1 0,-13 0 16,13 0-16,0 1 16,0-1-16,0 0 15,0 0-15,13 0 16,1-13-16,-1-13 16,0 13-1,0 0-15,-13-13 16,14 13-16,-1 0 15,0 0 1,0 0 0,1 0-1,-1 0 1,0 0 0,0 0-16,0 0 15,1 0-15,-14-13 16,-14 0-1,1 13-15,-13-14 16,-14 1-16,-26 0 0,-93-27 16</inkml:trace>
  <inkml:trace contextRef="#ctx0" brushRef="#br0" timeOffset="83066.95">5252 9300 0,'-106'-13'0,"212"26"0,-278-39 0,93 26 16,-14 13-16,-26 0 15,-13 0-15,-1 27 0,1-14 0,-13 27 16,-1-13-16</inkml:trace>
  <inkml:trace contextRef="#ctx0" brushRef="#br0" timeOffset="89955.92">15941 6773 0,'119'0'15,"-92"0"-15,-1 0 0,14 0 16,13-13-16,-14 0 0,14 13 0,0-13 16,0-1-16,13 1 0,-13-13 0,0 13 15,0-14-15,0 14 0,0-14 16,0 14-16,-13-13 0,-1-1 0,14 1 16,-13 13-16,-14-14 0,14 1 0,-14-1 15,1 1-15,13-1 0,-27-12 16,13 12-16,-13-13 0,14 14 0,-14-14 15,0 14-15,-13-1 0,14 1 0,-14-1 16,0 1-16,-14-1 0,1 1 16,0-14-16,0 14 0,-14-1 15,-12 1-15,-1 0 0,-13-1 0,13 1 16,-26-1-16,-53-13 0,40 27 16,13 0-16,-93 13 0,66 0 15,14 0-15,-14 13 0,-13 14 16,-13-1-16,13 1 0,14-1 0,-14 27 15,13-13-15,1 13 0,-1 13 0,14-13 16,-1 13-16,14 0 0,27-13 16,-1 0-16,0 0 0,14 0 15,13 0-15,-1-14 0,28 1 0,-14 0 16,26-1-16,0 1 0,14 0 0,13-14 0,0 1 16,0-1-16,26 0 15,-13-12-15,14-1 0,-1 0 0,14-13 16,-14 0-16,1 0 0,-1 0 0,-13 0 15</inkml:trace>
  <inkml:trace contextRef="#ctx0" brushRef="#br0" timeOffset="92243.89">8625 11827 0,'-66'-13'31,"53"13"-15,0 0-16,-14 0 0,1 0 0,13 0 16,-14 13-16,-12-13 0,12 0 15,1 0-15,-14 0 0,0 0 0,-13 0 0,0 13 16,14-13-16,-14 0 0,0 0 15,0 0-15,0 0 0,0 13 0,0-13 16,-26 14-16,13-14 0,0 13 0,-14-13 16</inkml:trace>
  <inkml:trace contextRef="#ctx0" brushRef="#br0" timeOffset="92688.19">5755 11986 0,'0'0'0,"-66"0"0,39 0 0,14 0 15,-14-14-15,1 14 16,-14 0-16,14 0 0,-1 0 0,-12 0 16,-1 0-16,0-13 0,-13 13 0,0 0 15,14 0-15,-1 0 0,-13 0 16,0 0-16,0 0 0,14 13 0,-67-13 15,53 0-15,0 0 0,0 0 16,0 0-16,0 0 0,-13 14 16,13-14-16,0 0 0,0 0 0,-13 0 15,13 0-15,-13 0 0,13 0 16,-13 0-16,13-14 0,0 14 0,-13 0 16,13 0-16,0 0 0,-13 0 0,13 0 15,0 0-15,-13-13 0,13 13 0,0 0 16,-13 0-16,13 0 15,0 0-15,-13 0 0,13 0 0,-13 0 16,13 0-16,0 0 0,-13 0 0,13 13 16,-13-13-16,13 0 0,-13 0 0,13 0 15,0 0-15,0 0 0,0 0 16,-13 14-16,13-14 0,0 0 0,0 13 16,14-13-16,-14 0 0,13 13 0,0-13 15,1 13-15,12-13 0</inkml:trace>
  <inkml:trace contextRef="#ctx0" brushRef="#br0" timeOffset="93578.94">9856 12700 0,'-14'0'0,"28"0"0,-28 13 0,1-13 0,0 40 15,13-27-15,0 14 0,-13-1 16,13 1-16,-13-1 0,13 0 16,-14 14-16,14 0 0,0 0 0,-13-1 15,13-12-15,0-1 0,0 1 0,0-1 16,0 0-16,0 1 0,0-1 0,0-12 16,0-1-16,0 0 0,0 0 15,0 1-15</inkml:trace>
  <inkml:trace contextRef="#ctx0" brushRef="#br0" timeOffset="93818.05">9816 12846 0,'-13'0'31,"-14"26"-31,14-13 15,0 14-15,0-14 0,-1 0 0,1 0 16,-13 14-16,13-1 0,-14 1 0,14-1 16,-14 1-16,14-1 15,0 1-15,-14-14 0,14 0 0,13 0 16,-13 0-16,0-13 0,13 14 0,-13-28 31,26 1-31,-13 0 0,0-13 16</inkml:trace>
  <inkml:trace contextRef="#ctx0" brushRef="#br0" timeOffset="94008.07">9737 12846 0,'26'0'15,"-52"0"-15,65 0 0,-25 0 0,-1 13 16,0-13-16,0 13 0,0-13 16,1 13-16,-1 0 0,0-13 0,14 14 15,-14-1-15,0 0 0,14 0 0,-14-13 16,0 14-16,0-1 0,0 0 15,1-13-15,-1 13 0,0-13 0,-13 14 16,13-14-16,1 13 0,-1-13 16,-13 13-16,13-13 15</inkml:trace>
  <inkml:trace contextRef="#ctx0" brushRef="#br0" timeOffset="104362.98">13454 873 0,'-79'27'16,"158"-54"-16,-185 67 0,80-27 0,-1 0 16,14-13-16,-13 13 0,12-13 15,1 0-15,0 14 0,0-14 0,13 13 16,0 0-16,0 0 16,13 1-16,-13-1 0,26 0 0,-12-13 15,12 13-15,-13 1 0,1-1 16,12 0-16,0-13 0,-12 13 0,-1 0 15,0-13-15,0 14 0,1-14 16,-14 13-16,13-13 0,-13 13 16,-13 0-16,13 1 15,-14-1-15,-12 0 0,-1 0 0,1 1 16,0-14-16,-14 13 0,13 0 0,1-13 16,-1 13-16,1-13 0,0 0 15,12 0-15,1 13 0,-13-13 0,12 0 16,1 0-16,0-13 15,39 0 1,-12 13-16,-1-13 0,0 0 16</inkml:trace>
  <inkml:trace contextRef="#ctx0" brushRef="#br0" timeOffset="104729.78">13652 939 0,'0'0'0,"-13"-13"15,-13 39 1,13-26-16,-1 14 16,1 12-16,13-13 0,-13 14 0,0-14 15,13 0-15,0 14 0,0-14 16,0 0-16,0 0 0,0 1 16,13-1-16,0 0 0,0-13 15,1 0-15,-1 0 16,0-13-16,0 0 0,14 13 0,-14-14 15,0-12-15,0 13 0,1 0 0,-14-1 16,13 1-16,0 13 0,-13-13 0,13 13 16,-13-13-16,14 13 15,-1 13-15,-13 0 16,0 0-16,0 1 0,13-1 16,-13 0-16,0 0 0,13-13 15,-13 13-15,13 1 0,1-14 16,-14 13-16,13-13 0,0 13 0,0-13 0,1 0 15,-1-13-15,0 13 0,14 0 16,-1-13-16</inkml:trace>
  <inkml:trace contextRef="#ctx0" brushRef="#br0" timeOffset="105342.59">16312 278 0,'0'26'31,"0"1"-15,0-14-16,-14 0 0,14 0 0,0 14 16,0-14-16,0 14 0,-13-14 0,13 13 15,0-13-15,0 1 0,0-1 16,0 0-16,0 0 0,0 1 0,13-1 15,-13 0-15,14-13 0</inkml:trace>
  <inkml:trace contextRef="#ctx0" brushRef="#br0" timeOffset="105926.26">16470 397 0,'0'-27'31,"-13"54"-16,0-14 1,13 0-16,0 1 0,0-1 16,13 0-16,-13 0 0,13 0 15,1 1-15,-1-14 16,0 13-16,0-13 0,0 0 0,1 0 16,-1 0-16,0 0 0,-13-13 15,13 13-15,1-14 0,-14 1 16,13 13-16,-13-13 0,0 0 15,0-14-15,-13 14 16,13 0-16,-14 13 16,14-13-16,-13-1 15,0 1 1,13 0 0,13 13-16,-13-13 0,13 13 15,1 0-15,-14-13 16,13 13-16,0 0 15,0 0-15,1 13 16,-1-13 0,-13 13-16,13 0 0,0 0 15,0 1-15,1-14 0,-14 13 16,13 0-16,0-13 0,0 0 0,1 13 16,-1-13-16,0 0 15,0 0-15,1 0 16,-1 0-16,-13-13 0,13 0 15,-13 0-15,0-1 16,0 1-16,0 0 16,0 0-16,0 0 0,-26 13 31,12 13-31,1-13 16,0 13-16,-14 13 0,-12-12 0,12 12 15,1-13-15</inkml:trace>
  <inkml:trace contextRef="#ctx0" brushRef="#br0" timeOffset="106211.88">16232 767 0,'66'-13'32,"-39"0"-32,12 13 0,1-13 15,13-1-15,-13 1 0,13 0 16,0 0-16,0-14 0,-1 14 0,1 0 15,0 0-15,-13-1 0,13 1 0,-13 13 16,-1-13-16,1 0 0,0-1 16,-1-12-16,-12 13 0,-1-1 0,-13 14 15,14-13-15,-14 0 0,0 0 0,1-14 16,-1 14-16,-13-13 0,13 12 16,-13-12-16,0 13 0,0-14 0,0 1 15,-13-14-15,0 0 0,-1 14 0,1-14 16,-13 1-16,-1 12 0,1 1 15,-14-1-15</inkml:trace>
  <inkml:trace contextRef="#ctx0" brushRef="#br0" timeOffset="106396.28">16457 26 0,'0'0'16,"-132"14"-16,79 25 0,0 1 0,0 13 16,0-13-16,0-1 0,14 1 0,-1 13 15,13-13-15,1 13 0,-1-27 0,27 14 16,-13-14-16,13 1 0,13-1 15,-13 1-15,14-14 0,-1 13 0,0 1 16,14-14-16,-14 0 0,0 0 0,14 1 16,-14-14-16,0 13 0,0-13 0,14 0 15,-14 0-15,0 0 0,0 0 16</inkml:trace>
  <inkml:trace contextRef="#ctx0" brushRef="#br0" timeOffset="110743.86">18838 1151 0,'-26'26'0,"13"1"15,-1-14-15,1 14 0,13-1 16,-13 0-16,13-12 0,-13 12 0,13 1 16,-14-1-16,14-13 0,0 14 15,0-14-15,0 0 0,0 14 0,14-14 16,-14 0-16,0 0 0,13-13 15,0 14-15,-13-1 0,13-13 16,1 0-16,-1 0 0,-13 13 0,13-13 16,0 0-16,1-13 0,-1 13 15,0-13-15,-13-1 16,0 1 0,0 0-16,0 0 0,-13 13 15,13-14-15,0 1 0,-13 0 16,-1 13-1,1 0-15,0 0 16</inkml:trace>
  <inkml:trace contextRef="#ctx0" brushRef="#br0" timeOffset="111236.16">19328 1217 0,'-40'-13'15,"27"13"-15,0 0 0,-40 13 16,40 0-16,-14-13 0,14 14 16,0-14-16,-1 0 0,1 13 0,0-13 15,13 13-15,-13-13 0,13 13 16,13 0-1,0 1-15,14-14 0,-14 13 16,0-13-16,0 13 0,14-13 16,-14 13-16,0-13 0,0 0 0,-13 14 15,14-14-15,-1 0 0,0 13 16,-13 0-16,-13 0 16,0-13-16,-1 14 0,1-14 15,-13 13-15,13 0 0,-14-13 16,1 13-16,12-13 0,-12 13 0,13-13 0,-14 14 15,14-14-15,0 0 0,0 13 16,-1-13-16,1 0 0,0 13 0</inkml:trace>
  <inkml:trace contextRef="#ctx0" brushRef="#br0" timeOffset="114787.07">18706 2051 0,'0'39'31,"0"-26"-31,0 1 15,0-1-15,0 0 0,0 0 16,0 1-16,0-1 0,0 0 0,0 0 16,0 0-16,13 1 15,-13-1-15,0 0 16,13 0 0</inkml:trace>
  <inkml:trace contextRef="#ctx0" brushRef="#br0" timeOffset="115290.82">19169 2037 0,'-26'0'31,"12"0"-31,1 0 16,0 14-16,0-14 0,-1 0 16,14 13-16,-13-13 0,0 0 15,13 13-15,13 0 16,0 0 0,1-13-1,-14 14-15,13-14 0,0 13 16,-13 0-1,-13 0 1,0 1-16,-1-14 16,1 13-16,0-13 0,0 13 15,-14-13-15,14 0 0,0 13 16,0-13-16,-1 0 0,1 0 0,0 0 16,0 0-16,-1 0 0</inkml:trace>
  <inkml:trace contextRef="#ctx0" brushRef="#br0" timeOffset="116899.92">18971 1614 0,'79'13'31,"-66"-13"-31,14-13 0,-1 13 0,1 0 16,-1 0-16,14-13 0,-1 0 0,-12 13 16,13-14-16,-1 1 0,1 0 15,0 0-15,-1-1 0,-12 1 0,12 0 16,-12 0-16,-14-1 0,14 1 15,-14 0-15,0 0 0,0 0 0,1-1 16,-1 1-16,-13-13 0,13 12 16,-13 1-16,0 0 0,0-14 0,0 14 15,0 0-15,0-13 0,-13 12 0,0-12 16,-1-1-16,-12 1 0,13-1 0,-14 1 16,1 13-16,-1-14 15,-12 14-15,12 0 0,-13-14 0,1 14 0,-1 0 16,0 0-16,1 13 0,-1-14 15,0 14-15,1 0 0,12 0 0,1 0 16,-1 0-16,-12 0 0,12 0 16,1 0-16,-14 0 0,13 27 0,-12-14 0,12 14 15,1-1-15,-1-13 0,1 27 16,-1-14-16,1 14 0,0 0 16,12 0-16,1-14 0,0 14 0,0-1 15,-1 1-15,14-13 0,0-1 0,-13 0 16,26 1-16,-13-14 0,0 14 0,0-1 15,14-13-15,-1 14 0,-13-14 16,13 13-16,14-12 0,-14-1 0,0 0 16,13-13-16,1 13 0,-14 1 0,14-1 15,-1-13-15,-13 13 16,14 0-16,-14-13 0</inkml:trace>
  <inkml:trace contextRef="#ctx0" brushRef="#br0" timeOffset="117679.18">18918 2130 0,'-14'0'15,"28"0"-15,-41 0 0,14 13 0,0 0 16,0-13-16,13 14 0,-14-1 16,14 0-16,-13-13 0,13 13 15,0 0-15,0 1 0,0-1 16,13-13-16,-13 13 0,14-13 0,-1 13 15,0-13-15,0 0 0,0 0 0,14 0 16,-14-13-16,14 13 0,12-26 16,-25 26-16,-1-14 0,0 1 15,0 0-15,-13 0 0,13 0 0,-13-1 16,0 1-16,0 0 0,-13 0 16,13-1-16,-13 14 0,0-13 0,-14 13 15,14 0-15,0 0 0,0 0 16,-14 13-16,1 1 0,12-14 15,1 13-15,-13 0 0,13 0 0,13 1 16,-14-14-16,14 13 0,-13 0 16,26 0-16,1-13 15,-1 0-15,0 0 16,13 0-16,-12-13 0,12 13 0,-13-13 16,1 0-16,12-1 0,-13 1 0,-13 0 15,14 0-15,-14-1 0,0 1 16,0 0-16,0 0 0,0 0 15,0-1-15,-14 14 0,1-13 0,0 13 16,0 13-16,-1-13 0,1 0 0,-13 14 16,12-1-16,1 0 15,0 0-15,0 0 0,0 1 0,13-1 0,-14 0 16,14 0-16,14 1 16,-1-1-16,0-13 15,0 0-15,0 0 0,1-13 16,-1 13-16,0 0 0,0 0 15,-13-14-15,14 14 0,-14-13 0,-14-13 32,1 26-32,13-14 0,-26 14 0,12-13 15,1 13-15,-26-13 0,25 0 16,-12 13-16,13-13 0,-1-1 16,1 1-16,13 0 15,13 0-15</inkml:trace>
  <inkml:trace contextRef="#ctx0" brushRef="#br0" timeOffset="119839.23">20254 423 0,'0'-13'31,"-27"26"32,14-13-48,13 14-15,-13-14 0,0 0 16,-1 13-1,14 0-15,-13-13 16,26 13-16,-13 0 16,14-13-16,-1 0 0,-13 14 15,26-14-15,-12 13 0,-1 0 0,0-13 16,0 13-16,1-13 0,-1 14 0,0-14 16,-13 13-16,13-13 0,-13 13 15,13-13-15,-13 13 16,-13 1-16,13-1 15,-13-13-15,0 13 0,0-13 0,13 13 16,-14-13-16,1 0 0,0 0 16,-14 0-16,14 0 15,0-13 1,26 0 0,-13 0-16,13-1 0,1 1 15,-1 0-15,0 0 16,-13-1-16,13 1 0,1 0 15,-14 0-15,0-1 16,13 14-16,-26-13 0,13 0 16,-14 0-16,1 0 15,0 13-15,0-14 16,-1 14-16,1 0 0,-13 0 0,12 0 16,1 0-16,0 0 0,0 0 0,0 0 15,-1 0-15,1 0 0,0 0 16,0 14-1,-1-14-15</inkml:trace>
  <inkml:trace contextRef="#ctx0" brushRef="#br0" timeOffset="120750.5">20624 397 0,'-13'13'15,"13"0"1,0 1-16,0-1 16,0 0-16,0 0 0,0 0 15,0 1-15,13-1 0,1 0 16,-1 0-1,0-13-15,0 14 0,0-14 16,1 0-16,-1 0 0,0 0 0,0 0 16,1 0-16,-1-14 0,0 1 15,0 13-15,-13-13 0,13 0 16,-13-1-16,14 1 16,-28 0-16,14 0 0,-13 0 15,-40-27 1,40 40-16,0 0 15,0 0-15,-14 0 0,14 0 0,-13 0 0,-1 13 16,1-13-16,12 13 16,-12-13-16,13 14 0,-1-1 0,1-13 15</inkml:trace>
  <inkml:trace contextRef="#ctx0" brushRef="#br0" timeOffset="122872.02">20518 1905 0,'27'-13'15,"-14"13"1,-53 0 31,27 13-47,0 0 16,0-13-16,0 13 15,13 1-15,-14-14 16,28 13-16,-14 0 15,13-13-15,0 0 0,0 13 16,0-13-16,1 0 0,-1 14 16,0-14-16,0 13 0,1-13 15,-1 0-15,0 13 16,-26 0 0,0 1-16,-1-14 15,1 13-15,0-13 16,0 13-16,-1-13 0,1 0 0,0 13 15,0-13-15,0 0 0,-1 0 0,1 13 16</inkml:trace>
  <inkml:trace contextRef="#ctx0" brushRef="#br0" timeOffset="123198.19">20796 1918 0,'-26'40'31,"26"-27"-31,0 0 16,0 1-16,13-14 16,0 0-16,-13 13 15,13-13-15,1 0 0,-1 0 0,0 0 0,14-13 16,-14 13-16,0 0 0,0-14 15,1 14-15,-14-13 16,0 0-16,0 0 16,0-1-16,-14 1 0,14 0 0,-13 13 15,0-13-15,0 0 16,-1 13-16,1 0 0,0 0 0,0 0 16,-1 0-16,-12 13 0,13-13 0,0 13 15,-1 0-15,1-13 0,0 13 16,0 1-16,-1-14 0</inkml:trace>
  <inkml:trace contextRef="#ctx0" brushRef="#br0" timeOffset="124171.15">21021 1786 0,'0'-27'0,"-13"14"16,0 13-16,13-13 0,-14 0 15,1 13-15,0-13 0,0 13 0,0-14 16,-14 14-16,14-13 0,-14 13 16,1 0-16,-14 0 0,14 0 0,-1 0 15,-12 0-15,-14 0 0,13 13 0,0-13 16,-13 14-16,14-1 0,-14 13 15,13-13-15,-13 14 0,14-1 0,-1 1 16,13-1-16,-12 1 0,12 12 0,1-12 16,13-1-16,-14 1 0,14 13 0,0-14 15,-1 0-15,14 1 0,0-1 16,0 1-16,14-1 0,-14 1 0,13 12 16,13-12-16,1-1 0,-1 1 15,1-14-15,12 13 0,1-12 16,13-1-16,-13 0 0,13 0 0,-14-13 15,14 14-15,0-14 0,0-14 0,-13 14 16,13-13-16,0 0 0,-14 0 16,14-1-16,0 1 0,-13-13 0,-1 13 15,-12-1-15,13-12 0,-14-1 0,1 14 16,-1-13-16,-13 12 0,0-12 16,-13 13-16,14-14 0,-14 1 15,0 13-15,0-14 0,0-12 0,-14-1 0,1 0 16,0 0-16,-13 14 0,12 0 15,-12-1-15,-1 1 0,-12-1 16,12 14-16,-12 0 0,-1-1 0,13 1 16,-12 13-16,12 0 0,1-13 0,-1 13 15,1 13-15,-1-13 0,1 13 16,13-13-16,-14 14 0,27-1 0,-13 0 16,26 0-16,-13 1 0,0-1 0</inkml:trace>
  <inkml:trace contextRef="#ctx0" brushRef="#br0" timeOffset="124552.07">21233 2117 0,'119'0'31,"-79"-14"-31,-14 14 0,0 0 0,14 0 15,-13 0-15,-1-13 0,14 13 16,-14 0-16,1 0 0,-1 0 0,-13-13 16,14 13-16,-14 0 0,0 0 0,14 0 15,-14 0-15,0-13 0,0 13 16,1 0 0</inkml:trace>
  <inkml:trace contextRef="#ctx0" brushRef="#br0" timeOffset="124780.03">21709 1958 0,'13'0'0,"40"13"31,-26 0-31,-14-13 0,13 14 0,-12-1 16,12 0-16,-13 0 0,1 1 15,-1-1-15,0-13 0,-13 26 0,13-26 16,-13 13-16,0 1 0,-13 12 16,13-13-16,-13 1 0,0-1 0,-1 0 15,1 0-15,0 0 0,13 1 16,-13-14-16</inkml:trace>
  <inkml:trace contextRef="#ctx0" brushRef="#br0" timeOffset="125251.31">22371 2011 0,'-14'26'31,"14"-12"-31,0-1 16,0 0-16,0 0 15,14-13-15,-14 13 0,0 1 0,13-14 16,-13 13-16,13-13 0,-13 13 0,13-13 16,0 0-16,1 0 15,-1 0-15,0-13 16,0 0-16,-13-1 16,0 1-16,0 0 0,14 0 15,-14 0-15,0-1 0,0 1 0,0 0 16,13 0-16,-13-1 0,0 1 15</inkml:trace>
  <inkml:trace contextRef="#ctx0" brushRef="#br0" timeOffset="125716.02">22675 2090 0,'0'0'0,"-13"-13"47,-1 26-32,14 0-15,-13-13 16,13 14-16,0-1 31,13-13-31,1 13 16,-1-13-1,0 0-15,0 0 16,0 0-16,1 0 16,-1 13-1,0-13 1,0 0 15,1 0 0,-1-13-15,0 13 0,0-13-1,1 13 1</inkml:trace>
  <inkml:trace contextRef="#ctx0" brushRef="#br0" timeOffset="126348.16">21233 2196 0,'26'13'15,"-13"0"1,-13 1-16,14-14 16,-14 13-16,13 0 0,-13 0 0,13 1 15,0-14-15,-13 13 0,14 0 16,-14 0-16,13 1 0,-13-1 16,13-13-16,-13 13 15,13-13 1,-13 13-16</inkml:trace>
  <inkml:trace contextRef="#ctx0" brushRef="#br0" timeOffset="127379.05">22820 2051 0,'14'13'31,"-14"0"-16,13 0-15,-13 0 16,13 1-16,0-14 16,-13 13-1,13 0 1,1-26 0,-1 13-16,0 0 15,0-13 1,1 13-16,-1 0 15,0 0 1,0 0-16,1 13 16,-1-13-1,0 0-15,-13 13 16,13-13-16,0 13 16,1-13 15,12-13-16,-13 0-15,-13 0 16,14-1-16,-14 1 0,13 0 16,-13 0-16,0-14 0,0 1 0,-13-1 15</inkml:trace>
  <inkml:trace contextRef="#ctx0" brushRef="#br0" timeOffset="128522.11">20942 304 0,'26'0'47,"-26"-13"-47,13 13 0,1-13 0,-1 13 15,0-13-15,0 13 0,14-14 16,-14 1-16,0 13 0,1-13 0,-1 13 16,0-13-16,0 13 0,0-14 0,1 14 15,-1 0-15</inkml:trace>
  <inkml:trace contextRef="#ctx0" brushRef="#br0" timeOffset="128792.76">21140 93 0,'0'-14'15,"13"14"-15,1 0 0,12 0 16,-13 14-16,1-14 0,-1 0 15,0 13-15,0-13 0,0 13 16,1-13-16,-14 13 0,13-13 0,-13 14 16,13-14-16,-13 13 15,0 0-15,0 0 0,0 0 16,0 1 0</inkml:trace>
  <inkml:trace contextRef="#ctx0" brushRef="#br0" timeOffset="129939.29">21709 53 0,'-13'-13'16,"26"26"46,0 0-62,-13 0 16,0 1-16,14-1 15,-14 0-15,13-13 0,-13 13 16,0 1-16,13-14 0,-13 13 16,0 0-1,13-13-15,-13 13 16,0 0 15,13 1 63,14-14 15,-14 0-109,0 0 0,1 0 16,-1 0-16,13 0 16,-12-14-1,-1 14-15,0 0 0</inkml:trace>
  <inkml:trace contextRef="#ctx0" brushRef="#br0" timeOffset="130254.48">21709 172 0,'27'-13'31,"-14"0"-31,0 13 0,0 0 0,0 0 15,1 0-15,-1-14 0,0 14 16,0-13 0,-13 0-1,-13 0 1,0 13-16,13-14 16,-13 14-16,-1-13 15,14 0 16,14 13-31,-1-13 0,0 13 0,0 0 16,1-14-16,-1 14 0,0 0 0,14-13 16,-14 13-16,0 0 15</inkml:trace>
  <inkml:trace contextRef="#ctx0" brushRef="#br0" timeOffset="130523.74">21987 26 0,'26'0'15,"-26"53"1,0-39-16,0-1 15,-13 0-15,13 0 16,0 1-16,-26 38 16,12-52-16,14 14 15,-13-14-15,0 0 47,39-14-16,-12 14-31,-1 0 16,0 0-16,0 0 16,1 14-16,-1-14 0,0 0 0,0 0 15,0 0-15,1 0 0,-1-14 16,0 14-16</inkml:trace>
  <inkml:trace contextRef="#ctx0" brushRef="#br0" timeOffset="131518.95">22291 26 0,'-13'-13'0,"-14"26"15,14 1-15,13-1 0,-13 0 16,13 0-16,-13 1 0,13-1 0,-13 0 15,13 0-15,0 1 16,0-1-16,13 0 0,-13 0 16,13-13-16,-13 13 15,13-13-15,0 0 0,1 0 16,-1 0-16,13 0 0,-12 0 0,-1 0 16,0-13-16,0 13 0,1 0 0,-14-13 15,13 13-15,0-13 0,0 13 16,-13-13-16,13 13 0,-13-14 15,0 28 32,-13-1-47,13 0 16,0 0 0,0 0-16,13-13 15,1 14 1,-1-14-16,0-14 0,0 14 15,1 0-15,-14-13 0,13 13 16,0-13-16,0 13 0,-13-13 0,13 0 16,1-1-16,-14 1 0,13 13 0,-13-13 15,13 13-15,-13-13 0,13-1 16,-26 41 31,13-14-47,0 0 15,13-13-15,-13 14 0,14-14 16,12 0 0,-13-14-1,1 1-15,-1 13 0,-13-13 16,13 13-16,-13-13 0,13-1 0,0 1 16,-13 0-1,14 13-15,-14-13 0,0 39 47,0-13-47,-14-13 16,14 14-16,0-1 15,0 0-15,14 0 16,-14 1 0,13-14-16,0 0 15,0 0 1,1 0-16,-1 0 15,0 0 1,0 0-16,1 13 16,-1-13-16,0 0 15,0 0-15,0-13 16,1 13-16,-1 0 0,0 0 16,0 0-16,1 0 15,-1 0-15,0-14 16,0 14-16,1 0 0,-1 0 15,0-13-15,0 13 16,0 0-16,1 0 16</inkml:trace>
  <inkml:trace contextRef="#ctx0" brushRef="#br0" timeOffset="132132.74">21021 767 0,'0'40'16,"-13"-27"-16,0 14 0,13-14 15,-27 27-15,14-14 0,-13 14 0,-1-1 16,1 14-16,-1-13 0,14 13 16,-93 145-1</inkml:trace>
  <inkml:trace contextRef="#ctx0" brushRef="#br0" timeOffset="132427.1">20624 1257 0,'-13'26'0,"13"-13"0,-13 54 31,13-54-31,0 0 0,13-13 0,-13 13 16,0 1-16,13-1 16,1-13-16,-14 13 0,13-13 15,0 0-15,13-13 16,-12 13-16,-1 0 16,0-13-16,14 13 0,-14-14 0,0 1 15,0 0-15</inkml:trace>
  <inkml:trace contextRef="#ctx0" brushRef="#br0" timeOffset="132703.75">20929 701 0,'26'0'0,"-52"0"0,78 0 0,-38 13 0,-1-13 15,0 14-15,0-1 0,1 0 16,-1 14-16,0-1 0,0-13 0,-13 14 16,0-1-16,14 1 0,-14-1 0,0 0 15,0 1-15,0-1 0,0 1 16,0-1-16,0 1 0,0-1 0</inkml:trace>
  <inkml:trace contextRef="#ctx0" brushRef="#br0" timeOffset="143693.16">595 3387 0,'0'0'0,"27"0"31,-1-14-15,1 14-16,26 0 0,0-13 15,-1 0-15,15 13 0,12-13 0,0 0 16,-13-1-16,14 1 0,-1 0 16,-13 0-16,1-1 0,-15 14 0,1-13 15,-13 0-15,0 13 0,-14 0 0,1-13 16,-14 13-16,0 0 0,14 0 0,-14-14 16,0 14-16,0-13 15</inkml:trace>
  <inkml:trace contextRef="#ctx0" brushRef="#br0" timeOffset="143946.85">1416 3069 0,'79'-13'31,"-53"13"-31,1 13 0,-1-13 0,1 13 15,-1-13-15,1 14 0,-1-14 0,1 13 16,-14 0-16,0-13 0,13 13 16,-12-13-16,-14 14 0,13-1 0,0 0 15,-13 0-15,-13-13 0,13 13 16,-13 1-16,-1-1 0,1 0 16,0-13-16,-13 13 0,-1 14 15,-13-14-15,1 0 0,-1 1 0,14-14 16,-27 13-16,26 0 0</inkml:trace>
  <inkml:trace contextRef="#ctx0" brushRef="#br0" timeOffset="144342.78">648 3215 0,'-26'26'15,"52"-52"-15,-65 65 0,12-12 0,14-1 16,-14 1-16,14-1 0,0 14 0,0-27 16,-1 14-16,14-14 0,-13 13 0,13-13 15,0 1-15,0-1 0,13 0 16,-13 0-16,14 1 0,-1-14 0,13 13 16,-12 0-16,12-13 0,1 13 0,-1-13 15,14 0-15,-14 0 0,1 14 16,12-14-16,-12 0 0,-1 0 0,14 0 15,-14 13-15,1-13 0</inkml:trace>
  <inkml:trace contextRef="#ctx0" brushRef="#br0" timeOffset="146071.29">1138 4710 0,'0'26'31,"0"-13"-31,-14 0 16,14 1-16,0 12 0,0-13 0,0 1 16,0 12-16,0-13 0,0 1 15,0 12-15,0-13 0,0 0 0,0 1 16,-13-1-16,13 0 0,0 0 16,0 1-16,0-1 0,0 0 15,13-13 1</inkml:trace>
  <inkml:trace contextRef="#ctx0" brushRef="#br0" timeOffset="146495.2">1310 4815 0,'-14'-13'16,"1"26"0,13 1-1,-13-14-15,13 13 0,0 0 16,0 0-16,0 1 0,0-1 0,0 0 16,0 0-16,0 0 0,13 1 0,-13-1 15,13 0-15,-13 0 0,14-13 0,-1 14 16,0-14-16,0 0 15,1 13-15,-1-13 0,0-13 0,14 13 0,-14 0 16,0-14-16,0 14 0,0-13 0,1 13 16,-1-13-16,0 0 0,-13-1 15,13 1-15,-13 0 0,-13 13 16,13-13-16,0 0 0,0-1 0,-13 1 16,0 0-16,13 0 15,-14 13-15,1-14 0,0 14 16,0 0-16,0 0 0,-1 0 15,-12 0-15,26 14 16</inkml:trace>
  <inkml:trace contextRef="#ctx0" brushRef="#br0" timeOffset="146798.95">1588 4776 0,'13'-14'16,"-13"41"15,0-14-31,0 0 0,-13 14 16,13-14-16,13 0 0,-13 1 15,0-1-15,13 0 0,0 0 16,-13 0-16,13-13 0,1 0 16,-1 0-16,0 0 15,0 0-15,1 0 0,-1-13 16,-13 0-16,0 0 15,0 0-15,0-1 0,0 1 16,0 0-16,-13 13 0,13-13 0,-14-1 16,14 1-16,-13 13 15,0 0-15,0 0 0,-1 0 16,1 0-16,-13 13 0,-1-13 0,1 14 16,-1-1-16,1 0 0,-1 0 15</inkml:trace>
  <inkml:trace contextRef="#ctx0" brushRef="#br0" timeOffset="147360.04">1085 5252 0,'13'0'0,"-26"0"0,26 13 0,0-13 15,0 0-15,1 13 0,-1-13 0,13 0 16,1 14-16,-1-14 0,27 0 16,-13 0-16,0 0 0,13 0 0,-1 0 15,1-14-15,-13 14 0,13-13 0,-13 0 16,-1 0-16,1 0 0,0-1 16,-1 1-16,1 0 0,-13-14 0,-1 14 15,14-13-15,-27 12 0,13-12 0,-12 13 16,-1-14-16,0 1 0,0 13 15,-13-14-15,0 1 0,0-1 16,0 1-16,0-1 0,0 1 0,-13-1 16,0-12-16,0-1 0,-1 14 15,1-14-15,0 13 0,-14 1 0,1-14 16,-14 14-16,1-14 0,12 27 0,-26-14 16,14 1-16,-28 0 0,15 12 0,12 1 15,-13 13-15,0-13 0,-13 13 16,13 0-16,0 0 0,-13 13 0,0 0 15,0 14-15,-1-14 0,14 27 0,-13-14 16,27 14-16,-14 0 0,0-1 16,13 14-16,0-13 0,14 13 15,0 0-15,-1 0 0,14-1 0,0-12 16,13 13-16,13-13 0,-13-1 0,13 1 16,14 13-16,-1-13 0,14-14 15,-1 14-15,1-14 0,0-12 0,-1 12 16,1-13-16,0 1 0,-1-1 0,1-13 15,-13 13-15,12-13 0,-25 0 16,12 0-16,0 0 0,1-13 0</inkml:trace>
  <inkml:trace contextRef="#ctx0" brushRef="#br0" timeOffset="148195.26">1786 4048 0,'0'-13'0,"0"39"47,0-12-47,0-1 0,0 0 15,0 0-15,-13 14 0,13-14 16,0 13-16,0-12 0,0 12 0,0 1 16,-14-14-16,14 0 0,0 13 0,0-12 15,0-1-15,0 0 0,0 0 16</inkml:trace>
  <inkml:trace contextRef="#ctx0" brushRef="#br0" timeOffset="148409.82">1627 4220 0,'13'0'31,"1"0"-31,-1 0 0,13 0 16,-12 0-16,-1 0 0,13 0 0,1 0 0,-14 0 16,13 0-16,1 0 0,-1 0 15,-12 0-15,12 0 0,0 0 0,-12 0 16,12 0-16,-13-13 0,1 13 0,-1 0 16</inkml:trace>
  <inkml:trace contextRef="#ctx0" brushRef="#br0" timeOffset="149589.87">2011 3770 0,'0'-13'31,"13"13"-16,14 0 1,-14 0-16,0 0 16,0 0-16,0 0 0,1 0 0,-1 13 15,0-13-15,-13 14 0,13-14 0,-13 13 16,0 0-16,-13 0 16,13 0-16,-13 1 0,0-1 15,13 0-15,-14 0 0,1 1 0,0-1 16,0 0-16,0 0 15,-1 1-15,1-14 16,13 13-16,13-13 31,1 0-15,-1 0-16,0 0 0,0 0 16,0 0-16,1 0 15,-1 0-15,0-13 0,0 13 16,1 0-16,-1 0 0,0-14 15,0 14-15,-13-13 0</inkml:trace>
  <inkml:trace contextRef="#ctx0" brushRef="#br0" timeOffset="149895.01">2421 3744 0,'-106'0'31,"93"0"-31,0 0 0,-1 13 0,1-13 16,13 13-1,0 14 1,13-27-16,-13 13 0,14 0 16,-1 0-16,-13 1 0,13-1 15,0 0-15,-13 0 0,14 1 16,-14-1-16,-14 0 15,14 0-15,-13-13 0,0 14 16,0-1-16,-1 0 0,1 0 16,-13 0-16,12-13 0,-12 14 0,13-1 15,-14 0-15,14-13 0,0 13 0,0 1 16</inkml:trace>
  <inkml:trace contextRef="#ctx0" brushRef="#br0" timeOffset="151070.92">2051 3956 0,'26'0'47,"-13"13"-47,0-13 0,1 13 0,-1-13 16,0 13-16,0 0 0,1 1 15,-1-1-15,-13 0 16,0 0-16,0 1 0,-13-1 0,-1 0 16,1-13-16,0 13 0,0 1 0,-14-1 15,14 0-15,-13-13 0,12 13 16,1-13-16,0 0 0,-14 13 0,14-13 16,0-13-16,0 13 15,13-13-15</inkml:trace>
  <inkml:trace contextRef="#ctx0" brushRef="#br0" timeOffset="151953.01">1852 5450 0,'-13'-13'31,"0"40"-15,13-14-16,0 0 15,0 14-15,0-14 0,0 13 0,0-13 16,0 14-16,0-14 0,0 14 0,0-14 16,0 13-16,0-12 0,0-1 15,0 0-15,0 0 0,0 0 0,0 1 16,0-1-16</inkml:trace>
  <inkml:trace contextRef="#ctx0" brushRef="#br0" timeOffset="152132.25">1733 5636 0,'13'-14'15,"0"14"1,1 0-16,-1 0 15,0 0-15,14-13 0,-14 13 0,13 0 16,-12 0-16,12 0 0,0-13 16,1 13-16,-1 0 0,-12 0 0,12 0 15,-13 0-15</inkml:trace>
  <inkml:trace contextRef="#ctx0" brushRef="#br0" timeOffset="152464.78">2143 5503 0,'0'0'0,"-13"27"47,13-14-32,0 0 1,13 0-16,-13 1 0,13-14 15,-13 13-15,14 0 0,12 14 32,-26-14-32,13 0 0,-13 0 0,0 1 15,0-1-15,0 0 16,-13-13-16,13 13 16,-13 0-16,0-13 0,13 14 0,-14-14 15,1 13-15,0-13 16</inkml:trace>
  <inkml:trace contextRef="#ctx0" brushRef="#br0" timeOffset="152740.21">2328 5517 0,'-13'-14'0,"-13"28"16,26-1-1,0 0 1,0 0-16,13 0 0,-13 1 16,0-1-16,0 0 0,13 0 0,-13 1 15,13-14-15,-13 13 0,0 0 16,0 0-16,14-13 0,-14 14 0,-14 12 16,1-13-1,0 0-15,0 1 16,-14-14-16,14 13 0,-14-13 0,14 13 15,-13-13-15,13 13 0,-14-13 16,14 0-16,-14 14 0,14-14 0,0 0 16</inkml:trace>
  <inkml:trace contextRef="#ctx0" brushRef="#br0" timeOffset="154455.85">3149 3228 0,'0'-13'0,"0"-1"31,0 41-15,0-14 0,0 0-16,0 1 0,0-1 0,0 0 15,0 0-15,0 1 0,0-1 0,0 13 16,0-13-16,0 1 16,0-1-16,0 0 0,0 0 0,0 1 15,0-1-15,0 0 0,13 0 16</inkml:trace>
  <inkml:trace contextRef="#ctx0" brushRef="#br0" timeOffset="154835.99">3307 3228 0,'14'0'16,"-28"0"-16,41 0 0,-14 0 0,-13 13 15,0 0 1,0 1-16,0-1 16,0 0-16,-13 0 15,26 1 1,-13-1-16,13-13 15,0 13-15,1 0 0,-1-13 16,-13 13-16,13-13 0,0 14 16,1-1-1,-14 0-15,0 0 16,-14 1-16,1-1 16,0-13-16,13 13 0,-13-13 15,-1 13-15,1-13 0,0 0 16,0 13-16,0-13 0</inkml:trace>
  <inkml:trace contextRef="#ctx0" brushRef="#br0" timeOffset="155144.85">3612 3241 0,'-14'0'0,"-12"13"16,13 1 0,13-1-16,0 0 15,13 0-15,-13 1 16,13-1-16,0 0 0,-13 0 16,14-13-16,-14 13 0,13 1 15,-13-1 1,-13 0-16,-1 0 0,1-13 15,0 14-15,0-14 16,-1 0-16,1 13 0,0-13 16,0 0-16,-1 0 0,1 0 15</inkml:trace>
  <inkml:trace contextRef="#ctx0" brushRef="#br0" timeOffset="155390.09">3969 3175 0,'0'26'47,"-13"-12"-47,13-1 0,0 0 15,-14 0-15,14 14 0,0-14 16,-13 14-16,13-14 0,0 0 0,0 0 0,0 0 16,-13 1-16,26-14 15,-13 13-15,13 0 0</inkml:trace>
  <inkml:trace contextRef="#ctx0" brushRef="#br0" timeOffset="155627.01">4154 3215 0,'-13'-27'15,"0"14"-15,-1 13 0,1 0 16,0 0-16,0 0 0,-1 0 0,1 0 16,0 0-16,0 0 0,-14 13 15,14-13-15,0 13 0,0-13 0,13 14 16,-14-1-16,1-13 0,13 13 0,0 0 16,0 1-16,13-1 15,1 0-15,-1-13 16,13 13-16,-13-13 15,14 0-15,-14 0 0,0 0 0,1 14 16,-1-14-16,0 0 0,0 0 16,1 0-16,-1-14 0,0 14 0,0 0 15</inkml:trace>
  <inkml:trace contextRef="#ctx0" brushRef="#br0" timeOffset="155887.9">4273 3268 0,'0'-14'0,"0"28"0,13-14 94,0 0-63,-13 13-15,14-13-1,-1 0 1,0-13-16,0 13 16,1-14-16,-1 14 15,0 0-15,-13-13 0</inkml:trace>
  <inkml:trace contextRef="#ctx0" brushRef="#br0" timeOffset="156217.69">4485 3135 0,'0'-13'0,"0"26"16,0-39-1,0 39 32,-14 0-31,14 1-16,0-1 16,0 0-1,0 0-15,-13 0 0,13 1 16,0-1-16,-13 0 15,13 0 1,0 1-16,0-1 16,-13-13-1,13 13 1,0 0 15</inkml:trace>
  <inkml:trace contextRef="#ctx0" brushRef="#br0" timeOffset="156530.37">4710 3043 0,'-14'26'31,"14"-13"-31,0 1 0,-13-1 16,13 0-16,0 0 15,0 1-15,0-1 16,0 0-16,13 0 31,1 0-15,-1-13-1,0 14 1,0-14-16,0 0 16,1 0-16,-1 0 15,0-14-15,0 14 16,1 0-16</inkml:trace>
  <inkml:trace contextRef="#ctx0" brushRef="#br0" timeOffset="157088.74">4974 3162 0,'93'-53'16,"-67"40"0,1-1-16,-1-12 0,1 13 15,-1-14-15,1 14 0,-1-13 0,0 12 16,-12 1-16,-1 0 0,13-14 0,-12 14 16,-1 0-16,-13 0 0,26 0 15,-26-1-15,0 1 16,0 0-16,-13 13 0,13-13 15</inkml:trace>
  <inkml:trace contextRef="#ctx0" brushRef="#br0" timeOffset="157331.09">5239 2646 0,'26'-13'16,"1"13"-16,-14 0 0,0 0 15,0-14-15,14 28 0,-14-14 0,14 0 16,-14 13-16,13 0 0,-13 0 16,1 1-16,-1-1 0,0 0 0,0 0 15,1 14-15,-14-14 0,0 13 0,0-12 16,0 12-16,0-13 0,-14 14 16,14-14-16,-13 27 0,-13-14 15,12 1-15,1-14 0,-13 0 0,13 13 0,-1-12 16,1-1-16,0 0 0</inkml:trace>
  <inkml:trace contextRef="#ctx0" brushRef="#br0" timeOffset="161525.95">3175 4114 0,'0'-13'16,"0"53"15,0-27-31,0 0 0,-13 0 0,13 1 16,0-1-16,0 0 0,0 0 0,0 1 15,0-1-15,-13 0 0,13 0 16,0 0-16</inkml:trace>
  <inkml:trace contextRef="#ctx0" brushRef="#br0" timeOffset="161948.68">3466 4128 0,'0'0'0,"0"26"31,0-13-15,-13-13-16,13 13 16,0 1-16,13-14 15,-13 13-15,13 0 16,0-13-16,-13 13 15,14-13-15,-14 14 0,13-1 16,-13 0 0,-13 0-1,13 0 1,-14-13-16,14 14 0,-13-14 0,13 13 16,-13-13-16,0 13 15</inkml:trace>
  <inkml:trace contextRef="#ctx0" brushRef="#br0" timeOffset="162213.18">3717 4141 0,'0'0'0,"-13"-13"16,0 39 15,13-13-31,0 0 16,0 1-16,0-1 15,0 0-15,0 0 16,-13-13-16,13 14 0,-14-1 16,14 0-16,-13-13 0,0 13 15,0-13-15,0 13 0,-1-13 16,1 14-16,-13-14 0,12 13 15,-12 0-15,-1-13 0</inkml:trace>
  <inkml:trace contextRef="#ctx0" brushRef="#br0" timeOffset="162611.68">3016 4445 0,'13'13'15,"14"-13"-15,-14 0 0,0 13 0,54-13 16,-41 0-16,27 0 15,0 0-15,0 0 0,0 0 0,0-13 16,-14 13-16,14-13 0,0 13 0,0-13 16,-13 0-16,13-1 0,-14 1 0,1 0 15,0-14-15,-1 14 0,1 0 16,-13-14-16,-1 1 0,0 13 16,1-27-16,-14 14 0,14-14 0,-14 0 15,-13 1-15,13-1 0,-13 0 16,0-13-16,-13 14 0,-14-1 0,1 0 15,-14 14-15,-13-1 0,-13 1 0,0 13 16,-13 13-16,-1 0 0,-12 0 16,-1 13-16,14 13 0,-27-12 0,26 12 15,-12 14-15,12-14 0,14 14 16,13 0-16,1-1 0,12 1 0,0 0 16,14-1-16,-1-12 0,14 12 15,0-12-15,13-1 0,0-12 0,0 12 16,13 0-16,0 1 0,14-1 0,-1 1 15,1-14-15,-1 14 0,14-14 16,-1 0-16,-12-13 0,13 13 0,-14-13 16</inkml:trace>
  <inkml:trace contextRef="#ctx0" brushRef="#br0" timeOffset="163380.06">3201 4670 0,'0'-13'0,"14"39"31,-14-13-31,0 1 16,0-1-16,0 0 0,0 0 15,0 14-15,0-14 0,0 0 0,0 14 16,-14-14-16,14 0 0,0 0 0,0 1 16,0-1-16,0 0 0,-13 0 15</inkml:trace>
  <inkml:trace contextRef="#ctx0" brushRef="#br0" timeOffset="164439">3479 4683 0,'0'13'16,"0"1"-16,0-1 0,0 0 15,-13 0-15,13 0 0,0 1 16,-13-1-16,13 0 16,0 0-16,-13 1 0,13-1 15,0 0 1</inkml:trace>
  <inkml:trace contextRef="#ctx0" brushRef="#br0" timeOffset="164728.13">3678 4657 0,'0'-14'16,"-14"41"15,14-14-15,14-13-16,-14 13 0,0 1 15,13-1-15,-13 0 16,13-13-16,-13 13 16,13 0-16,-26 1 15,13-1-15,-13-13 0,13 13 16,-13-13-16,-1 13 0,-12 1 15,13-1-15,-14-13 0,1 13 0,-14 0 16,14-13-16</inkml:trace>
  <inkml:trace contextRef="#ctx0" brushRef="#br0" timeOffset="165095.04">3135 5027 0,'40'0'0,"-80"0"0,106 0 0,-52 0 15,12 0-15,14 0 0,-14 0 16,27 0-16,0 0 0,0 0 16,-13-13-16,13 13 0,0-13 0,-1 13 0,-12-14 15,13 1-15,-13 13 0,-1-13 16,1 0-16,0-1 0,0 1 16,-14 0-16,0 0 0,1-14 0,-1 14 15,1 0-15,-14 0 0,0-14 16,1 14-16,-14-14 0,0 1 0,0 13 15,0-14-15,0 1 0,-14-1 0,-12-12 16,13 12-16,-27 1 0,13-1 16,-12 14-16,-1 0 0,-13 0 0,0-1 15,0 14-15,0 0 0,0 0 0,1 0 16,-1 0-16,0 14 0,13-1 16,-13 0-16,0 0 0,14 14 15,-14-14-15,13 14 0,13-1 0,-12 0 16,12 1-16,1-1 0,-1 1 0,1-14 15,-1 13-15,1-12 0</inkml:trace>
  <inkml:trace contextRef="#ctx0" brushRef="#br0" timeOffset="165427.18">1984 4882 0,'53'0'31,"-26"0"-31,12 0 0,14 0 0,0 0 16,0 0-16,27 0 0,-14-14 0,13 14 15,-13 0-15,0-13 0,1 13 16,-15-13-16,1 13 0,-13 0 0,13-13 16,-27 13-16,1-14 0,-1 14 15,1 0-15</inkml:trace>
  <inkml:trace contextRef="#ctx0" brushRef="#br0" timeOffset="165844.92">2540 4657 0,'13'0'15,"27"0"1,-27 0-16,14 0 0,-1 0 0,1 0 16,12 0-16,1 13 0,0-13 0,-14 13 15,1-13-15,-1 13 0,0 1 16,1-14-16,-14 13 0,0-13 0,1 13 16,-1-13-16,0 13 0,0-13 0,0 13 15,1-13-15,-14 14 0,13-14 16,-13 13-16,0 0 0,0 0 15,0 1-15,-13-1 16,13 0-16,-14 0 0,1 1 16,0-1-16,13 0 15,-13-13-15,0 13 0,13 0 0,-14-13 16,1 14-16,0-1 0,0-13 16,13 13-1,-14-13-15,41-13 31</inkml:trace>
  <inkml:trace contextRef="#ctx0" brushRef="#br0" timeOffset="167221.88">4128 4008 0,'39'-26'16,"-26"13"-16,1 13 15,-1 0-15,0-13 0,0 13 16,1 0-16,-1 0 0,0 0 0,0 0 16,0 13-16,1-13 15,-14 13-15,13 0 0,-13 0 0,0 14 16,0-14-16,0 0 0,0 1 16,-13-1-16,13 13 0,0-12 15,-14 12-15,14-13 0,0 0 16,0 14-16,0-14 0,0 0 15,0 1-15,0-1 0,14 0 0,-14 0 16,13-13-16,-13 13 16,13-13-16,0 0 0,1 14 15,-1-14 1,0 0-16,0 0 16,-13 13-1,14-13-15,-14 13 0,0 0 0,13 1 16,-13-1-16,0 0 0,0 14 15,13-14-15,-13 0 0,0 13 0,0-12 16,0 12-16,0-13 0,0 1 0,0-1 16,0 0-16,0 0 0,-13 1 0,13-1 15,0 0-15,-13 0 0,13 0 16,-14-13-16,14 14 0,-13-14 0,0 13 16,0-13-16,-1-13 15,1 13-15,13-14 16,0 1-16,0 0 15,0 0-15,13 0 0</inkml:trace>
  <inkml:trace contextRef="#ctx0" brushRef="#br0" timeOffset="167579.71">4485 4260 0,'26'0'32,"-13"0"-32,1 0 15,12 0-15,-13 0 0,14-13 16,-14 13-16,13 0 0,-12 0 0,-1 0 16,13 0-16,-12-14 0,-1 14 0,0 0 15,0 0-15,0-13 0,1 13 16,-1 0-16,0-13 15</inkml:trace>
  <inkml:trace contextRef="#ctx0" brushRef="#br0" timeOffset="169166.91">4736 4101 0,'26'-13'31,"-12"13"-31,-1 13 15,0-13-15,0 0 0,1 13 16,-1-13-16,0 14 0,0-1 16,1-13-16,-14 13 0,13-13 15,0 13-15,-13 0 0,0 1 16,13-1-16,-13 0 0,-13 0 16,13 1-16,0-1 15,-13-13-15,13 13 16,-13-13-16,13 13 0,-27 0 15,27 1 1,-13-14-16,0 13 31,13 0 1,-14-13 14,41 0 1111,-14-13-1142,-13 0 1,0-1 0,-13 1-16</inkml:trace>
  <inkml:trace contextRef="#ctx0" brushRef="#br0" timeOffset="170344.09">3188 3559 0,'27'13'31,"-14"-13"-31,13 13 0,-12-13 16,12 0-16,14 13 0,-1-13 0,1 14 0,13-14 16,-13 0-16,13 13 15,0-13-15,-1 0 0,1 0 0,0 13 16,0-13-16,0 0 0,0 0 0,0 0 15,0 0-15,-13-13 0,13 13 16,-14 0-16,14-13 0,-13 13 0,13-14 16,26-12-16,-39 13 0,-1-1 15,1 1-15,0 0 0,0 0 16,-1-1-16,-12 1 0,12 0 16,-12 0-16,-14 0 0,13 13 0,1-14 15,-14 1-15,14 0 0,-1-14 16,1 14-16,-14 0 0,0 0 0,13 0 15,-12-14-15,-1 14 0,0-14 0,0 1 16,1 13-16,-14-14 0,0 1 16,0-1-16,0 14 0,0-13 0,-14-14 15,1 13-15,0-12 0,-14 12 0,1-12 16,-14-1-16,1 0 0,-14 14 16,0-1-16,-13-12 0,0 12 0,-14 14 15,1-13-15,-1 12 0,-12 1 0,-1 13 16,1-13-16,-1 26 0,-13-13 0,-13 13 15,13 1-15,-13 12 0,13 0 16,1 14-16,-1 0 0,13 0 0,0-1 16,14 14-16,0 0 0,13 0 15,-1-13-15,28 13 0,-14-14 16,13 14-16,0-13 0,14 13 0,0 0 16,12-27-16,1 14 0,0-14 0,13 1 15,13-1-15,0 1 0,1 12 16,12-25-16,14 12 0,-1-13 0,1 0 15,13 1-15,-13-14 0,13 0 16</inkml:trace>
  <inkml:trace contextRef="#ctx0" brushRef="#br0" timeOffset="174054.72">2024 5927 0,'27'13'0,"-14"-13"15,0 0-15,0 13 0,0-13 16,14 0-16,-1 13 0,1-13 0,-14 0 16,27 14-16,-14-14 0,1 0 15,-1 0-15,1 0 0,12 0 0,-12 0 16,26-14-16,-27 14 0,14-13 16,-1 0-16,1 0 0,-13-1 0,-1 14 15,1-13-15,-1 0 0,-13 0 0,14 0 16,-14-1-16,0-12 0,0 13 15,14-14-15,-27 1 0,13 12 16,0-12-16,-13 0 0,0-1 0,-13 1 0,13-1 16,-26-13-16,12 14 0,-25-14 15,12 14-15,-65-27 16,52 27-16,-13 12 0,-40-12 16,27 26-16,13 0 0,-13 0 0,0 13 15,0 14-15,0-14 0,0 26 16,-1-12-16,1-1 0,0 14 0,-53 39 15,66-26-15,14-13 0,-41 39 16,54-52-16,-1 13 16,14-14-16,0 0 0,13-12 0,0 12 15,0-13-15,13 1 0,-13 12 0,26-13 16,-12 0-16,12 1 0,1-1 0,-1 0 16,14-13-16,-14 0 15,14 13-15,-14-13 0</inkml:trace>
  <inkml:trace contextRef="#ctx0" brushRef="#br0" timeOffset="174554.79">2593 6032 0,'53'27'15,"-53"-14"1,13-13-16,0 13 0,1 1 16,-1-1-16,0 0 0,0 0 0,0-13 15,1 14-15,-1-1 0,0 0 0,-13 0 16,13-13-16,1 13 0,-14 1 0,13-1 16,0 0-16,-13 0 15</inkml:trace>
  <inkml:trace contextRef="#ctx0" brushRef="#br0" timeOffset="174836.1">2871 6099 0,'26'13'31,"-26"0"-15,13 0-16,1 1 0,-14-1 16,13 13-16,-13-13 0,0 1 15,0-1-15,0 0 0,0 14 0,0-14 16,0 0-16,-13 14 0,13-14 16,-14 0-16,14 0 0,-13 0 0,0 1 15,13-1-15,-13 0 0,13 0 0,-13-13 16,13 14-16</inkml:trace>
  <inkml:trace contextRef="#ctx0" brushRef="#br0" timeOffset="175282.96">3387 6152 0,'-14'0'31,"14"13"-15,0 0-16,14 0 15,-14 0-15,13 14 0,-13-14 16,0 0-16,0 14 0,0-14 0,13 14 15,-13-14-15,0 0 0,0 13 0,0-12 16,0-1-16,-13 0 16,13 0-16,0 1 0,0-1 0,0 0 15,0 0-15,-13 1 16</inkml:trace>
  <inkml:trace contextRef="#ctx0" brushRef="#br0" timeOffset="175584.89">3281 6403 0,'0'-13'0,"13"-1"0,0 14 15,1-13-15,-1 0 0,0 13 16,0-13-16,14 0 0,-14-1 0,0 1 16,0 13-16,1-13 0,12 0 15,-13-1 1,0 14-16,1 0 15,-14 14 1,13-1-16,-13 0 0,13 0 16,-13 1-16,0-1 0,13-13 0,-13 13 15,0 0-15,0 0 16,0 1-16,0 12 16,0-13-16,-13-13 0,13 14 15,-13-14-15,0 0 0,-1 13 16,1-13-16,0 0 0,0 0 15,0 13-15</inkml:trace>
  <inkml:trace contextRef="#ctx0" brushRef="#br0" timeOffset="175983.63">3175 6615 0,'53'0'0,"-106"0"0,119-14 0,-39 14 15,-1 0-15,14-13 0,-1 0 16,1 13-16,0-13 0,-1-1 0,-12-12 16,13 13-16,-1 0 0,1-14 0,13 14 15,-13-14-15,-1 1 0,1-14 16,0 14-16,-14-1 0,14-12 0,-14-1 16,1 0-16,-1-13 0,-13 27 0,1-27 15,-1-26-15,-26 39 16,-1 0-16,-12 1 0,0-1 15,-14 13-15,-40-12 0,28 25 0,-1 14 16,-14 0-16,-12 14 0,13 12 16,-13 1-16,-1-1 0,1 14 15,-14-1-15,27 1 0,13 0 0,-13-1 16,26 1-16,1 13 0,-1-13 0,14-1 0,12-12 16,1 13-16,0-14 15,13 1-15,13-1 0,0 14 0,1-1 16,12-12-16,14-1 0,-1 1 0,14-14 15,13 13-15,53 1 16,-79-27-16,13 13 0,0-13 16</inkml:trace>
  <inkml:trace contextRef="#ctx0" brushRef="#br0" timeOffset="176285.2">3956 6443 0,'52'13'31,"-38"0"-31,-1-13 0,27 0 16,-14 0-16,-13 0 0,14 0 15,-14 0-15,13-13 0,-12 13 0,-1 0 16,13 0-16,-12 0 0,-1-13 16</inkml:trace>
  <inkml:trace contextRef="#ctx0" brushRef="#br0" timeOffset="176529.08">4273 6257 0,'40'14'31,"-27"-1"-31,0-13 0,0 13 0,1 0 16,-1-13-16,0 14 0,0-1 0,1 0 15,-1 0-15,0-13 0,-13 13 16,0 1-16,0-1 0,0 0 0,-13 0 16,0 1-16,-1 12 0,-12-13 15,-1 14-15,-12-1 0,-1-13 0,0 1 16,1-1-16,-1 0 0</inkml:trace>
</inkml:ink>
</file>

<file path=ppt/ink/ink1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36:37.777"/>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7183 2858 0,'0'0'0,"27"13"15,-14-13 1,27 0-16,-1 0 0,14 13 16,0-13-16,13 0 0,14 13 0,-1-13 0,1 0 15,12 13-15,-12-13 0,-1 0 0,14 0 16,-14 14-16,0-14 16,14 0-16,-14 0 0,-13 13 0,1-13 15,-15 0-15,1 0 0,0 0 0,0 0 16,-13 0-16,-14 0 0,1 13 15,-1-13-15,-12 0 0,12 0 0</inkml:trace>
  <inkml:trace contextRef="#ctx0" brushRef="#br0" timeOffset="947.75">13018 3003 0,'52'0'31,"-25"0"-31,13 0 16,12 0-16,1 0 0,0 0 0,13 0 16,-13 0-16,0 0 0,13 13 15,1-13-15,-15 0 0,1 0 0,0 0 16,13 0-16,-26 0 0,0 0 0,0 0 15,-14 0-15,0 0 0,-12 13 16,12-13-16,-13 0 0,1 0 0,-1 0 16,0 0-16,0 0 0,1 0 15</inkml:trace>
  <inkml:trace contextRef="#ctx0" brushRef="#br0" timeOffset="2079.52">16417 3003 0,'27'0'16,"145"0"-1,-80 13-15,1-13 0,0 0 16,-1 0-16,14 0 0,0 0 0,-13 0 16,12 13-16,1-13 0,-13 14 15,-1-14-15,1 13 0,-14-13 0,1 0 16,-1 13-16,-26-13 0,0 0 15,0 13-15,-13-13 0,-1 0 0,-12 0 16,-14 0-16,13 14 0,-12-14 0,-1 0 16,0 0-16,0 0 0,1 0 15,-1 0-15,0 0 0,0 0 16,0 13-16,14-13 0,-14 0 16,0 0-16,14 13 0</inkml:trace>
  <inkml:trace contextRef="#ctx0" brushRef="#br0" timeOffset="4302.64">1244 3704 0,'172'0'32,"-120"0"-32,28 0 0,12 0 0,14 0 0,0 0 15,26 13-15,14-13 0,-14 0 0,14 0 16,-1 14-16,-12-14 15,12 0-15,1 13 0,-1-13 0,-39 0 16,26 0-16,-26 0 0,0 0 0,0 0 16,-14-13-16,1 13 0,-14 0 0,1 0 15,-14 0-15,-13 0 0,0 0 16,0 0-16,-14 0 0,-12 0 0,-1 0 16,1 0-16,-1 0 0,1 0 0,-14 0 15,13 0-15,-13 0 0,1 0 16,-1 13-16,0-13 0,14 0 0,-14 0 15,13 0-15,1 0 0,-1 0 0,1 0 16,12 0-16,14 0 16,13 0-16,14 0 0,-1 0 0,1-13 15,-1 13-15,0 0 0,14-14 16</inkml:trace>
  <inkml:trace contextRef="#ctx0" brushRef="#br0" timeOffset="4938.26">6548 3664 0,'80'-13'0,"-54"13"0,27 0 15,0 0-15,13-13 0,27 13 0,-14 0 16,14 0-16,13-13 0,-14 13 16,14 0-16,0 0 0,0 0 15,-14 0-15,14 0 0,-13 0 0,-1 0 16,-12 0-16,-1 0 0,-13 0 16,-13 0-16,0 13 0,0-13 0,-26 0 15,12 0-15,-26 0 0,14 0 0,-14 0 16,0 0-16,1 0 0,-1 0 15,0 0-15,0 0 0,-26 13 63</inkml:trace>
  <inkml:trace contextRef="#ctx0" brushRef="#br0" timeOffset="8907.07">7091 3982 0,'-13'13'0,"26"-26"0,-40 26 16,27 0-16,-13-13 0</inkml:trace>
  <inkml:trace contextRef="#ctx0" brushRef="#br0" timeOffset="10123.2">7131 3453 0,'13'-13'31,"-40"26"126,14-13-142,0 13 79,53-13-63,-27 0-31,0 0 0,13 0 16,1 0-16,-1 0 0,1 0 15,12 0-15,-12 0 0,13 0 0,-14 0 16,14 0-16,-14 0 0,14 0 0,-14 0 16,14 0-16,-13 0 0,-1 0 15,-13 0-15,14 0 0,-14 0 0,0 0 16,14 0-16,-14 0 0,0 0 16,0 0-16,1 0 15,-41 13 1,27 0-1,-13-13-15</inkml:trace>
  <inkml:trace contextRef="#ctx0" brushRef="#br0" timeOffset="10444.62">7395 3519 0,'0'0'0,"-13"26"31,13-12-31,0 12 16,-13-13-16,13 14 0,-14 12 0,1 1 15,13 0-15,-13-14 0,0 14 16,-1-14-16,14 1 0,-13-1 0,13 1 15,-13-14-15,13 0 0,0 1 0,-13 12 16,13-13-16,0 0 16,0 1-16,-13-14 0,13 13 0,0 0 15,0 0-15,-14-13 16</inkml:trace>
  <inkml:trace contextRef="#ctx0" brushRef="#br0" timeOffset="10811.74">6853 4326 0,'0'26'31,"0"-12"-31,0-1 15,0 0 1,0 0-16,0 1 16,-14-1-16,14 0 0,0 0 15,0 0 1</inkml:trace>
  <inkml:trace contextRef="#ctx0" brushRef="#br0" timeOffset="10950.44">6866 4128 0</inkml:trace>
  <inkml:trace contextRef="#ctx0" brushRef="#br0" timeOffset="11296.18">6945 4260 0,'0'66'31,"0"-53"-31,0 0 16,0 1 0,0-1-16,14-13 15,-1-13 1,0 13-16,0-14 16,0 1-16,1 13 15,-14-13-15,13 13 16,0 0-16,0 0 0,1 0 15,-1 0 1,0 13 0,0-13-16,-13 13 0,14-13 15,-1 0-15</inkml:trace>
  <inkml:trace contextRef="#ctx0" brushRef="#br0" timeOffset="11683.01">7276 4180 0,'0'-13'0,"-13"40"47,13-14-47,0 0 0,0 0 16,-13 14-16,13-14 0,0 13 0,0-12 16,0 12-16,0-13 0,0 1 15,0-1-15,0 0 0,0 0 16,0 1-16,0-1 0,0 0 15,0 0 1,0-52 0,0 25-16,0 1 15,13 0-15,0-14 0,-13 14 0,13-13 16,0 12-16,-13 1 0,14 0 16,-1 13-16,-13-13 0,13 13 0,0-13 15,1 26 1,-1 0-16,-13 0 15,0 0 1,0 1-16,0-1 0,-13-13 0,13 13 16,0 0-16,-14-13 0,14 14 0,-13-1 15</inkml:trace>
  <inkml:trace contextRef="#ctx0" brushRef="#br0" timeOffset="12056.28">7461 4247 0,'13'-14'32,"-13"28"-17,0-1-15,14-13 16,-14 13-16,13 0 15,-13 0-15,13-13 16,-13 14-16,13-14 16,14-14-1,-14 14 1,-13-13-16,13 13 0,-13-13 16,14 13-16,-1 0 31,0 0-31,-13 13 15,0 0-15,0 1 16,13-14-16,-13 13 16,13 0-1,1-13-15,-1-13 16</inkml:trace>
  <inkml:trace contextRef="#ctx0" brushRef="#br0" timeOffset="12258.75">7871 4035 0,'0'0'0,"14"-27"0,-14 14 16,0 26 15,13 1-31,-13-1 16,0 0-16,0 0 0,13 1 16,-13 12-16,0-13 0,13 1 0,-13 25 15,0-26-15,14 1 16,-14-1-16,0 0 0,0 0 0,0 1 0,0-1 15,0 0-15,0 0 16</inkml:trace>
  <inkml:trace contextRef="#ctx0" brushRef="#br0" timeOffset="12571.49">7885 4233 0,'39'-53'15,"-25"40"1,-1 0-16,13 13 0,-13-13 0,1 0 16,-1-1-16,0 14 0,-13-13 0,13 13 15,1-13-15,-1 13 16,0-13-16,0 26 16,0-13-16,1 13 15,-1 0-15,0 1 16,0-1-16,1 0 0,-14 0 15,13 0-15,-13 1 16,0-1-16,0 0 16,-13-13-16,13 13 0,-14 1 15,1-14-15,0 13 16,0-13-16,-1 0 16</inkml:trace>
  <inkml:trace contextRef="#ctx0" brushRef="#br0" timeOffset="12846.91">7131 4630 0,'79'-26'0,"-158"52"0,211-65 0,-79 25 16,13 1-16,-13 0 0,13 0 0,0-1 16,0-12-16,-13 13 0,13-1 15,0 1-15,-13 0 0,0 0 0,-13 0 16,0-1-16,-14 1 0,1 13 16,-1-13-16,-13 13 0,0 0 0,1-13 15,-1 13-15</inkml:trace>
  <inkml:trace contextRef="#ctx0" brushRef="#br0" timeOffset="13198.9">7157 4657 0,'-13'13'16,"119"-13"-1,-54-13 1,1-1-16,-13 14 0,26-13 0,0 0 15,1 0-15,-1-14 0,-13 14 0,0 13 16,-1-13-16,-12 0 0,0 13 16,0-14-16,-14 1 0,0 13 0,-12 0 15,12-13-15,-13 13 0,1 0 0,-1 0 16,0-13-16,0 13 16,0 0-16,1-14 15,-1 14-15,-13-13 31,13 13-31,0 0 16,-13-13 0,0 0 15</inkml:trace>
  <inkml:trace contextRef="#ctx0" brushRef="#br0" timeOffset="24558.95">6813 5424 0,'13'0'0,"80"0"31,-67 0-31,1 0 0,-1 0 0,1 0 16,-1 0-16,1 0 0,-14 0 0,13 0 16,1 0-16,-14 0 0,13 0 15,-12 0-15,-1 0 0,13 0 0,-12-13 16,-1 13-16</inkml:trace>
  <inkml:trace contextRef="#ctx0" brushRef="#br0" timeOffset="24854.04">7104 5239 0,'27'0'15,"-14"0"-15,13 13 16,-13 0-16,1 0 0,12 1 0,-13-1 15,1 0-15,-1 0 0,0 1 16,13-1-16,-26 0 0,14 0 0,-1 1 16,-13 12-16,0-13 0,13 0 15,-13 1-15,-13-1 0,13 0 0,-13 0 16,-1 1-16,1-1 0,0 13 16,0-13-16,-14 1 0,14-1 0,-13-13 15,12 13-15,1 0 0,-13-13 0,13 14 16,-1-14-16</inkml:trace>
  <inkml:trace contextRef="#ctx0" brushRef="#br0" timeOffset="26293">8599 5186 0,'-27'-13'31,"1"26"-31,13 0 16,0-13-16,-1 13 0,1 14 15,0-14-15,0 13 0,-1-12 0,1 12 16,0-13-16,13 14 0,-13-14 16,13 0-16,0 1 0,0 12 0,0-13 15,0 0-15,13 1 0,-13-1 16,13-13-16,0 0 0,1 0 15,12 0-15,-13 0 0,14 0 0,-1-13 16,-13-1-16,27 1 0,-13 0 0,-1-13 16,1-1-16,-14 1 0,13-1 15,-13 1-15,1-1 0,-1 1 0,-13-1 16,13 14-16,-13-13 0,13 12 0,-13 1 16,0 0-16,0 0 0,0-1 15,14 14-15,-14-13 0,-14 40 31,14-14-31,-13 0 16,13 0-16,0 14 0,-13-14 16,13 0-16,-13 14 0,13-14 0,0 0 15,0 0-15,0 1 0,-14-1 0,14 0 16,0 0 0,14 1-16,-1-14 15,-13 13 1,13-13-16,0 13 15,1-13 1,-14 13-16,13-13 0,0 0 16,0 14-16,1-14 15,-1-14-15,0 14 0,13 0 16,-12 0 0,-1 0-16,0 0 15,0 14 1,1-14-16,-14 13 15,13 0 1</inkml:trace>
  <inkml:trace contextRef="#ctx0" brushRef="#br0" timeOffset="26410.88">9049 5265 0,'0'0'0,"-13"0"0,-1 0 16</inkml:trace>
  <inkml:trace contextRef="#ctx0" brushRef="#br0" timeOffset="26631.08">9221 5040 0,'0'27'15,"0"-14"-15,-13 13 16,13 1-16,0-1 0,-14 14 0,14 0 16,-13-1-16,0-12 0,0 13 0,13-14 15,-14 1-15,14-1 0,0-13 0,-13 0 16,13 1-16,0-1 15,0 0-15,0 0 0,0 1 16</inkml:trace>
  <inkml:trace contextRef="#ctx0" brushRef="#br0" timeOffset="27083.77">9499 5040 0,'0'-13'16,"0"40"-1,0-1-15,0-13 0,-14 14 16,14-1-16,0 1 0,0-1 0,-13 14 16,13-14-16,0 1 0,-13-1 0,13 1 15,0-14-15,0 13 0,-13-12 16,13-1-16,0 0 0,0 0 0,0 0 15,0 1-15,0-1 0,-27-26 47,14 13-15,0 0-32,-14 0 0,14 0 15,0 0-15,0 13 0,-1-13 0,1 13 16,0 0-16,0-13 15,13 14-15,-14-1 0,14 0 16,14-13-16,-1 13 16,0-13-16,0 0 0,1 0 15,12-13-15,-13 13 16,0 0-16,1 0 0,-1 0 0,0-13 0,14 13 16,-14 0-16,0 0 0,0-13 0</inkml:trace>
  <inkml:trace contextRef="#ctx0" brushRef="#br0" timeOffset="27527.75">9657 5398 0,'14'26'31,"-14"-13"-31,0 0 16,0 1-16,0-1 0,0 0 15,-14-13-15,14 13 0,0 1 16,0-1 0,14-40 31,-1 14-32,-13 0-15,13 13 0,0-13 0,-13-1 16,13 14-16,1 0 0,-1-13 0,0 13 15,0-13-15,1 13 0,-1 0 16,0 0-16,0 0 16</inkml:trace>
  <inkml:trace contextRef="#ctx0" brushRef="#br0" timeOffset="27891.03">9975 5517 0,'0'0'15,"13"-14"-15,-13 1 0,0 0 16,0 0 0,-13 13-1,-14 0 1,27 13-1,14 0 1,-1-13 0,0 0-16,-13 13 0,13-13 15,0 0-15,-13 14 0,14-14 16,-1 0-16,0 13 16,0-13-16,-13 13 15,0 0 1,-13 0-1,0 1 1</inkml:trace>
  <inkml:trace contextRef="#ctx0" brushRef="#br0" timeOffset="28183.77">10186 5477 0,'14'0'32,"-14"13"-32,0 0 15,0 1 1,0-1 0,13-13 15,0 0-16,0 0 1,1 0-16,-1 0 16,0-13-1,0-1-15,1 14 16,-14-13-16,13 13 0</inkml:trace>
  <inkml:trace contextRef="#ctx0" brushRef="#br0" timeOffset="28347.79">10398 5450 0,'13'14'31,"-13"-1"-31,14-13 0,-14 13 0,0 0 16,0 1-16,13-14 15,-13 13-15,0 0 0,0 0 16,0 0-16,-13-13 0,13 14 16,0-1-16,-14-13 0,14 13 0,-13-13 15,13 13-15,-13 1 0,0-14 16</inkml:trace>
  <inkml:trace contextRef="#ctx0" brushRef="#br0" timeOffset="28589.68">9115 5689 0,'40'0'0,"-27"0"0,27 0 15,-1 0-15,1 0 0,26 0 16,-13 0-16,0-14 0,13 14 0,0 0 16,0-13-16,0 13 0,-13 0 0,0 0 15,0-13-15,-13 13 0,0 0 16,-14 0-16,0 0 0,-12-13 16,12 13-16,-13 0 0,1 0 15</inkml:trace>
  <inkml:trace contextRef="#ctx0" brushRef="#br0" timeOffset="28858.77">9155 5794 0,'66'0'0,"79"0"16,-92 0-16,0 0 15,0 0-15,13-13 0,-13 13 0,0 0 16,0 0-16,0 0 0,0-13 0,-27 13 16,14 0-16,-27 0 0,14 0 15,-1 0-15,0-13 16,-12 13-16,-1 0 0,0 0 0,0 0 16,1 0-1</inkml:trace>
  <inkml:trace contextRef="#ctx0" brushRef="#br0" timeOffset="32053.34">11840 5398 0,'27'0'0,"52"-14"16,-53 14-1,1 0-15,-14 0 0,14-13 16,-1 13-16,0 0 0,-12 0 0,12 0 16,-13 0-16,1 0 0,-1 0 0,0-13 15,0 13-15,1 0 0,-1 0 16</inkml:trace>
  <inkml:trace contextRef="#ctx0" brushRef="#br0" timeOffset="32331.06">12105 5212 0,'79'14'16,"-52"-14"-1,12 13-15,-12-13 0,12 13 0,-12 0 16,-1 0-16,-13 1 0,1-1 15,-1-13-15,0 13 0,0 0 0,1 1 16,-14-1-16,0 0 16,0 0-16,0 1 0,-14-1 15,1 0-15,13 0 0,-13-13 16,0 13-16,-1 1 0,1-14 16,13 13-16</inkml:trace>
  <inkml:trace contextRef="#ctx0" brushRef="#br0" timeOffset="33058.98">12925 5252 0,'-27'-26'16,"14"26"-1,0 13-15,0-13 0,0 13 0,-1 0 16,1 0-16,0 1 0,0-1 16,13 0-16,-14 0 0,14 1 15,-13-1-15,13 0 0,0 0 0,0 1 16,0-1-16,0 0 0,13 0 15,-13 0 1,14-13-16,-1 0 16,13 0-16,-12 0 15,-14-13-15,13 13 16,-13-13-16,13 0 0,-13 0 16,13-1-16,-13 1 15,0 0 1,13 13-16,-13-13 15,14 26 17,-14 0-17,0 0-15,0 1 16,13-14-16,-13 13 16,0 0-1,13-13-15,0 0 16,1 0-1,-1 0 1,0 0 0,0 0-16,-13 13 15,14-13-15,-14 13 16,13-13 0,-13 14-16,13-14 0,-13 13 15,13-13 1,0 0-1,1-13 1,-1 13-16,0 0 16,0-14-1,1 14-15,-1-13 16,0 13-16</inkml:trace>
  <inkml:trace contextRef="#ctx0" brushRef="#br0" timeOffset="34116.25">13666 5239 0,'-14'0'16,"1"0"-16,0 0 16,13 13-16,-13-13 0,0 13 15,13 0-15,-14 1 0,1-1 0,0 0 16,13 0-16,-13 1 0,13-1 0,0 0 15,0 0-15,0 1 16,0-1-16,13 0 16,13-13-16,-26-13 15,14 13-15,-1-13 0,0 13 16,0-14-16,0 1 0,1 0 0,-1 0 16,-13-1-16,13 1 0,0 0 15,-13 0-15,14-1 0,-14 1 16,0 0-16,13 13 0,-13-13 15,0 39 32,-13-13-47,13 14 16,13-14-16,-13 0 16,13-13-1,-13 14-15,13-14 0,1 0 0,-1 0 16,0 0-16,0 0 0,0-14 0,1 14 15,-1 0-15,0-13 16,0 13-16,1-13 0,-1 13 0,0-13 16,0 13-16,1-14 0,-1 14 15,-13 14 17,0-1-17,-13 0-15,13 0 16,13 1-16,0-1 15,0-13-15,0 13 16,1-13-16,-1-13 0,0 13 16,0 0-16,1 0 15,-1-13-15,0-1 0,0 14 0,1-13 16,-1 0-16,0 0 0,0-1 0,0-12 16,1 13-16,-1-14 0,-13 1 0,13 13 15,-13-14-15,13 1 0,-13 12 16,14 1-16,-14 0 0,0 0 0,0 0 15,13-1-15,-13 1 0,-13 40 32,13-14-17,0 0-15,-14 13 0,14-12 0,0-1 16,0 0-16,0 0 16,0 1-16,0-1 0,0 0 0,14 0 15,-14 1-15,13-14 0,-13 13 16,13-13-16,0 0 0,1 0 15,-1-13-15,0 13 16,0 0-16,-13-14 16,13 14-16,1 14 15,-1-14-15,-13 13 16,13-13-16,-13 13 16,0 0-16,13-13 0,1 0 31,-1 0-16</inkml:trace>
  <inkml:trace contextRef="#ctx0" brushRef="#br0" timeOffset="34241.87">14579 5040 0</inkml:trace>
  <inkml:trace contextRef="#ctx0" brushRef="#br0" timeOffset="34436.82">14089 5159 0,'40'0'16,"-14"0"-16,-13 0 0,14 0 16,-14-13-16,14 13 0,-1 0 0,1 0 15,-1-13-15,14 13 0,-14 0 16,1 0-16,-1 0 0</inkml:trace>
  <inkml:trace contextRef="#ctx0" brushRef="#br0" timeOffset="34907.9">14751 5226 0,'-14'26'31,"14"-13"-31,0 0 16,0 1-16,14-1 16,-14 0-1,13-13 1,0 0-16,13 0 15,-12-13-15,-1 13 0,-13-13 16,13 13-16,0-14 0,1 1 0,-1 13 16,0-13-16,0 13 0,0-13 15,1 13-15,-14-13 16,13 13-16,0 13 16,0-13-16,-13 13 0,0 0 15,14-13-15,-14 13 0,0 1 16,0-1-1,0 0-15,13-13 0,-13 13 16,13 1 0</inkml:trace>
  <inkml:trace contextRef="#ctx0" brushRef="#br0" timeOffset="35053.28">15094 5318 0,'0'0'0,"0"-13"16,14 13-1,-14-13 32,13 13-31</inkml:trace>
  <inkml:trace contextRef="#ctx0" brushRef="#br0" timeOffset="35439.18">15386 4961 0,'0'13'16,"0"14"-16,0-14 0,0 0 0,-14 0 15,14 14-15,0 12 0,-13-25 16,13 12-16,0-13 0,0 14 16,0-14-16,0 0 0,0 14 15,0-14-15,-13 0 0,13 0 16,0 1-16,0-1 16</inkml:trace>
  <inkml:trace contextRef="#ctx0" brushRef="#br0" timeOffset="35846.99">15280 5265 0,'0'-13'16,"13"13"-16,0-13 16,0 13-16,1 0 15,-1-13-15,0 13 0,0 0 0,1-14 16,-1 14-16,0-13 15,0 13-15,0 0 16,1 0-16,-1 0 16,0 13-16,-13 1 15,0-1-15,13 0 16,-13 13-16,-13-26 16,13 14-16,0-1 0,0 0 15,13 0 1,1-13-1,-1-13-15,0 13 16,0-13-16,1 13 0,-1-13 16,0 13-16,0 0 15,-13-14-15,13 14 0,1-13 16,-1 13-16,-40-13 31</inkml:trace>
  <inkml:trace contextRef="#ctx0" brushRef="#br0" timeOffset="35999.75">15015 5093 0,'0'0'0</inkml:trace>
  <inkml:trace contextRef="#ctx0" brushRef="#br0" timeOffset="37155.83">15558 5186 0,'-14'-13'16,"1"39"15,0-13-15,13 1-16,0-1 0,-13 0 15,13 0-15,0 0 16,0 1-16,13-1 15,-13 0-15,26-13 16,-12 0-16,-1 0 16,0 0-16,0 0 0,0 0 15,1 0-15,-1 0 0,0 0 16,0 0-16,14 0 0,-14 0 16,-13 13-16,13-13 15,-13 14-15,0-1 16,0 0-16,0 0 0,-13 1 15,13-1-15,-13 0 0,-14 13 0,14-26 16,0 14-16,0-1 0,-1 0 16,1-13-16,0 13 0,0-13 15,13 14-15,-13-14 0,26-27 32,-13 14-32,26 0 0,-13-1 15,27-12-15,-13 0 0,-1 12 0,0-12 16,14-1-16,-13 14 0,-1-13 0,1 12 15,-14 1-15,0 13 16,13-13-16,-12 0 0,-1 13 0,0-13 16,0 13-16,1-14 0</inkml:trace>
  <inkml:trace contextRef="#ctx0" brushRef="#br0" timeOffset="37275.99">16100 5186 0,'0'-13'15</inkml:trace>
  <inkml:trace contextRef="#ctx0" brushRef="#br0" timeOffset="41852.1">3559 6456 0,'-14'0'0,"1"13"15,0 0-15,0 1 16,-14 12-16,14 0 0,0 1 0,-14 13 16,14-1-16,0-12 0,0 12 0,-14-12 15,27 13-15,-13-14 0,13-13 16,0 14-16,-13-14 0,13 0 0,13 0 16,-13 1-16,0-1 0,13 0 0,0 0 15,1-13-15,-1 0 16,0 0-16,0 0 15,1 0-15,-1-13 0,-13 0 16,0 0 0,0-1-1,0 1-15,-13 13 0,-1-13 16,1 13 0,0 0-16,0 0 0,-1 0 15</inkml:trace>
  <inkml:trace contextRef="#ctx0" brushRef="#br0" timeOffset="42054.98">3678 6628 0,'13'-13'15,"-13"39"1,0-13-16,0 1 15,-13 12-15,13-13 0,-14 14 16,14-1-16,-13-13 0,13 14 0,-13-1 16,13-13-16,-13 1 0,13 12 0,0-13 15,0 1-15,0-1 16</inkml:trace>
  <inkml:trace contextRef="#ctx0" brushRef="#br0" timeOffset="42415.21">3876 6720 0,'0'0'0,"-26"0"15,12 14 1,-12-14-16,13 13 0,-14 0 16,14 0-16,0 1 0,-14-1 0,14 0 15,0 0-15,0 0 0,-1 1 16,14-1-16,0 0 15,0 0-15,14-13 16,-1 0-16,0 0 0,0 0 0,1 0 16,-1-13-16,13 13 0,-12 0 15,12-13-15,-13 13 0,0-13 16,1 13-16,-1 0 0,0-14 0,0 14 16,1 0-16,-1 0 15,0 14-15,0-14 16,-13 13-16,0 0 0,0 0 15,0 1-15,0-1 16,0 0-16,0 0 16,0 1-16</inkml:trace>
  <inkml:trace contextRef="#ctx0" brushRef="#br0" timeOffset="42538.85">4008 6760 0</inkml:trace>
  <inkml:trace contextRef="#ctx0" brushRef="#br0" timeOffset="42912.4">4379 6628 0,'0'26'0,"0"1"16,-13-14-16,13 0 0,0 14 0,-14-14 16,14 0-16,0 0 0,0 14 15,0-14-15,0 0 0,-13 0 0,13 1 16,0-1-16,0 0 15,-13-13 1,0 0 0,-1 0-1,1 0-15,0 13 16,0-13-16,0 0 0,-1 14 0,1-1 16,-13-13-16,26 13 0,-14-13 0,1 13 15,13 1-15,-13-14 0,13 13 16,0 0-1,13-13-15,14 0 16,-14 0-16,0 0 0,0-13 16,14 13-16,-14 0 0,13-13 0,14-1 15</inkml:trace>
  <inkml:trace contextRef="#ctx0" brushRef="#br0" timeOffset="43492.01">5106 6985 0,'-13'0'32,"13"-13"-17,0 0-15,-13 13 0,13-14 0,-13 1 16,13-13-16,0 12 0,-13-12 16,13 13-16,0-27 0,13 14 0,-13-14 15,13 0-15,0 14 0,0-1 0,1 14 16,-1 0-16,0-14 0,0 27 15,1-13-15,-1 0 0,0 13 0,0 0 16,1 0-16,-1 13 16,-26 14-1,-1-14-15,1 13 0,-27 1 16,14-1-16,-1 1 0,-12 12 0,-1-25 16,14 12-16,-14 0 0,13-12 0,1-1 15,0 13-15,12-26 0,-12 14 0,13-1 16,-1 0-16,1-13 15,13 13-15,13 1 16,1-14-16,-1 0 16,0 0-16,14 0 0,-1 0 15,0-14-15,1 14 0,13 0 0,-14 0 16,1-13-16,-1 13 0,0 0 0,1-13 16,-14 13-16,14 0 0,-14 0 15,0-13-15,0 13 0,1 0 16,-1 0-16,0-14 15</inkml:trace>
  <inkml:trace contextRef="#ctx0" brushRef="#br0" timeOffset="44855.17">6522 6734 0,'13'0'0,"-26"0"16,39-14-16,-52 28 31,13-1-31,0-13 16,-1 13-16,-12-13 0,13 13 0,-14-13 15,14 14-15,0-1 0,-14-13 16,14 0-16,13 13 0,-13-13 0,0 0 16,13 13-16,0 0 15,13-13-15,0 0 16,0 14-16,14-1 15,-14-13-15,0 0 0,0 13 0,1-13 0,-1 13 16,0-13-16,-13 14 16,0-1-1,-13 0-15,0-13 0,-1 13 0,-12 1 16,-1-14-16,-12 13 0,12 0 0,1-13 16,-1 13-16,1-13 0,-1 13 15,14-13-15,0 0 0,0 0 0</inkml:trace>
  <inkml:trace contextRef="#ctx0" brushRef="#br0" timeOffset="45810.73">6866 6654 0,'0'40'32,"0"-27"-32,-13 0 0,13 1 15,0 12-15,0-13 0,-14 14 0,14-1 16,0-13-16,-13 1 0,13 12 16,0-13-16,0 1 0,-13-1 0,13 0 15,0 0-15,0 1 0,-13-14 16,26-27 15,0 27-15,-13-13-16,13 0 0,1 13 15,-1-14-15,0 14 0,0 0 0,1 0 16,-14-13-16,13 13 0,13 13 16,-12-13-16,-14 14 15,0-1-15,0 0 16,-14-13-16,14 13 0,-13 1 15,0-14-15,0 13 0,-1-13 16,1 0-16,0 13 0,0-13 0,-1 0 16,1 0-16,0 0 15</inkml:trace>
  <inkml:trace contextRef="#ctx0" brushRef="#br0" timeOffset="46144.12">7170 6853 0,'-13'-14'16,"-13"28"-16,12-14 16,1 0-16,0 13 15,0 0-15,-1-13 0,14 13 16,-13-13-1,26 14 1,1-28-16,12 14 16,-13 0-1,1-13-15,-1 13 0,0 0 16,0 0-16,0 13 16,-13 1-1,0-1-15,0 0 16,0 0-16,0 1 15,0-1 1,14 0-16</inkml:trace>
  <inkml:trace contextRef="#ctx0" brushRef="#br0" timeOffset="46472.15">7355 6773 0,'14'-13'0,"-28"40"31,14-14-15,0 0-16,-13-13 15,13 13-15,0 0 0,-13 1 16,26-1 0,0-13-1,1 0-15,-1 0 16,0 0-1,0 0-15,1 0 0,-14 13 0,13-13 16,-13 13-16,0 1 16,0 12-1,-13-26-15,13 13 0,-14 1 0,1-14 16,13 13-16,-13 0 0,0 0 16</inkml:trace>
  <inkml:trace contextRef="#ctx0" brushRef="#br0" timeOffset="46602.53">7514 6906 0,'13'-14'0,"-26"28"0,40-14 31,-27 13-31,0 0 16,-14 0-16,14 1 15,-13-1 1</inkml:trace>
  <inkml:trace contextRef="#ctx0" brushRef="#br0" timeOffset="46723.28">7567 6760 0</inkml:trace>
  <inkml:trace contextRef="#ctx0" brushRef="#br0" timeOffset="47151.56">7832 6932 0,'0'-13'31,"0"0"-31,-27 26 16,14 0-16,0 0 16,0-13-1,13 14-15,0-1 16,-14-13-16,28 13 15,-1-13 1,13-13-16,-13 13 16,1 0-16,-1-13 0,13 13 0,-12 0 15,-1 0-15,0 0 16,0 0-16,1 0 0,-14 13 0,13-13 16,0 13-16,-26 0 31,13 0-31,-13-13 0,13 14 15,-14-14-15,14 13 0,-13-13 16,0 0-16,0 13 0</inkml:trace>
  <inkml:trace contextRef="#ctx0" brushRef="#br0" timeOffset="47699.14">8639 6906 0,'26'0'15,"-13"0"-15,27-14 16,-27 14-16,0 0 0,1 0 16,-1 0-16,0 0 0,0 0 15,1 0-15,-1 0 0,0 0 0,0 0 16,1 0-16,-1 0 0</inkml:trace>
  <inkml:trace contextRef="#ctx0" brushRef="#br0" timeOffset="47943.42">8811 6720 0,'26'0'0,"-26"14"0,66 12 31,-53-13-31,1 1 0,-1-1 0,0 0 15,0 0-15,1 0 0,-1 1 0,-13-1 16,13-13-16,-13 26 0,0-12 16,-13-1-16,13 0 0,-13 0 0,-1 1 15,1-1-15,0 13 0,0-13 0,13 1 16,-14-1-16,14 0 0,-13 0 16</inkml:trace>
  <inkml:trace contextRef="#ctx0" brushRef="#br0" timeOffset="48812.18">9763 6615 0,'0'-14'15,"0"1"1,13 40-1,-13-14-15,0 13 0,0-12 16,-13 12-16,13 0 0,0 1 16,0-1-16,0-12 0,0 12 0,0-13 15,0 14-15,13-14 0,-13 0 0,0 0 16,14 1-16,-1-1 16,0-13-16,0 0 15,-13-13-15,13 13 0,1-14 0,-1 14 16,-13-26-16,13 13 0,-13-1 15,13-12-15,1 13 0,-14 0 0,0-14 16,13 14-16,-13 0 0,0-1 0,13 1 16,-13 0-16,0 0 15,13 13-15,-13-13 16</inkml:trace>
  <inkml:trace contextRef="#ctx0" brushRef="#br0" timeOffset="48990.82">10107 6720 0,'13'80'31,"-13"-67"-15,0 0-16,0 0 0,0 1 15,-13-1-15,13 0 16,0 0-16</inkml:trace>
  <inkml:trace contextRef="#ctx0" brushRef="#br0" timeOffset="49426.21">10306 6668 0,'0'13'15,"-14"0"-15,14 0 0,0 0 16,14 1-16,-14-1 0,0 0 16,0 0-16,0 1 15,0-1-15,0 0 0,0 13 16,0-12-16,-14-1 15,1-13 1,13 13-16,-13-13 0,0 13 16,-1-13-16,1 0 0</inkml:trace>
  <inkml:trace contextRef="#ctx0" brushRef="#br0" timeOffset="49590.98">10425 6734 0,'0'26'31,"0"-13"-31,0 1 0,0-1 16,-14 0-16,14 0 16,-13 0-16,13 1 0,-13-1 15,13 0-15,0 0 0</inkml:trace>
  <inkml:trace contextRef="#ctx0" brushRef="#br0" timeOffset="49958.83">10702 6522 0,'-13'13'0,"26"-26"0,-26 39 0,13-12 15,0 12-15,-13-13 0,13 14 0,0-1 16,-13-12-16,13 12 0,-14 0 0,14 1 16,0-14-16,0 0 0,-13 14 15</inkml:trace>
  <inkml:trace contextRef="#ctx0" brushRef="#br0" timeOffset="50295.12">10583 6800 0,'14'-13'15,"25"-14"1,-26 27-16,14 0 0,-14-13 16,0 13-16,14 0 0,-14-13 0,14 13 15,-14 0-15,0-14 0,0 14 0,0 0 16,1 0-16,-1 0 16,0 0-16,-13 14 15,13-14-15,-13 13 0,0 0 16,0 0-1,0 1-15,-13-1 16,13 0-16,0 0 16,-13-13-1,13 13-15</inkml:trace>
  <inkml:trace contextRef="#ctx0" brushRef="#br0" timeOffset="50926.75">10967 6575 0,'0'26'47</inkml:trace>
  <inkml:trace contextRef="#ctx0" brushRef="#br0" timeOffset="51446.65">11086 6707 0,'-13'40'16,"13"-27"0,0 0-1,0 1-15,-13-14 16,26 13 15,0-13-15,0 0-1,14 0 1,-14 0 0,0-13-16,0 13 15,1 0-15,-1-14 16,0 14-16,0 0 0,1-13 15,-1 13-15,0 0 16,0 0 0,-13 13-1,13-13-15,-26 14 16,13-1-16,0 0 0,0 0 16,-13-13-16,13 13 15,-13 1-15,13-1 0,-13-13 16,39-13 15,-13 13-31,0-14 0,1 1 16,-1 0-16,13-13 0,-12 12 0,25-25 15,-25 25-15,-1 1 16,0 0-16,0 0 0,-13 0 16,13-1-16</inkml:trace>
  <inkml:trace contextRef="#ctx0" brushRef="#br0" timeOffset="52539.36">3056 8864 0,'-13'13'0,"-1"53"31,14-53-31,0 0 0,-13 1 16,13-1-16,0 0 0,0 0 15,0 14 1,13-40 15,-13-1-31,14 1 16,-14 0-16,0 0 0,13-27 16,-13 27-16,0-14 0,0 14 15,13-13-15,-13 12 0,0 1 0,13 0 16,-13 0-16,0-1 0,0 1 15,14 13-15,-14-13 0,13 13 32,0 13-17,-13 0-15,0 1 0,13-1 16,-13 0-16,14 0 0,-14 1 16,13-14-16,-13 13 15,13 0-15,0-26 31,0 13-31,-13-13 0,14-1 16,-1 1-16,-13 0 0,13 13 16,0-13-16,-13-1 0,14 14 0,-14-13 15,13 13-15,0 0 16,0 13-16,1 1 16,-14-1-16,0 0 15,13 0-15,-13 1 0,0-1 0,0 0 16,0 0-16,13 0 0,-13 1 15,0-1-15,0 0 0,0 0 0,0 1 16,0-1-16,0 0 16,13-13-16,-13 13 15</inkml:trace>
  <inkml:trace contextRef="#ctx0" brushRef="#br0" timeOffset="52846.78">3625 8956 0,'0'0'0,"0"-13"0,13 0 0,-13-1 16,0 1-16,-13 0 15,0 26 16,-1-13-31,14 13 0,0 1 16,0-1-16,-13 0 16,13 0-16,0 1 15,0-1-15,13 0 0,-13 0 16,14-13-16,-1 14 16,0-14-16,0 13 0,14-13 15,-14 0-15,13-13 0,-12 13 0,12 0 16</inkml:trace>
  <inkml:trace contextRef="#ctx0" brushRef="#br0" timeOffset="53379.6">4048 8916 0,'-40'-13'31,"27"13"-31,0 0 16,0 0-16,13 13 0,-13-13 15,-1 14-15,1-1 16,13 0-16,-13-13 0,13 13 0,-13 1 16,13-1-16,0 0 15,0 0 1,13 1 0,0-14-16,0-14 15,1 14 1,-1-13-16,0 0 15,0 0 1,0 13 0,-13-14-16,14 14 15,-1 14 1,-13-1 0,0 0-1,0 0 1,13-13-1,0 0 17,1 0-17,-1 0 1,0 0-16,0 0 31,1 0-15,-1 0-16,0 0 15,0-13-15,0 13 0,1 0 16</inkml:trace>
  <inkml:trace contextRef="#ctx0" brushRef="#br0" timeOffset="53830.97">4842 8797 0,'53'-13'31,"-40"26"-15,0 1-16,0-14 0,-13 13 15,14 0-15,-14 0 0,13 1 0,-13-1 16,0 13-16,0-13 0,0 1 0,-13 12 16,13-13-16,-14 14 0,14-14 15,-13 0-15,0 1 0,13-1 16,-13 0-16,13 0 0,-13 0 0,13 1 16,-14-1-16,14 0 0,-13 0 15</inkml:trace>
  <inkml:trace contextRef="#ctx0" brushRef="#br0" timeOffset="53990.71">4842 9340 0,'-13'0'16,"26"-13"15,0-1-31,0 14 15,1-13-15</inkml:trace>
  <inkml:trace contextRef="#ctx0" brushRef="#br0" timeOffset="54303.68">5636 8824 0,'26'0'15,"-13"0"-15,14 0 0,-14 0 16,13 0-16,-12 0 0,12 0 0,-13 0 16,14 0-16,-14 0 0,0 0 15,1 0-15,-1 0 0,0 0 16</inkml:trace>
  <inkml:trace contextRef="#ctx0" brushRef="#br0" timeOffset="54486.68">5702 9009 0,'26'13'31,"-13"-13"-31,1 0 16,-1 0-16,0 14 0,14-14 0,-14 0 15,0 0-15,0 0 0,1 0 16,-1 0-16,0 0 0,0 0 0</inkml:trace>
  <inkml:trace contextRef="#ctx0" brushRef="#br0" timeOffset="55646.66">3797 7554 0,'0'26'16,"0"-12"0,0-1-16,0 0 0,0 0 15,0 0-15,0 1 16,0-1-16,0 0 0,0 0 15,0 1-15,-13-1 16,26 0 0</inkml:trace>
  <inkml:trace contextRef="#ctx0" brushRef="#br0" timeOffset="56171.75">4008 7527 0,'14'0'15,"12"0"1,-13 14-16,1-1 15,-14 0 1,0 0-16,-14 1 0,14-1 16,-13 0-16,13 0 15,-13-13-15,13 13 16,13 1-16,-13-1 16,13 0-16,-13 0 0,14-13 15,-14 14-15,13-1 16,-26 0-1,13 0-15,-14-13 0,1 14 16,0-14-16,0 0 16,-1 13-16,1-13 0,0 0 15,0 0-15,0 0 0,-1 0 0</inkml:trace>
  <inkml:trace contextRef="#ctx0" brushRef="#br0" timeOffset="56459.8">3638 7395 0,'-66'93'31,"53"-80"-31,13 13 0,-14 1 0,14-1 15,0 1-15,-13-1 0,13 1 0,0-1 16,0 1-16,13-1 0,-13-13 16,14 14-16,-14-14 0,13 13 15,0-12-15,0-1 0,1 0 0,-1 0 0,0 1 16,0-14-16,0 0 0,14 13 16,-14-13-16,14 0 0,-1-13 15,-13 13-15</inkml:trace>
  <inkml:trace contextRef="#ctx0" brushRef="#br0" timeOffset="56779.92">4247 7276 0,'39'26'0,"-78"-52"0,105 66 0,-53-14 16,13 1-16,1-1 0,-1 1 0,-12-1 16,12 14-16,-13-14 0,0 14 0,1-14 15,-14 14-15,13-14 0,-13 14 0,0-13 16,-13 12-16,13-12 0,-14 12 15,1-12-15,-13-1 0,13 1 0,-1-1 16,-12 1-16,13-14 0,-14 13 0,14-12 16,-14-14-16</inkml:trace>
  <inkml:trace contextRef="#ctx0" brushRef="#br0" timeOffset="58507.24">7250 7488 0,'-14'26'16,"14"-13"0,-13 1-16,13-1 0,-13 13 15,13-12-15,-13-1 0,13 0 16,-14 13-16,14-12 0,-13-1 0,13 0 15,-13 0-15,13 1 0,0-1 0,0 0 16,-13 0-16</inkml:trace>
  <inkml:trace contextRef="#ctx0" brushRef="#br0" timeOffset="58839.92">6998 7289 0,'-26'27'0,"52"-54"0,-65 80 15,25-40-15,1 1 0,13 12 16,-13 14-16,0-14 0,13 1 16,-14 12-16,14-12 0,0-1 15,0 1-15,0-14 0,0 13 0,0 1 16,0-14-16,0 14 0,14-14 0,-14 0 16,13 0-16,0 1 0,-13-1 15,13 0-15,1-13 0</inkml:trace>
  <inkml:trace contextRef="#ctx0" brushRef="#br0" timeOffset="59183.07">7488 7250 0,'0'0'0,"26"39"0,-13-12 0,1-14 0,-14 13 15,13 1-15,0-1 0,-13 14 16,13-14-16,-13 14 0,14-13 15,-14-1-15,0 1 0,0-1 0,-14 14 16,1-1-16,0-12 0,-14 13 0,1-1 16,-14 1-16,14 0 0,-14-1 15,0-25-15,1 25 0,12-12 0,-12-14 16,12 13-16</inkml:trace>
  <inkml:trace contextRef="#ctx0" brushRef="#br0" timeOffset="62698.93">10478 6615 0</inkml:trace>
  <inkml:trace contextRef="#ctx0" brushRef="#br0" timeOffset="63158.85">10067 6588 0,'0'13'31</inkml:trace>
  <inkml:trace contextRef="#ctx0" brushRef="#br0" timeOffset="78928.95">6932 8758 0,'0'39'15,"0"-25"-15,-13 12 16,13-13-16,0 14 0,0-14 0,0 13 15,0 1-15,0-14 0,-13 14 16,13-14-16,0 13 0,0-12 0,0-1 16,0 0-16,0 0 0,0 0 0,0 1 15</inkml:trace>
  <inkml:trace contextRef="#ctx0" brushRef="#br0" timeOffset="79680.47">7131 8797 0,'13'0'0,"13"0"31,-26 14-31,13-14 0,-13 13 15,0 0-15,-13 0 0,0 1 16,13-1-16,-13 0 16,13 0-16,-13-13 0,13 13 0,0 1 15,0-1-15,0 0 16,13 0-16,0 1 16,0-1-16,-13 0 15,0 0 1,-13 1-16,0-1 15,0-13-15,13 13 0,-27-13 16,14 13-16,-14 0 0,14 1 16,0-14-16,0 0 0,13 13 0,-14-13 15</inkml:trace>
  <inkml:trace contextRef="#ctx0" brushRef="#br0" timeOffset="79862.31">7395 8797 0,'40'27'31,"-40"-14"-31,13 0 0,-13 1 0,0-1 16,0 0-16,0 13 0,0-12 16,0-1-16,0 0 0,0 0 0,0 14 15,0-14-15,0 0 0,0 1 16,0-1-16,-13-13 0</inkml:trace>
  <inkml:trace contextRef="#ctx0" brushRef="#br0" timeOffset="80027.5">7250 8996 0,'0'-13'0,"0"26"0,13-26 31,-13-1-31,13 14 0,0 0 0,0 0 15,1 0-15,-1-13 0,0 13 16,0 0-16,1 0 0,-1-13 0,13 13 16,-12-13-16,-1 13 0</inkml:trace>
  <inkml:trace contextRef="#ctx0" brushRef="#br0" timeOffset="80283.82">7766 8665 0,'0'0'0,"13"40"16,-13-27-16,0 0 15,0 0-15,0 14 16,0-1-16,0-12 0,0 25 15,0-12-15,0-14 0,0 0 16,0 0-16,0 1 0,0-1 16,0 0-16,0 0 15</inkml:trace>
  <inkml:trace contextRef="#ctx0" brushRef="#br0" timeOffset="80623.14">7990 8718 0,'0'0'15,"14"13"16,-14 0-15,0 1-16,0-1 16,13 0-16,-13 0 15,0 1-15,0-1 16,0 0-16,0 0 0,-13 1 16,13-1-16,-14 0 0,14 0 15,-13-13-15,0 13 0,0 1 16</inkml:trace>
  <inkml:trace contextRef="#ctx0" brushRef="#br0" timeOffset="80794.87">8215 8678 0,'14'0'0,"-1"0"0,0 40 31,-13-27-31,0 0 16,0 1-16,13-1 0,-26 0 0,13 14 16,0-14-16,0 0 0,0 0 15,0 1-15,0-1 0</inkml:trace>
  <inkml:trace contextRef="#ctx0" brushRef="#br0" timeOffset="80953.75">8123 8864 0,'0'-14'16,"53"-12"15,-40 26-31,13-13 0,14-1 16,0 1-16,-14 13 0,1-13 0</inkml:trace>
  <inkml:trace contextRef="#ctx0" brushRef="#br0" timeOffset="81259.1">8705 8678 0,'13'14'0,"-13"-1"0,0 26 31,0-25-31,0-1 0,0 0 16,0 0-16,0 1 0,0-1 0,0 13 15,0-12-15,0-1 16,0 0-16</inkml:trace>
  <inkml:trace contextRef="#ctx0" brushRef="#br0" timeOffset="81867.34">8916 8665 0,'14'27'32,"-28"-14"-17,14 0-15,0 0 0,-13 0 16,13 1-1,13-1-15,-13 0 16,14-13-16,-14 13 16,13 1-16,-13-1 0,0 0 15,13-13-15,-13 13 16,-13 1-16,13-1 16,-13 0-16,-1-13 15,1 13-15,0 0 0,0-13 16,0 14-1</inkml:trace>
  <inkml:trace contextRef="#ctx0" brushRef="#br0" timeOffset="82116.19">9247 8639 0,'13'26'16,"-13"-13"-16,0 1 16,0-1-16,0 0 15,0 0-15,0 0 0,-13-13 0,13 14 16,0-1-16,-13 0 15</inkml:trace>
  <inkml:trace contextRef="#ctx0" brushRef="#br0" timeOffset="82313.81">9128 8758 0,'13'-14'31,"1"14"-31,-1 0 15,0-13-15,0 13 0,27 0 16,-14-13-16,-12 13 0,12 0 16,-13-13-16,14 13 0,-14 0 0,13 0 15,-12-13-15,-1 13 0,0 0 16,0 0-16,1 0 0,-1 0 0</inkml:trace>
  <inkml:trace contextRef="#ctx0" brushRef="#br0" timeOffset="82632.25">9618 8559 0,'13'0'15,"-13"13"-15,0 54 32,0-54-32,0 0 15,0 0-15,0 1 0,-13-1 0,13 0 16,0 0-16,0 0 0,0 1 15,0-1-15</inkml:trace>
  <inkml:trace contextRef="#ctx0" brushRef="#br0" timeOffset="82971.8">9750 8572 0,'13'0'15,"0"0"-15,1 0 16,-14 14-16,13-14 16,-13 13-16,-13 0 15,13 0-15,0 1 16,0-1-1,0 0-15,0 0 16,0 1-16,0-1 16,0 0-16,-14 0 0,14 0 15,-13-13-15,13 14 16,-13-14-16,13 13 0,-13-13 16,-1 13-16,1 0 15</inkml:trace>
  <inkml:trace contextRef="#ctx0" brushRef="#br0" timeOffset="83172.07">10041 8572 0,'13'0'0,"0"0"0,-13 27 31,0-14-31,0 0 16,0 1-16,0-1 0,0 0 0,-13-13 16,13 13-16,0 1 0,0-1 0,0 0 15,-13 0-15</inkml:trace>
  <inkml:trace contextRef="#ctx0" brushRef="#br0" timeOffset="83332.16">9962 8705 0,'13'0'15,"-26"0"-15,26-13 0,0 13 0,0 0 16,0-14-16,1 14 0,-1 0 16,13-13-16,1 13 0,-14-13 0,14 13 15</inkml:trace>
  <inkml:trace contextRef="#ctx0" brushRef="#br0" timeOffset="83672.47">10583 8546 0,'0'13'0,"0"27"31,-13-27-31,13 0 0,-13 1 16,13-1-16,-13 13 0,-1-12 16,14-1-16,0 0 15,-13 0-15,13 0 0</inkml:trace>
  <inkml:trace contextRef="#ctx0" brushRef="#br0" timeOffset="84064.06">10729 8572 0,'0'-13'0,"13"13"31,-26 13-15,0 1-1,13-1-15,0 0 16,13-13-16,-13 13 16,13-13-16,-13 14 0,13-14 15,1 13-15,-1 0 16,0 0-16,-13 1 15,13-14-15,-26 13 16,13 0-16,-13 0 16,0-13-16,-1 0 0,14 13 15,-13-13-15,0 0 0,0 14 0,-1-14 16,1 0-16,0 0 0,0 13 0</inkml:trace>
  <inkml:trace contextRef="#ctx0" brushRef="#br0" timeOffset="85219.03">11165 8572 0,'-13'27'0,"13"-14"0,0 0 0,-26 80 31</inkml:trace>
  <inkml:trace contextRef="#ctx0" brushRef="#br0" timeOffset="85386.25">11126 8705 0,'0'0'0,"13"0"0,-13-13 16,13 13-16,0 0 15,1 0-15,-1 0 0,0 0 16,14-14-16,-14 14 0</inkml:trace>
  <inkml:trace contextRef="#ctx0" brushRef="#br0" timeOffset="85550.81">11483 8572 0,'13'0'0,"-26"0"0,26 27 46,-26-27-46,13 13 16,0 0-16,-13 1 0,13-1 16,0 0-16,0 0 15,-14 1-15</inkml:trace>
  <inkml:trace contextRef="#ctx0" brushRef="#br0" timeOffset="85887.83">11655 8572 0,'13'14'31,"-13"-1"-31,-13 0 16,13 0-16,0 1 15,0-1-15,0 0 16,0 0-16,0 1 16,0-1-16,0 0 0,0 0 15,0 0-15,-13 1 0,13-1 0,-14 0 16,14 0-16,-13-13 15,13 14-15,-13-14 0,13 13 16</inkml:trace>
  <inkml:trace contextRef="#ctx0" brushRef="#br0" timeOffset="86059.02">11919 8599 0,'14'13'16,"-1"14"-16,-13-14 16,-13 0-16,13 0 15,0 1-15,-14-14 0,14 13 16,-13 0-16,13 0 0</inkml:trace>
  <inkml:trace contextRef="#ctx0" brushRef="#br0" timeOffset="86218.73">11774 8718 0,'0'0'15,"13"-13"-15,0 13 0,14-13 16,-14 13-16,0-14 0,14 14 16,-14-13-16,13 13 0,1-13 0,13 13 15,-14-13-15,1 13 0,-1-14 0</inkml:trace>
  <inkml:trace contextRef="#ctx0" brushRef="#br0" timeOffset="86427.65">12435 8533 0,'-13'26'0,"13"-13"15,0 1-15,0-1 0,0 0 16,0 0-16,0 1 16,0 12-16,0-13 0,0 1 15,13-1-15,-13 13 0,14-26 16</inkml:trace>
  <inkml:trace contextRef="#ctx0" brushRef="#br0" timeOffset="86780.11">12885 8520 0,'13'13'15,"1"13"-15,-14 1 16,0-14-16,0 0 15,0 0-15,0 27 0,0-27 16,0 1-16,0 12 16,-14-13-16,14 0 0</inkml:trace>
  <inkml:trace contextRef="#ctx0" brushRef="#br0" timeOffset="86932.97">12832 8665 0,'14'0'16,"78"-26"15,-65 12-31,-14 14 16</inkml:trace>
  <inkml:trace contextRef="#ctx0" brushRef="#br0" timeOffset="87093.08">13361 8467 0,'0'0'16,"0"26"0,-13-13-1,13 1-15,0-1 0,-13 13 16,0 1-16,13-14 16,0 0-16,0 0 0,0 1 0,0-1 15,0 0-15</inkml:trace>
  <inkml:trace contextRef="#ctx0" brushRef="#br0" timeOffset="87306.97">13705 8480 0,'0'26'31,"0"-12"-31,0-1 16,0 0-16,0 0 0,0 0 0,-13 14 16,13-14-16,0 0 0,-13 1 15,13-1-15,0 0 16,-13 0-16</inkml:trace>
  <inkml:trace contextRef="#ctx0" brushRef="#br0" timeOffset="87468.29">13560 8665 0,'26'-13'16,"-12"13"0,-1 0-16,0 0 0,13-13 0,-12 13 15,12 0-15,1-14 0,-14 14 0</inkml:trace>
  <inkml:trace contextRef="#ctx0" brushRef="#br0" timeOffset="87937.92">14129 8440 0,'0'40'15,"0"-27"-15,0 0 16,0 1-16,0-1 0,0 13 16,0-13-16,-13 14 0,13-14 0,0 0 15,0 1-15,0-1 0,0 0 0,-14 0 16,14 1-16,0-1 16</inkml:trace>
  <inkml:trace contextRef="#ctx0" brushRef="#br0" timeOffset="88175.86">14433 8427 0,'0'13'31,"0"0"-16,0 1-15,0-1 0,0 0 0,0 0 16,0 1-16,0-1 0,-13 13 0,13-13 16,0 1-16,-13-1 0,-1 0 15,14 0-15,0 1 0,0-1 0,0 0 16</inkml:trace>
  <inkml:trace contextRef="#ctx0" brushRef="#br0" timeOffset="88359">14340 8612 0,'14'-13'0,"52"13"31,-53 0-31,0-13 16,0 13-16,1 0 0,12 0 0</inkml:trace>
  <inkml:trace contextRef="#ctx0" brushRef="#br0" timeOffset="88616.05">14883 8387 0,'0'40'15,"-13"-40"-15,13 13 0,0 14 16,0-14-16,0 0 0,0 0 16,-14 14-16,14-14 0,0 0 0,-13 14 0,13-14 15,-13 0-15,13 14 0,0-14 16,-13-13-16,13 13 0,0 0 15</inkml:trace>
  <inkml:trace contextRef="#ctx0" brushRef="#br0" timeOffset="88852.48">15094 8401 0,'0'26'16,"-13"-26"-16,13 13 0,0 0 16,-13 1-16,13-1 0,0 13 0,-13-12 0,13-1 15,0 0-15,-13 0 16,13 0-16,0 1 0,0-1 0,0 0 16,-14 0-16,14 1 0,0-1 0,0 0 15,0 0 1</inkml:trace>
  <inkml:trace contextRef="#ctx0" brushRef="#br0" timeOffset="89415.62">14975 8599 0,'27'0'31,"-14"0"-16,0 0-15,1 0 0,-1 0 0,0 0 16,0 0-16,14 0 0,-27-13 0,26 13 16,-13 0-16,1 0 0,-1 0 15,0-14-15</inkml:trace>
  <inkml:trace contextRef="#ctx0" brushRef="#br0" timeOffset="89631.59">15505 8387 0,'-14'53'0,"14"-13"16,-13-27 0,13 0-16,0 1 0,-13 12 15,13-13-15,0 0 0,-13 14 0,13-14 16,-14 0-16,14 1 0,-13 12 0,13-13 15,-13 1-15,13-1 0,-13 0 16</inkml:trace>
  <inkml:trace contextRef="#ctx0" brushRef="#br0" timeOffset="91629.9">9750 8665 0</inkml:trace>
  <inkml:trace contextRef="#ctx0" brushRef="#br0" timeOffset="92014.8">10716 8705 0</inkml:trace>
  <inkml:trace contextRef="#ctx0" brushRef="#br0" timeOffset="92694.68">11562 8705 0</inkml:trace>
  <inkml:trace contextRef="#ctx0" brushRef="#br0" timeOffset="96404.06">7567 9353 0,'212'13'0,"-120"-13"0,755-39 32,-662 25-32,0 1 15,14 0-15,13 0 0,-14 13 0,80-27 16,-80 27-16,14-13 0,52 0 0,-65 0 16,-1-1-16,1 1 0,-1 0 0,-13 0 15,1 13-15,-14-14 0,0 14 16,-14-13-16,-12 13 0,-40 0 15,0 13-15,-27-13 0,14 0 0,-27 14 16,-27-14-16,-12 13 0,-1-13 0,-12 0 16,-1 13-16,-26-13 0</inkml:trace>
  <inkml:trace contextRef="#ctx0" brushRef="#br0" timeOffset="96775.6">10372 9671 0,'13'13'15,"-13"13"-15,-13-13 0,13 1 16,0-1-16,-27 40 0,14-14 15,0-12-15,13-14 16,-27 27-16,27-27 0,0 0 16</inkml:trace>
  <inkml:trace contextRef="#ctx0" brushRef="#br0" timeOffset="96930.74">10649 9657 0,'0'0'15,"0"27"-15,0-14 16,0 0-16,-26 40 0,13-13 16,0-14-16,-1 1 0,1 12 15,0-12-15,0 13 0,-1-14 16,1 40-16</inkml:trace>
  <inkml:trace contextRef="#ctx0" brushRef="#br0" timeOffset="97668.93">6218 11099 0,'53'-26'15,"-40"26"-15,13-13 16,1 13-16,-1-14 0,1 14 15,-1-13-15,1 13 0,-1 0 16,1-13-16,-14 13 0,13 0 0,-13-13 16,1 13-16,-1 13 15</inkml:trace>
  <inkml:trace contextRef="#ctx0" brushRef="#br0" timeOffset="97868.36">6112 11311 0,'0'13'0,"0"-26"0,13 39 0,0-26 16,1 0-16,-1 0 0,0 0 15,13 0-15,1 0 0,13 0 16,-14-13-16,1 13 0,-1 0 0,14-13 16,-14 13-16,1 0 0,-14-13 0,13 13 15,-12 0-15,12 0 0,-13 0 16,0-14-16,1 14 0,-1 0 0,0 0 15,0 0-15</inkml:trace>
  <inkml:trace contextRef="#ctx0" brushRef="#br0" timeOffset="109031.96">8599 10888 0,'26'-14'32,"-12"14"-17,-1 0-15,0 0 16,0 0-1,1 0-15,-1 0 0,0 0 16,0 0 0,-13 14-16,13-1 0,-13 0 15,0 0-15,14-13 0,-14 14 0,0-1 16,0 0-16,0 0 0,0 0 16,13 14-16,-13-14 0,0 0 15,-13 1-15,13-1 0,0 0 0,0 0 0,0 0 16,0 1-1,0-1-15,0 0 0,-14-13 0,14 13 16,0 1-16,-13-1 16</inkml:trace>
  <inkml:trace contextRef="#ctx0" brushRef="#br0" timeOffset="109230.63">8612 11086 0,'13'-13'15,"-26"26"-15,40-26 0,-14 13 16,0 0-16,0 0 0,14 0 0,-14 0 16,0 0-16,0 0 0,1 0 0,12 0 15,-13 0-15,1 0 0,-1 0 16,0-13-16,14 13 0</inkml:trace>
  <inkml:trace contextRef="#ctx0" brushRef="#br0" timeOffset="109779.66">9194 10888 0,'14'26'31,"-14"-13"-15,13 1-16,-13-1 0,13 0 0,-13 0 16,13 0-16,-13 1 0,0-1 15,0 0-15,0 0 0,0 1 16,0-1-16,-13 0 0,0 0 0,13 0 16,-13-13-16,-1 14 0,1-1 15,0-13-15,13 13 0,-13-13 0,-1 0 16,1 13-16,26-39 31,1 26-15,-1-13-16,0-1 0,0 1 0,1 0 15,-1 0-15,-13 0 0,13-1 16,0 1-16,-13 0 0,13 0 0,-13-1 16,0 1-16,14 0 0,-14 0 0,0 0 15,-14-1-15,14 1 16,-13 0-16,0 13 15,0-13-15,0 13 0,-14 0 16,27 13-16,-13-13 0,0 0 16,-1 13-16</inkml:trace>
  <inkml:trace contextRef="#ctx0" brushRef="#br0" timeOffset="109991.05">9551 10848 0,'0'13'15,"0"-26"-15,0 39 0,14-26 0,-14 14 0,0-1 16,0 13-16,13-12 0,-13-1 0,0 0 16,13 13-16,-13-12 0,0-1 15,0 0-15,0 0 0,0 1 0,0-1 16,0 0-16,0 0 0,13 0 15</inkml:trace>
  <inkml:trace contextRef="#ctx0" brushRef="#br0" timeOffset="110211.83">9459 10993 0,'0'0'16,"40"0"-16,-27 0 0,0 0 0,0 0 16,0 0-16,14 0 0,-14 0 0,0 0 15,1-13-15,12 13 0,-13 0 0,1 0 16,-1 0-16,13 0 0,-13 0 16,1-13-16,-1 13 0,0 0 0,0 0 15,1 0-15</inkml:trace>
  <inkml:trace contextRef="#ctx0" brushRef="#br0" timeOffset="111434.87">10358 10874 0,'0'0'0,"-26"0"63,13 0-63,0 0 0,-1 0 15,14 14-15,-13-14 16,13 13-16,0 0 16,0 0-16,13-13 0,-13 14 15,0-1-15,14 0 0,-14 0 0,13 0 0,-13 1 16,13-14-16,-13 13 0,0 0 15,0 0-15,0 1 16,-13-14-16,13 13 0,-13-13 0,-1 0 16,1 13-16,0-13 0,0 0 15,-1 0-15,1 13 0,0-13 16,0 0-16,-1 0 0</inkml:trace>
  <inkml:trace contextRef="#ctx0" brushRef="#br0" timeOffset="112199.99">11324 10835 0,'27'0'16,"-14"0"-16,0 0 0,0-14 15,1 14-15,-1 0 0,0 0 16,0 0-16,0 0 0,-13 14 16</inkml:trace>
  <inkml:trace contextRef="#ctx0" brushRef="#br0" timeOffset="112351.19">11245 11007 0,'0'13'31,"13"-13"-31,0 13 0,0-13 16,14 0-16,-14 0 0,0 0 15,14-13-15,-14 13 0,14 0 16,-1 0-16</inkml:trace>
  <inkml:trace contextRef="#ctx0" brushRef="#br0" timeOffset="113055.58">12621 10769 0,'-14'-14'16,"28"28"-16,-41-28 0,14 14 0,0 0 15,26 27 17,0-14-32,-13 0 0,13 0 15,1 14-15,-14-14 16,13 0-16,-13 1 0,0-1 0,0 0 16,0 0-16,0 1 0,-13-1 0,13 0 15,-14 0-15,1 0 0,0 1 16,0-14-16,-1 13 0,1-13 15,0 13-15,0-13 0,0 0 16,13-13 0,13 0-16,0 13 15,0-14-15,0 1 0,1 13 0,-1-13 16,0 0-16,14 0 0,-14-1 16,0 1-16,0 0 0,1 13 15,-1-13-15,0-1 0,-13 1 0,13 0 16,-13 0-16,0-1 0,-13 1 15,13 0-15,-13 13 16,0-13-16,-1 13 0,1-13 0,0 13 16,0 0-16,-1 0 0,1 0 0,0 0 15,0 0-15</inkml:trace>
  <inkml:trace contextRef="#ctx0" brushRef="#br0" timeOffset="113383.02">12938 10755 0,'-26'14'31,"12"-14"-31,1 13 16,13 0-1,0 0-15,0 0 16,0 1-16,13-1 16,-13 0-16,14 0 15,-14 14-15,0-14 0,13 0 16,-13 1-16,0-1 0,0 0 16,-13-13-16,13 13 0,0 0 15,-14 14-15,1-27 0,0 13 16,0 0-16,0 1 0,-1-1 15,1 0-15,0 0 0,0 0 0,-1-13 16,1 14-16</inkml:trace>
  <inkml:trace contextRef="#ctx0" brushRef="#br0" timeOffset="113622.76">12224 11284 0,'0'0'0,"39"-13"32,-12 13-32,-1-13 0,1 13 0,-1 0 0,14-13 15,0 13-15,13-13 0,-14 13 16,1 0-16,0-14 0,-1 14 16,-12 0-16,-1 0 0,14 0 0,-27 0 15,14 0-15,-1 0 0,-13 0 0,1 0 16,-1 0-16,-13 14 0,13-14 15</inkml:trace>
  <inkml:trace contextRef="#ctx0" brushRef="#br0" timeOffset="113929.39">12449 11390 0,'0'27'31,"0"-14"-31,0 0 16,0 0-16,-14 1 0,14-1 15,0 0-15,0 0 16,-13 14-16,13-14 0,0 0 15,-13 1-15,13-1 0,0 0 0,-13 0 16,13 0-16,-14 1 16,14-1-16,14-13 15</inkml:trace>
  <inkml:trace contextRef="#ctx0" brushRef="#br0" timeOffset="114679.86">12819 10663 0,'13'0'16,"1"0"0,-1 0-16,0 0 0,0 13 0,0-13 15,-13 13-15,14-13 0,-1 13 0,0 1 16,-13-1-16,13 0 15,-13 0-15,0 1 16,0-1-16,0 0 0,-13 0 0,0-13 16,13 13-16,-13 14 0,-1-27 15,1 13-15,0 14 0,13-14 0,-13 0 16,0 0-16</inkml:trace>
  <inkml:trace contextRef="#ctx0" brushRef="#br0" timeOffset="115182.8">12793 11324 0,'-27'93'31,"27"-80"-31,-26 13 16,12 14-16,1-13 0,0-1 0,0 1 15,-14-1-15,27-13 0,-13 14 0,0-14 16,0 0-16</inkml:trace>
  <inkml:trace contextRef="#ctx0" brushRef="#br0" timeOffset="120859.87">14129 11073 0,'26'0'32,"-13"0"-32,1 0 15,-1 0-15,0 0 0,0 0 0,1 13 16,-1-13-16,0 0 0,0 0 0</inkml:trace>
  <inkml:trace contextRef="#ctx0" brushRef="#br0" timeOffset="121035.69">14129 11218 0,'-13'0'15,"26"14"1,0-14-16,0 13 15,0-13-15,1 0 0,-1 0 0,13 0 16,-12 0-16,12 0 0,1 0 16,-1 0-16,-13 0 0,27-13 0,-14 13 15</inkml:trace>
  <inkml:trace contextRef="#ctx0" brushRef="#br0" timeOffset="121452.25">14803 10888 0,'53'0'16,"-39"0"-16,-1 0 15,13 0-15,-13 13 0,1-13 0,-1 0 16,0 13-16,0-13 0,1 13 16,-1-13-16,0 14 0,-13-1 0,13-13 15,-13 13-15,14 0 0,-14 0 0,0 1 16,0-1-16,0 0 0,0 0 15,0 1-15,0 12 0,-14-13 0,14 0 16,0 1-16,0-1 0,-13 0 0,13 0 16,0 1-16,0-1 0,-13 0 15,13 0-15,0 1 16,0-1-16</inkml:trace>
  <inkml:trace contextRef="#ctx0" brushRef="#br0" timeOffset="121643.17">14896 11165 0,'40'-13'31,"-27"13"-31,0 0 0,14 0 16,-14 0-16,0 0 0,0 0 0,1 0 15,-1 0-15,13 0 0,-13-13 0,1 13 16,-1 0-16,0 0 16</inkml:trace>
  <inkml:trace contextRef="#ctx0" brushRef="#br0" timeOffset="121840.69">15372 11112 0</inkml:trace>
  <inkml:trace contextRef="#ctx0" brushRef="#br0" timeOffset="122199.56">15624 10993 0,'-27'0'16,"14"0"-16,0 14 0,-40 12 31,53-13-31,0 1 16,0-1-16,0 0 16,13 0-16,-13 0 0,13 1 15,-13-1-15,0 0 16,0 0-16,0 1 0,0-1 15,-13 0-15,0 0 16,0 1-16,-1-1 0,1 0 16,-13 0-16,-14 0 0,27 1 15,-14-1-15,14-13 0,0 13 0,0-13 16,-1 13-16,1-13 0</inkml:trace>
  <inkml:trace contextRef="#ctx0" brushRef="#br0" timeOffset="122404.8">15888 11152 0,'-66'40'31,"40"-14"-31,-14-12 0,13-1 16,-12 13-16,-1-13 0,0 1 0,1 12 15,12-13-15,-12 14 0,12-14 0,-13 0 16,27-13-16,13 14 0,-13-14 0</inkml:trace>
  <inkml:trace contextRef="#ctx0" brushRef="#br0" timeOffset="122591.78">15968 11218 0,'-27'14'0,"14"-1"16,-14 0-16,14-13 0,-13 13 0,-1 0 15,-184 107 17,184-107-32,1 0 0,13 0 0,-1-13 15,1 13-15</inkml:trace>
  <inkml:trace contextRef="#ctx0" brushRef="#br0" timeOffset="127830.57">20294 10835 0,'13'0'0,"-26"0"16,39 0-16,-13 13 15,-13 0-15,0 0 0,13 1 16,-13 12-16,0 1 0,0 12 0,0 1 0,0 13 15,0-14-15,0 1 0,-13 0 0,13 0 16,0-14-16,-13 14 0,13-14 16,-13 1-16,13-1 0,0-13 15,-13 14-15,13-14 0,-14 0 0,14 0 16,0 1-16,-13-14 0,13 13 16</inkml:trace>
  <inkml:trace contextRef="#ctx0" brushRef="#br0" timeOffset="128251.17">20439 10874 0,'-13'0'0,"-80"67"16,67-41-16,13-13 15,-14 14-15,1-1 0,-1 1 16,1-14-16,-1 13 0,1-13 0,13 14 15,-1-14-15,1 0 0,0 1 0</inkml:trace>
  <inkml:trace contextRef="#ctx0" brushRef="#br0" timeOffset="128474.79">20426 10927 0,'40'27'0,"-80"-54"0,93 67 0,-40-27 15,0 0-15,0 1 0,1-1 16,12 0-16,-13 0 0,1 1 0,-14-1 16,13 0-16,0 0 0,0-13 15,-13 13-15,14 1 0,-1-1 16</inkml:trace>
  <inkml:trace contextRef="#ctx0" brushRef="#br0" timeOffset="131790.09">19328 11959 0,'0'-13'0,"0"26"0,13-26 15,-26 39 17,0-26-17,-1 14-15,1 12 0,0-13 16,0 1-16,-14-1 0,14 13 0,0-13 15,0 1-15,-1-1 0,1 0 0,0 0 16,0 1-16,13-1 0,-14 0 16,14 0-16,-13-13 0,13 14 0,-13-1 15,13 0 1,13-13-16,0 13 16,1-13-16,-1 0 0,13 0 15,-12 0-15,-1 13 0,0-13 16,0 0-16,0 0 0,14 0 0,-14 0 15,0 0-15,1-13 0,-1 13 16,0 0-16,0 0 0,1 0 16,-14-13-16</inkml:trace>
  <inkml:trace contextRef="#ctx0" brushRef="#br0" timeOffset="132040.68">19354 12012 0,'-26'93'32,"13"-67"-32,-1-13 0,14 14 15,-13-1-15,13 1 0,-13-1 0,13-13 16,-13 14-16,13-1 0,-14-12 0,14-1 15,0 13-15,0-13 0,14 1 16,-14-1-16,13 0 0,0-13 16,0 0-16,1 13 0,12-13 0,1-13 15</inkml:trace>
  <inkml:trace contextRef="#ctx0" brushRef="#br0" timeOffset="132388.73">20241 12065 0,'53'0'31,"-40"0"-31,13 0 0,1 0 16,12 0-16,-12 0 0,-1 0 0,14 0 16,-14 0-16,1 13 0,-1-13 0,1 0 15,-14 0-15,14 0 0,-14 0 0,0 0 16,13 0-16,-12 0 0,-1 0 15,0 0-15,0 0 16,1 0-16</inkml:trace>
  <inkml:trace contextRef="#ctx0" brushRef="#br0" timeOffset="132731.57">20717 11906 0,'53'27'32,"-40"-14"-32,0 0 15,0-13-15,1 13 0,12 1 16,-13-1-16,1 0 0,12-13 0,-13 13 0,1 1 15,-1-1-15,0 0 16,0 0-16,-13 0 0,13 1 0,1-1 16,-14 0-16,0 0 0,0 1 0,0-1 15,0 0-15,-14 14 0,14-14 16,-13 0-16,0 0 0,13 0 0,-13 1 16,0-1-16,13 0 0,-14-13 0,1 13 15,13 1-15,13-14 16</inkml:trace>
  <inkml:trace contextRef="#ctx0" brushRef="#br0" timeOffset="133691.87">21947 11946 0,'0'40'31,"0"-27"-15,0 0-16,-13 0 0,13 14 15,0-14-15,0 0 0,0 0 0,0 1 16,0-1-16,0 0 0,0 0 0,0 1 16,0-1-16,0 0 0,0 0 15,13-13-15,-13 14 16,13-1-16</inkml:trace>
  <inkml:trace contextRef="#ctx0" brushRef="#br0" timeOffset="134662.81">22159 11986 0,'26'-14'0,"-52"28"0,66-28 15,-14 14-15,-13 0 16,0 14-16,1-14 16,-1 13-16,-13 0 15,13-13-15,-13 13 0,0 1 16,0-1-16,0 0 0,-13 0 15,13 0-15,-13-13 0,13 14 16,-14-1-16,1-13 0,13 13 0,-13 0 16,13 1-16,-13-14 15,13 13 1,13 0-16,0-13 16,0 0-16,1 0 15,-1 0-15,0 0 16,0 0-16,1 0 0,-1 0 0,0 0 0,0 0 15,1 0-15,12 0 16,-13 13 0,0-13-1</inkml:trace>
  <inkml:trace contextRef="#ctx0" brushRef="#br0" timeOffset="136362.81">22172 11986 0,'-13'13'0,"39"-26"94,-12 13-94,-1 0 16,0 0-16,0 0 15,0 0-15,1 0 16,-14 13-16,13-13 16,-13 13-16,13-13 0,-13 13 15,0 1-15,0-1 16,-13 0-16,13 0 15,-13 0 1,-1 1-16,1-14 16,13 13-16,-13-13 0,13 13 15,-13-13-15,13 13 16,-13-13-16,26 14 47,0-14-47,0 0 0,14 0 15,-14 0 1,0-14-16,0 14 0,1 0 16,-1 0-16,0 0 0,0 0 15,1 0 1,-1 0-16,0 0 16,0 0-16,0 0 31</inkml:trace>
  <inkml:trace contextRef="#ctx0" brushRef="#br0" timeOffset="139178.97">22199 11959 0,'13'-13'63,"-13"0"-48,13 13 1,0 0-16,0 0 16,1 13-1,-1-13-15,-13 13 16,13-13-16,-13 13 15,0 1 1,0-1-16,-13-13 0,13 13 16,-13 0-16,-1-13 0,14 14 15,-13-14-15,13 13 0,-13-13 0,13 13 16,-13-13-16,13 13 0,-13-13 16,13 13-16,0 1 31,13-14-31,-13 13 15,13-13-15,0 0 16,0 0-16,1 0 0,-1 0 16,0 0-16,0 0 0,-13 13 15,14-13-15,-1 0 0,0 0 16</inkml:trace>
  <inkml:trace contextRef="#ctx0" brushRef="#br0" timeOffset="140815.71">19315 11972 0,'13'-13'31,"-26"26"16,13 1-31,-14-14-16,1 13 0,0 0 15,0-13-15,-14 13 0,14 1 0,-13 12 0,-1-13 16,14 0-16,-14 14 0,1-14 15,13 0-15,-1 1 0,1-1 16,0 0-16,0 0 0,0-13 0,13 14 16,-14-1-16,14 0 15,-13-13-15,13 13 0,13 0 16,1-13-16,-1 0 16,0 0-16,0 0 0,14 0 15,-14 0-15,13 0 0,-12 0 0,12 0 16,1-13-16,-14 13 0,13 0 0,-13 0 15,1 0-15,-1-13 0,13 13 16,-12 0-16,-1 0 16,0 0-16,0-13 0,1 13 15,-1 0 1</inkml:trace>
  <inkml:trace contextRef="#ctx0" brushRef="#br0" timeOffset="141124.63">19368 11999 0,'-14'26'31,"14"-12"-31,0-1 16,0 13-16,0-13 0,-13 14 0,13-1 15,0 1-15,0-1 0,-13 1 0,13-1 16,0-13-16,0 14 0,0-14 16,0 14-16,0-14 0,-13 13 0,13-13 15,0 1-15,0-1 0,0 0 16,0 0-16,13-13 15,-13 14-15</inkml:trace>
  <inkml:trace contextRef="#ctx0" brushRef="#br0" timeOffset="142043.16">20373 12052 0,'26'0'31,"-12"0"-31,-1 0 0,0 0 16,0 0-16,14 0 0,-14 0 0,13 0 16,-12 0-16,12 0 0,1 13 15,-1-13-15,-13 0 0,14 0 16,-1 0-16,1 0 0,-1 0 0,-13 0 15,14 0-15,-14 0 0,13 0 16,-12 0-16,-1 13 0,0-13 0,0 0 16,1 0-16,-1 0 0,0 0 15</inkml:trace>
  <inkml:trace contextRef="#ctx0" brushRef="#br0" timeOffset="142898.97">20704 11893 0,'-14'-13'16,"28"39"46,-14-13-62,13-13 16,-13 14 0,13-14-16,-13 13 15,13-13 1,1 13-1,-1-13 1,0 13-16,0-13 16,-13 14-16,13-14 0,-13 13 15,14-13-15,-1 0 0,-13 13 16,13 0-16,0-13 16,-13 14-16,14-14 0,-1 13 0,-13 0 15,13-13-15,0 13 16,1-13-16,-14 13 15,13-13 1,0 14 0,0-14-1,-13 13-15,13-13 32,1 13 14,-28 0 1,14 1-15,-13-1-32,13 0 15,0 0-15,-13-13 0,13 14 0,-13-1 16,0 0-16,13 0 0,-14 0 15,1-13-15,13 14 0,-13-14 16,13 13-16,-13-13 0,13 13 0,-14-13 16</inkml:trace>
  <inkml:trace contextRef="#ctx0" brushRef="#br0" timeOffset="144408">15452 11589 0,'-14'26'47,"14"-13"-47,-13 1 0,13 12 15,-13 1-15,13-1 0,-13 14 0,0-14 16,-1 14-16,14-14 0,-13 1 16,13-1-16,-13-13 0,13 14 0,0-1 15,0-12-15,-13 12 0,13-13 0,0 14 16,0-14-16,0 0 0,0 0 15,0 1-15,13-14 0,-13 13 16,0 0-16,13-13 0,0 13 0,1-13 16,-1 0-16,0 0 0,13 0 0,1 0 15,-1 0-15,14 0 0,13 0 16,0 0-16,0 0 0,0-13 0,26 13 16,0 0-16,1-13 0,-1 13 0,1 0 15,-1 0-15,14-13 0,-14 13 16,0 0-16,1 0 0,-1-14 15,-13 14-15,14 0 0,-14 0 0,13-13 16,-26 13-16,13 0 0,-13 0 16,0 0-16,0 0 0,-13-13 0,-1 13 15,-12 0-15,12 0 0,-12 0 0,-14 0 16,0 0-16,14 0 0,-14 0 16,0 0-16,14-13 15,-14 13 1,-40-13 31</inkml:trace>
  <inkml:trace contextRef="#ctx0" brushRef="#br0" timeOffset="145480.18">17238 11880 0,'26'0'93,"-13"0"-15,-13 13 266,14-13-328,-14 13-1,13-13-15,-13 13 16,13-13-16,0 0 16,-13 14-16,13-14 0,1 13 0,-1-13 15,0 13-15,0-13 16,1 0-16,-1 13 0,0-13 0,-13 14 16,13-14-16,0 0 0,1 0 0,-1 13 15,0-13-15,0 13 16,1 0-16,-14 1 15,0-1-15,0 0 16,-14 0-16,14 0 0,-13 14 0,0-14 16,0 0-16,-1 14 0,-12-1 15,0 1-15,12-1 0,-12-13 0,13 14 16,-1-14-16,-12 0 0,13 1 0,0-1 16,-1 0-16,14 0 0,-13-13 15,13 13-15</inkml:trace>
  <inkml:trace contextRef="#ctx0" brushRef="#br0" timeOffset="148483.69">17568 12039 0,'27'-14'0,"-54"28"0,80-28 0,-40 14 15,1-13-15,12 13 0,1-13 0,12 13 16,1-13-16,13-1 0,0 1 0,13 0 16,0 0-16,0-1 0,14 1 15,-1 0-15,0 0 0,1 0 0,-1-1 16,14 1-16,-14 0 0,0 0 0,14-1 16,-14 1-16,1 0 15,-1 0-15,-13 0 0,14-1 0,-14 1 16,13 0-16,-13 0 0,1-1 0,-1 1 15,0 0-15,-13 13 0,-14-13 16,1-1-16,13 14 0,-26-13 0,-1 13 16,0-13-16,1 13 0,-14 0 0,14-13 15,-14 13-15,0 0 0,0 0 16,0-13-16,1 13 0,-1 0 0,0-14 16,0 14-16,1 0 0,-1 0 0,0-13 15,14 13-15,-14 0 0,0 0 16,0 0-16,0-13 0,1 13 0,-1 0 15,0 0-15,0 0 16,1-13-16,-1 13 16,0 0-16,0 0 31,1 0-15,-1 0-16,0 13 31,-39-26 188,26-1-204,-14 14 1,1 0-1,13-13 17,-13 13-1,13-13 16,13 0-16,-13-1 0,0 1-15,0 0 0,0 0-1,13 0-15,-13-1 0,14 1 16,-14 0-16,0 0 15,13-1-15,-13 1 0,0 0 0,13 0 16,-13-1-16,13-12 0,-13 13 0,13 0 16,1-14-1,-14 14-15,13-14 0,-13 14 0,13 0 16,-13 0-16,0-1 0,13 1 0,-13 0 16,14 0-16,-14 0 0,0-1 15,13 1-15,-13 0 0,13 0 16,-13-1-16,0 1 0,0 0 15,13 13-15,-13-13 16,0 0-16,14-1 16,-28 14 46,1 0-46</inkml:trace>
  <inkml:trace contextRef="#ctx0" brushRef="#br0" timeOffset="149095.72">20466 10888 0,'-14'-14'16,"1"28"0,0-14-16,0 13 15,-1-13-15,1 13 0,0 0 0,-14 1 16,14-1-16,0 0 0,0 0 0,-14 14 16,1-14-16,13 13 0,-1-12 15,1-1-15,-13 0 0,12 0 0,1 0 16,0 14-16,0-14 0,0-13 0,-1 13 15,14 1-15,-13-1 0,0-13 16,13 13-16,-13-13 0,13 13 0,-14 1 16,1-14 15,26-14 0,1 14-31,-14-13 0,13 13 16,-13-13-16,13 0 0,0-1 0,1 1 15,-1 0-15,0 0 0,0-14 0,0 14 16,1 0-16,-1-14 0,0 14 16,0 0-16,1 0 0,-1-1 0,0 14 15,-13-13-15,13 13 0,1-13 0,-1 13 16,-13-13-16,13 13 0,0 0 16,0 0-16,1 13 15,-1-13-15,0 0 0,0 13 0,1 0 16,-1-13-16,0 14 0,14-1 0,-14 0 15,0 0-15,0-13 0,-13 14 16,13-1-16,1-13 0,-14 13 0,13 0 16,0-13-16,-13 13 0,13-13 15,1 14 1,-28-1 15</inkml:trace>
  <inkml:trace contextRef="#ctx0" brushRef="#br0" timeOffset="151263.88">20241 11007 0,'-14'0'0,"-39"26"31,40 1-31,0-14 0,-13 13 16,-1-13-16,14 14 0,-14-1 0,1 1 16,13-14-16,-14 27 15,1-27-15,13 0 0,-1 0 0,14 1 16,-13-1-16,0-13 0,13 13 0,-13-13 15,13 13-15,-14-13 0,14 14 16,27-28 31,-14 1-47,0 0 16,1 0-16,-1-1 15,-13 1-15,13 0 0,0 0 16,14-14-16,-14 1 0,13 13 0,-12-14 15,12 1-15,1-1 0,-1 1 0,0 13 16,-12-14-16,12 14 0,-13 0 16,14-1-16,-14 1 0,14 0 0,-14 13 15,13-13-15,-13 0 0,1-1 0,-1 14 16,13 0-16,-12-13 0,-1 13 16,0 0-16,0 0 0,1 0 15,-1 0-15,0 0 0,0 0 0,0 0 16,1 13-16,-1-13 0,0 14 0,14-14 15,-14 13-15,0 0 0,0-13 16,1 13-16,-1 0 0,0 1 0,0-14 16,-13 13-16,13 0 0,1-13 0,-1 13 15,0 1-15,0-14 16,-13 13-16,14-13 0,-14 13 16,13-13-16,0 13 15,0-13 1,-13 13-1</inkml:trace>
  <inkml:trace contextRef="#ctx0" brushRef="#br0" timeOffset="154406.9">16457 7355 0,'27'0'0,"-14"-13"31,-40 13 32,14 0-48,0 0-15,0 0 16,-1 0-16,1 0 15,0-13-15,0 13 0,-1 0 0,1 0 16,-13 0-16,13 0 0,-14 0 0,1 0 16,-1 0-16,14 0 0,-27 0 15,1 0-15,-1 0 0,-13 0 0,0 0 16,0 0-16,0 0 0,0 0 0,0 0 16,0 0-16,1 13 0,-15-13 15,15 0-15,-1 13 0,0-13 0,0 14 16,0-14-16,0 0 0,0 13 0,13 0 15,1-13-15,-1 13 0,0-13 16,14 0-16,-14 14 0,0-1 16,14-13-16,-14 13 0,14-13 0,-1 13 15,-12-13-15,-1 13 0,14-13 0,-1 14 16,1-14-16,-1 13 0,1-13 16,12 13-16,-12-13 0,13 13 0,0-13 15,-1 0-15,1 0 0,0 14 0,0-14 16,-1 0-16,1 0 15,0 13-15,0-13 16,-1 0 0,1 13 15,26-13 63</inkml:trace>
  <inkml:trace contextRef="#ctx0" brushRef="#br0" timeOffset="155391.14">14658 7289 0,'0'-13'15,"0"26"-15,13-26 0,-26 39 63,0-12-63,-1-1 0,1 0 0,0 14 15,0-14-15,0 0 0,-1 0 0,1 14 16,-13-14-16,12 13 0,1-12 16,0-1-16,0 0 0,13 0 0,-14 1 15,1-1-15,13 0 0,-13 0 0,0 1 16,13-1 0,-13-13-16,13 13 0,-14 0 15,28 0 16,-1-13-15,0 0-16,0 0 0,0 0 16,14 0-16,-14 0 0,14 14 0,-1-14 15,1 0-15,-1 0 16,0 0-16,-12 13 0,12-13 0,1 0 0,-14 0 16,13 13-16,-12-13 0,12 0 0,-13 0 15,0 0-15,1 0 0,-1 0 16,0 13-16,0-13 15,1 0-15,-1 0 16,0 0 0,0 0 15,0 0 0,-13 14 0,0-1-15</inkml:trace>
  <inkml:trace contextRef="#ctx0" brushRef="#br1" timeOffset="168183.65">14340 6773 0,'27'0'16,"-14"0"-16,0 14 0,1-14 16,-14 13-16,13 0 15,0-13-15,0 13 0,-13 0 0,27 14 16,-14-27-16,-13 13 0,13 0 15,-13 1-15,0-1 0,13-13 16,-13 13-16,0 0 0,14-13 0,-14 14 16,13-1-16,0-13 15,0-13 1</inkml:trace>
  <inkml:trace contextRef="#ctx0" brushRef="#br1" timeOffset="168415.5">14698 6734 0,'0'-14'16,"-27"41"-1,27-14-15,-13 0 16,0 1-16,-1-1 0,1 13 16,0 1-16,-13 12 0,12-12 0,1-1 15,0-12-15,0 12 0,-1 0 0,1 1 16,0-14-16,0 0 0,-1 14 15,1-14-15,13 0 0,-13 14 0,13-14 16,-13 0-16,13 0 0,-13 1 0,13-1 16</inkml:trace>
  <inkml:trace contextRef="#ctx0" brushRef="#br1" timeOffset="168871.63">15042 6456 0,'-14'79'31,"1"-39"-31,13 0 16,-13-14-16,0 14 0,13-1 16,-14 1-16,1 0 0,13-14 0,-13 14 15,0 0-15,13-1 0,-14-12 0,1-14 16,13 13-16,-13 1 0,13-14 16,0 14-16,-13-14 0,13 0 15,-13 0-15,13 1 16,13-14-1</inkml:trace>
  <inkml:trace contextRef="#ctx0" brushRef="#br1" timeOffset="169442.71">15399 6998 0,'0'-13'31,"0"0"-16,13 0-15,-13-1 0,0 1 16,0 0-16,0 0 16,13-1-16,-13 1 0,0 0 15,0 0-15,13 13 0,-13-14 0,0 1 16,14 0 0,-1 26-1,-13 0-15,13-13 16,-13 14-16,0-1 0,13-13 15,-13 13-15,0 0 0,14-13 0,-14 14 16,13-14-16,-13 13 0,13-13 16,0 0-1,14 0-15,-14-13 16,0-1-16,0 1 16,-13 0-16,14 0 0,-1-1 0,-13 1 15,13-13-15,-13 13 0,0-14 16,13 1-16,-13 12 0,14-12 0,-14 13 15,0-14-15,0 14 0,0 0 0,0 0 16,0-1-16,0 1 16,0 0-16,13 0 15</inkml:trace>
  <inkml:trace contextRef="#ctx0" brushRef="#br1" timeOffset="172941.81">15346 11456 0,'13'-26'16,"0"26"-16,1-13 15,-1 13-15,0 0 0,-13-13 16,13-1-16,14 14 0,-14-13 0,0 13 15,0-13-15,1 13 0,12-13 0,-13-1 16,1 14-16,-1-13 0,0 13 16,0-13-16,0 13 0,1-13 15,-1 13-15,0-14 16</inkml:trace>
  <inkml:trace contextRef="#ctx0" brushRef="#br1" timeOffset="173606.63">15438 11536 0,'14'-27'63,"-1"27"-63,0 0 0,0-13 16,1 13-16,12-13 0,1 0 15,-14 13-15,0-14 0,0 14 16,0-13-16,1 13 0,-1-13 15,0 13-15,0 0 0,-13-13 0,14 13 16,-1 0-16,0-13 16,0 13-16,0 0 31,1-14-15,-1 14 30,0-13 158</inkml:trace>
  <inkml:trace contextRef="#ctx0" brushRef="#br1" timeOffset="174126.62">15571 11337 0,'13'-13'15,"0"13"-15,0-13 16,1 13-16,-1-13 0,0 13 15,0-14-15,1 14 0,-1-13 16,13 0-16,1 0 0,-14 13 16,0-13-16,0 13 0,1-14 0,-1 1 15,0 13-15,0-13 0,1 13 16,-1 0-16,0-13 0,0 13 0,-13-14 16,13 14-16,1-13 15,-1 13-15</inkml:trace>
  <inkml:trace contextRef="#ctx0" brushRef="#br1" timeOffset="174596.77">15624 11456 0,'39'-39'31,"-25"26"-31,-1-1 0,13 14 16,-13-13-16,14 0 0,-14 0 0,0-1 15,14 1-15,-14 0 16,14 0-16,-14 13 0,0-14 0,0 1 0,14 0 16,-14 0-16,0 13 0,0-13 15,1 13-15,-14-14 0,13 14 0,0-13 16,0 0-16,1 13 16,-1-13-16,0 13 31,-13-14-31,13 14 15,-26 14 64,0-1-64</inkml:trace>
  <inkml:trace contextRef="#ctx0" brushRef="#br1" timeOffset="184431.78">12885 9274 0,'53'66'16,"-40"-40"0,14 1-16,-1 12 0,1-12 0,-1 13 15,14-1-15,0 1 0,-1-14 0,1 14 16,13-13-16,-13-1 0,26-13 15,-13 14-15,0-14 0,13 0 16,13 0-16,0-13 0,1 0 0,-1 0 0,1 0 16,12-13-16,1 0 0,-1 0 15,14-14-15,-13 14 0,-1 0 16,1-14-16,-14 14 0,1-13 0,-1 12 16,0 1-16,-12 0 0,-1 0 0,0-1 15,-26 1-15,13 0 0,-27 13 16,0-13-16,-12 13 0,12 0 0,-13-13 15,1 13-15,-1 0 0,0 0 0,-13-14 16,13 14-16,1 0 16,-1-13-16</inkml:trace>
  <inkml:trace contextRef="#ctx0" brushRef="#br1" timeOffset="184746.28">15121 9300 0,'26'-13'15,"-12"13"-15,-1 13 0,13-13 16,-12 0-16,12 13 0,0-13 0,1 0 16,-1 14-16,1-1 0,-14-13 15,14 13-15,-14 0 0,0 0 0,0 1 16,0-1-16,-13 13 0,14-12 16,-14 12-16,-27 27 0,1-27 15,-1 14-15,-12 0 0,-1 0 0,0-14 16,1 14-16,-1-14 0,0 14 15,0-14-15</inkml:trace>
  <inkml:trace contextRef="#ctx0" brushRef="#br1" timeOffset="187943.97">18944 11919 0,'0'40'0,"0"-80"0,0 120 15,13-54-15,-13 14 0,0 13 0,0 0 16,0 13-16,14 0 0,-14-13 0,0 0 15,0 0-15,-14 0 0,14 0 16,0-14-16,0 14 0,0-13 0,0-14 16,-13 14-16,13-13 0,0-14 0,-13 0 15,13 14-15,0-14 0,0 0 16,-13-13-16</inkml:trace>
  <inkml:trace contextRef="#ctx0" brushRef="#br1" timeOffset="190019.89">18984 11893 0,'66'-13'16,"-53"13"-16,14-13 16,-1 13-16,1-14 0,-1 14 0,27 0 15,-13-13-15,52 0 16,-39 13-16,66-13 15,-39 13-15,-27-14 0,13 14 0,-13 0 16,0-13-16,224-13 16,-197 26-16,-1-13 15,-13 13-15,0-14 0,14 14 0,-14-13 0,0 13 16,0-13-16,0 0 0,14 13 16,-14-14-16,0 1 0,0 0 15,0 0-15,0-1 0,14 1 0,-14 0 16,0 0-16,-13-14 0,13 14 0,0 0 15,0 0-15,1-1 0,-14 14 16,-14-13-16,14 0 0,0 0 0,-13 13 16,13-14-16,-14 1 0,14 13 0,-13-13 15,0 13-15,52-13 16,1 0-16,-1 13 16,-39-14-16,-13 14 0,0 0 15,-14 0-15,27-13 0,-13 13 16,-1 0-16,1 0 0,0 0 0,0 0 15,-1 0-15,1 0 0,-14 0 0,14 0 16,-13 0-16,-1 0 0,0 0 16,1 0-16,-1 0 0,1 0 0,-14 0 15,0 0-15,1 0 0,-1 0 0,0 0 16,0 0-16,0 0 0,1 0 16,-1 0-16,0 0 15,0 0-15,1 0 31,-1 0 1,-13 13-17,0 1-15,0-1 16,0 0-16,0 0 0,0 0 16,0 14-16,0-1 0,0-12 0,0 12 15,0 1-15,0-1 0,0 0 16,0 1-16,0-14 0,0 14 0,0-1 15,0 1-15,0-1 0,0-13 0,0 14 16,0-14-16,0 13 0,0 1 16,0-14-16,0 13 0,0-12 15,0 12-15,0-13 0,0 14 0,0-14 16,0 0-16,0 1 0,0-1 0,0 0 16,0 0-16,0 0 0,0 1 15,0-1-15,0 0 16,0 0-1,0 1-15,0-1 16,0 0 31,-13 0-31,-1-13-16,1 14 31,0-14-31,0 0 0,13 13 15,-14-13-15,1 0 0,0 0 0,0 13 16,-14-13-16,14 0 0,-13 13 16,-1-13-16,1 0 0,-1 13 0,1-13 15,-1 14-15,1-14 0,-1 13 0,1-13 16,-1 13-16,1-13 0,0 13 16,-1-13-16,1 14 0,-1-14 0,1 13 15,-1-13-15,-12 13 0,12-13 0,1 13 16,-1-13-16,14 0 0,-14 13 0,1-13 15,13 0-15,-14 14 0,1-14 16,13 0-16,-14 13 0,1-13 16,13 0-16,-14 13 0,14-13 0,-14 0 15,1 13-15,13-13 0,-14 0 16,1 14-16,13-14 0,-14 0 0,14 13 16,-14-13-16,-12 0 0,12 13 0,1-13 15,-1 0-15,1 13 0,-1-13 16,1 0-16,0 14 0,-1-14 0,1 0 15,-1 13-15,14-13 0,-14 0 0,1 13 16,13-13-16,-14 13 0,1-13 16,-1 0-16,1 13 0,13-13 0,-14 0 15,14 0-15,-13 0 0,12 14 16,1-14-16,-13 0 0,12 0 0,1 0 16,-13 0-16,12 0 0,1 0 15,-13 0-15,13 0 0,-14 13 0,14-13 16,-14 0-16,14 0 0,-13 0 0,-1 0 15,14 13-15,-13-13 0,-1 0 16,14 0-16,-14 0 0,1 13 0,0-13 16,-1 0-16,14 0 0,-27 0 0,27 0 15,-14 14-15,1-14 0,0 0 16,12 0-16,-12 0 0,-1 0 0,1 13 16,-1-13-16,14 0 0,-13 0 0,-14 0 15,14 0-15,-1 13 16,1-13-16,-14 0 0,14 0 0,-14 0 15,13 0-15,1 13 0,-14-13 0,14 0 16,-1 0-16,-12 0 0,12 0 0,1 0 16,-1 0-16,14 0 0,-13 0 15,-1 0-15,1 0 0,-1 0 0,1 0 16,13 14-16,-14-14 0,1 0 0,-14 0 16,13 0-16,1 13 0,0-13 15,-1 0-15,1 0 0,-1 0 16,1 0-16,13 13 0,-14-13 0,1 0 0,-1 0 15,1 0-15,-1 0 0,14 0 16,-13 0-16,12 0 0,1 0 16,-13 0-16,12 0 0,-12 0 0,13 0 15,-1 0-15,-12 0 0,13 0 0,0 0 16,-1 0-16,1 0 0,0 0 16,0 0-16,-14 0 0,14 0 0,0 13 15,0-13-15,-1 0 0,1 0 0,0 0 16,0 0-16,-1 0 0,1 0 15,0 0-15,0 13 0,-1-13 0,1 0 16,0 0-16,0 0 0,0 0 16,-14 14-16,14-14 0,0 0 0,-1 0 0,1 13 15,0-13-15,-14 0 16,14 0-16,0 13 0,0-13 0,0 0 16,-1 13-16,1-13 0,0 0 0,0 0 15,-1 14-15,-12-14 0,13 0 16,-1 13-16,1-13 0,0 0 15,0 0-15,0 0 0,-1 13 16,1-13-16,0 0 16,0 13-1,-1-13-15,1 0 16,0 0 15,0 0-15,39-13 15</inkml:trace>
  <inkml:trace contextRef="#ctx0" brushRef="#br1" timeOffset="191759.81">20757 13044 0,'13'0'0,"-13"13"47,0 0-47,13 1 0,-13 12 0,0-13 15,0 14-15,0-14 0,0 13 0,0 1 16,13-1-16,-13 1 0,0-1 16,0 1-16,0-1 0,0 1 0,0-1 15,13-13-15,-13 14 0,0-14 0,0 0 16,0 14-16,0-14 0,0 0 15,0 0-15</inkml:trace>
  <inkml:trace contextRef="#ctx0" brushRef="#br1" timeOffset="192151.72">20836 13097 0,'-13'26'0,"-1"-26"15,-25 53 1,26-40-16,13 1 15,-14-1-15,1 0 0,0 14 0,0-14 0,-1 0 16,1 0-16,0 1 16,0-1-16,13 0 0</inkml:trace>
  <inkml:trace contextRef="#ctx0" brushRef="#br1" timeOffset="192423.98">20730 13150 0,'27'0'0,"-14"13"15,0 0-15,0-13 16,27 40-1,-27-27-15,0-13 0,-13 13 16,14-13-16,-1 14 0,-13-1 16,13-13-16,-13 13 0,13-13 0,-13 13 15,14-13-15,-14 14 0</inkml:trace>
  <inkml:trace contextRef="#ctx0" brushRef="#br1" timeOffset="197652.2">6668 8586 0,'0'39'31,"13"-25"-31,-13 12 0,0 14 0,0 13 16,13 13-16,-13-13 0,13 13 0,-13-13 16,0 13-16,13-13 0,-13-13 15,0 13-15,0-1 0,0-12 0,14 0 16,-14-1-16,0 1 0,0-13 15,13-14-15,-13 13 0,0-12 0,0-1 16,0 0-16,0 0 0</inkml:trace>
  <inkml:trace contextRef="#ctx0" brushRef="#br1" timeOffset="199516.8">6694 8625 0,'53'0'32,"-40"0"-32,0 0 0,14 0 0,-14 0 15,13 0-15,1 0 0,-1 0 0,1 0 16,26-13-16,0 13 0,0 0 16,0 0-16,13-13 0,0 13 0,13-13 15,-13 13-15,14 0 0,-14-14 0,26 1 16,-12 13-16,-1-13 0,1 13 15,78-13-15,1 0 16,-66 13-16,-14-14 0,0 14 16,1-13-16,-1 13 0,1-13 15,-14 13-15,13-13 0,0 13 0,-12-14 16,12 14-16,0-13 0,-12 13 0,12-13 16,-13 13-16,0-13 0,0 13 15,14-13-15,-14 13 0,0-14 0,53 1 16,-13 0-16,-40 13 15,-26 0-15,13 0 16,0-13-16,-14 13 0,14 0 0,-13-14 16,13 14-16,-27 0 0,14 0 0,0 0 0,-1 0 15,1-13-15,-14 13 16,14 0-16,-13 0 0,12 0 0,-12-13 16,-1 13-16,1 0 0,-14 0 0,13 0 15,1 0-15,-1-13 0,-13 13 16,14 0-16,-14 0 0,0 0 0,14 0 15,-14-14-15,0 14 0,1 0 0,-1 0 16,0 0-16,13 0 0,-12 0 16,-1-13-16,0 13 0,0 0 0,14 0 15,-14 0-15,0 0 0,0 0 16,14-13-16,-14 13 0,14 0 16,-1 0-16,-13 0 0,1 0 15,12 0-15,-13 0 0,0 0 0,1 0 16,12 0-16,-13 0 15,1 0-15,-1 0 0,0-13 16,0 13-16,1 0 16,-1 0-16,0 0 15,0 0 17,0 0-1,1 0 0,-1 0 0,0 0-15,0 0 0,1 0-1,-1 0 1,0 0-1,0 0-15,1 0 16,-1 0-16,13 0 16,1 0-1,-14 0 1,0 0-16,0 0 16,1 0-1,-1 0 1,0 0 15,-13 13-15,0 0-1,0 0 1,0 1-16,0-1 16,0 0-16,0 0 0,0 1 15,0-1-15,0 0 0,13 0 16,-13 1-16,0-1 0,0 0 0,0 0 15,0 0-15,0 1 0,0-1 0,0 0 16,0 0-16,0 1 0,0-1 0,0 0 16,-13 0-16,13 0 0,0 1 15,0-1-15,0 0 0,0 0 0,0 1 16,-13-1-16,13 0 0,0 0 0,0 1 16,0-1-16,0 0 0,0 0 15,-13 0-15,13 1 0,0-1 0,0 0 16,0 0-16,0 1 0,0-1 0,0 0 15,0 0-15,0 1 16,13-1-16,-13 0 0,0 0 16,0 0-16,0 1 15,0-1-15,13-13 16,-13 13-16,0 0 16,0 1-1,0-1 1,0 0-1,-13-13-15,0 0 16,13 13-16,-14-13 16,1 0-16,0 0 0,0 14 0,-1-14 15,-12 0-15,0 13 0,-14-13 16,-13 13-16,13-13 0,-13 13 0,-13-13 16,-13 13-16,-1 1 0,1-14 15,-14 13-15,1 0 0,-1 0 0,-39-13 16,13 14-16,0-1 0,0 0 0,-14 0 15,14 1-15,0-1 0,0 0 16,0 0-16,0 0 0,0 1 0,26-1 16,1 0-16,-14 0 0,-13 1 0,0 12 15,13-13-15,-13 0 0,26 1 16,1-1-16,-14 13 0,-13-12 16,40-1-16,-14 13 0,14-12 0,12-1 15,-12 0-15,26 0 0,0 0 0,14 1 0,-14-14 16,26 13-16,1-13 15,-1 13-15,14-13 0,0 0 0</inkml:trace>
  <inkml:trace contextRef="#ctx0" brushRef="#br1" timeOffset="200316.69">12316 8414 0,'-13'53'15,"13"-40"-15,0 13 16,0 1-16,0 26 0,0-14 0,0 14 15,0-13-15,0 13 0,0 0 0,0-13 16,-13-1-16,26 14 0,-13-26 16,0-1-16,0 1 0,0-1 0,0 0 15,0-12-15,0-1 0,0 0 16,0 0-16</inkml:trace>
  <inkml:trace contextRef="#ctx0" brushRef="#br1" timeOffset="201606.36">12382 8361 0,'318'-13'16,"-239"-1"0,1 14-16,-1 0 0,14 0 0,-14-13 15,14 13-15,-1 0 0,-12 0 0,12 0 16,14 0-16,-13 0 0,-1 0 16,1 0-16,0 0 0,-1 0 0,-12 0 15,12 0-15,1 0 0,-14 0 0,14 0 16,-14 0-16,0 0 0,-12 0 15,-1 0-15,0 0 0,-13 0 0,0-13 16,0 13-16,0 0 0,-14 0 16,14-13-16,-13 13 0,-14 0 15,1 0-15,-1-14 0,1 14 0,-14 0 16,13 0-16,-12-13 0,12 13 0,-13 0 16,1 0-16,-1-13 0,13 13 15,-13 0-15,1 0 0,-1 0 16,0 0-16,0-13 0,1 13 0,-1 0 0,0 0 15,0 0-15,1 0 16,-1 0-16,0 0 0,0 0 16,0 0-16,1 0 0,-14-13 15,13 13-15,0 0 16,0 0-16,1 0 0,-1 0 0,0 0 16,0 0-16,0 0 0,1-14 0,-1 14 15,0 0-15,14 0 16,-14 0-1,0 0 1,0-13 0,-13 26-1,14 1-15,-14-1 16,0 0-16,0 0 16,0 14-16,-14-14 0,14 13 15,0-12-15,0 12 0,0-13 0,0 14 16,0-1-16,0 1 0,14-1 0,-14-13 15,0 14-15,0-14 0,0 13 16,0-12-16,0 12 0,0-13 0,0 1 16,13-1-16,-13 0 0,0 0 0,0 1 15,0-1-15,0 0 16,0 0-16,0 0 16,0 1-1,-13-1 1,-1-13-16,1 0 15,-13 13-15,12-13 0,1 0 16,-13 0-16,12 0 16,-12 13-16,-14-13 0,14 0 0,-1 0 0,-12 0 15,-1 14-15,-13-14 0,0 0 16,14 0-16,-28 0 0,14 13 16,1-13-16,-1 0 0,0 0 15,-13 13-15,-1-13 0,1 0 0,-13 13 0,13-13 16,0 14-16,-14-14 0,14 0 15,13 13-15,-26-13 0,13 13 0,-14-13 16,14 13-16,-13-13 0,13 13 0,-1-13 16,15 0-16,-1 14 0,-14-14 0,1 13 15,13-13-15,-13 13 0,13-13 16,-13 0-16,13 13 0,0-13 16,0 0-16,1 14 0,-1-14 0,0 0 15,0 13-15,0-13 0,0 0 16,13 13-16,-13-13 0,14 0 0,-1 13 15,14-13-15,-14 0 0,13 0 0,1 14 16,-1-14-16,1 0 0,13 0 16,-14 0-16,14 0 0,-13 13 0,12-13 15,1 0-15,-13 0 0,12 0 0,1 13 16,0-13-16,0 0 0,-14 0 16,14 0-16,0 13 0,0-13 0,-1 0 15,1 0-15,-13 0 16,12 0-1,1 0-15,0 0 16,13 13 0,-13-13-16,0 0 31</inkml:trace>
  <inkml:trace contextRef="#ctx0" brushRef="#br1" timeOffset="202914.05">4035 12726 0,'79'0'0,"-52"0"0,-1 0 0,27-13 16,26 13-16,-12 0 16,25-13-16,-12 13 0,12-13 0,1 13 15,105-13-15,-26-1 16,-79 14-16,-14-13 0,-13 13 15,1 0-15,-15 0 0,-12 0 0,0 0 16,-14-13-16,1 13 0,-14 0 0,0 0 16,0 0-16,1 0 0</inkml:trace>
  <inkml:trace contextRef="#ctx0" brushRef="#br1" timeOffset="203270.76">3836 12938 0,'-13'13'16,"26"-26"-16,1 26 16,25-13-16,14-13 0,13 13 15,1-13-15,25 0 0,-12-1 0,12 1 16,14 0-16,-13 13 0,-1-13 0,1 0 15,13-1-15,-27 14 0,14-13 16,-14 13-16,0-13 0,-26 13 16,0 0-16,0 0 0,-13 0 0,-14 0 15,1-13-15,-1 13 0,1 0 16,-14 0-16,13 0 0,-12 0 0,-1 0 16,0 0-16,0 0 0,0 0 15,1 0 1,-1 0-1,0-14 1,0 1-16,1 13 16</inkml:trace>
  <inkml:trace contextRef="#ctx0" brushRef="#br1" timeOffset="204071.53">14605 10755 0,'13'80'31,"-26"-27"-31,13-14 0,0 27 15,-13-13-15,13 0 0,-13 13 0,13-26 16,-14 13-16,14-13 0,0-1 0,-13 1 16,13 0-16,0-1 0,0-12 15,-13-14-15,13 0 0,0 14 0,13-14 16,-13 0-16</inkml:trace>
  <inkml:trace contextRef="#ctx0" brushRef="#br1" timeOffset="204582.62">14618 10702 0,'80'-13'0,"-160"26"0,213-26 16,-67 13-16,13-13 0,0 13 15,14 0-15,0 0 0,-1 0 0,1 0 16,-1 0-16,1 0 0,0 0 0,-14 0 16,0 0-16,1 13 0,-1-13 15,-26 0-15,0 13 0,0-13 16,-13 14-16,-1-14 0,-12 0 0,-1 13 16,1-13-16,-14 13 0,13-13 15,-12 13-15,-1-13 0,0 14 0,0-1 16,0 0-16,-13 13 0,14-12 0,-14 12 15,0 1-15,0-1 0,13 1 16,-13-1-16,0 0 0,0 1 0,0-1 16,0 14-16,0-14 0,0 1 0,0-1 15,0 14-15,0-13 0,0-1 16,0 0-16,0-12 0,0 12 0,0 1 16,0-14-16,0 13 0,0-12 0,0-1 15,0 0-15,0 0 0,-13 0 0,13 1 16,-14-1-16,1 0 15,0 0-15,-13 1 0,-14-1 0,13 0 16,-26-13-16,1 13 0,-15 1 0,1-14 16,0 13-16,0-13 0,13 0 15,-13 0-15,-13 0 0,12-13 0,1 13 16,13 0-16,-13-14 0,13 14 0,0 0 16,0-13-16,14 13 0,-14 0 15</inkml:trace>
  <inkml:trace contextRef="#ctx0" brushRef="#br1" timeOffset="205291.62">13798 11827 0,'0'-13'31,"-13"39"-15,13-13-16,-13 1 0,13 12 15,0-13-15,0 0 0,0 14 0,0-14 16,0 14-16,-14-14 0,14 0 15,0 0-15,0 14 0,0-14 0,0 0 16,0 0-16,14 1 0,-1-1 16,13 0-1,-13-13-15,14-13 0,-1 0 0,14-1 16,13 1-16,-13-13 0,13-1 0,0 1 16,-1-1-16,15 1 0,-14-1 15,-1-12-15,1 12 0,0 1 0,0-1 16,-13 1-16,0 13 0,-1-14 0,-12 14 15,-1 13-15,-13-13 0,1 0 16,-1 13-16,0-14 0,0 14 0,1 0 16,-1 0-16</inkml:trace>
  <inkml:trace contextRef="#ctx0" brushRef="#br1" timeOffset="206878.98">6681 12700 0,'26'0'31,"-13"0"-31,14 0 0,-1 0 16,27-13-16,0 13 0,13 0 0,0 0 15,14-13-15,-1 13 0,1 0 16,-1 0-16,0-14 0,14 14 16,0 0-16,-14-13 0,14 13 0,-1-13 15,1 13-15,-14 0 0,14-13 16,-14 13-16,14 0 0,-14 0 0,0 0 16,-26-14-16,13 14 0,-26 0 0,0 0 15,-14 0-15,1 14 0,-1-14 16,-13 0-16,1 0 0,-14 13 15,-14-13 1</inkml:trace>
  <inkml:trace contextRef="#ctx0" brushRef="#br1" timeOffset="207218.03">6945 12938 0,'-26'0'0,"66"13"31,-14-13-31,27 0 0,0 0 0,13 0 16,13-13-16,1 13 0,-1 0 0,14-13 16,-1 0-16,1 13 0,13-14 15,-14 14-15,1-13 0,-14 13 0,14-13 16,-14 13-16,1-13 0,-1 13 0,-13 0 15,-13-13-15,0 13 0,0 0 16,-27-14-16,14 14 0,-27 0 0,14 0 16,-1 0-16,-13 0 0,1 0 15,-1 0-15,0-13 0,0 13 16,1 0-16,-1 0 0,0-13 16,0 0-16,1 13 0,-1-14 15,0 1-15,0 13 0</inkml:trace>
  <inkml:trace contextRef="#ctx0" brushRef="#br1" timeOffset="208446.69">9446 12568 0,'13'0'16,"0"-14"-1,0 14-15,-13-13 0,14 13 0,-1-13 16,0 13-16,0-13 16,0 0-16,1-1 0,-1 14 15,0-13-15,0 13 0,1-13 16,-1 0-16,0-1 0,0 1 15,1 0-15,-1 0 0,0-1 16,-13 1-16,13 13 0,0-13 16,-13 0-16,14 0 0,-14-1 0,0 1 15,13 0-15,-13 0 0,0-1 0,0 1 16,0 0-16,-13 0 16,13 0-16,-14-1 0,14 1 0,-13 0 15,0 0-15,0 13 0,0-14 0,-1 1 16,1 0-16,-13 0 0,12-1 15,1 1-15,-13 0 0,12 0 0,-12 0 16,0-14-16,-1 14 0,14 0 0,-14-1 16,1-12-16,-1 13 0,1-1 15,0 1-15,-1 0 0,1 0 16,-14 0-16,14-1 0,-1 1 0,-13-13 16,14 12-16,-14 1 0,14 0 15,-14 13-15,0-13 0,14 0 0,-14-1 16,1 1-16,-1 0 0,-13 13 0,26-13 15,-12 13-15,-1-14 0,0 14 16,14-13-16,-1 13 0,1-13 0,-14 13 16,-13-13-16,27 13 15,0-14-15,-14 14 0,13 0 0,-26 0 16,14-13-16,-14 13 0,13 0 16,0 0-16,1 0 0,-1 0 0,14 0 0,-14 0 15,0 0-15,1 0 0,-1 0 16,13 13-16,-12-13 0,12 0 15,-12 14-15,-1-14 0,0 13 0,14-13 16,-1 13-16,1-13 0,-14 13 16,14-13-16,-1 14 0,1-1 0,-14-13 15,14 13-15,-1 0 0,-13-13 16,27 14-16,-13-1 0,-1-13 0,1 13 16,-1 0-16,1-13 0,0 13 0,-1 1 15,14-14-15,-14 13 0,1 0 0,-1-13 16,14 13-16,-13 1 0,-1-14 15,14 13-15,-13 0 0,-1-13 0,14 13 16,-14 0-16,14-13 0,-13 14 16,13-1-16,-1-13 0,-12 13 15,13-13-15,-1 13 0,-12-13 0,13 14 16,0-1-16,-14-13 0,14 13 0,0 0 16,-1-13-16,1 14 0,-13-1 15,12 0-15,1 0 0,0 0 0,-13-13 16,12 14-16,1 12 0,0-13 15,0 1-15,-1-1 0,1 13 0,0-12 16,13-1-16,-13 13 0,-1 1 0,1-14 16,13 13-16,-13-12 0,13 12 0,-13 0 15,13-12-15,0 12 16,-13 1-16,13-14 0,0 13 0,0 1 16,0-1-16,13 1 0,-13-1 0,13 14 15,0-14-15,14 14 0,-14-14 16,13 1-16,14 13 0,13-14 0,-13 1 15,26-14-15,-13 13 0,26-13 0,0 1 16,14-14-16,13 13 0,13-13 16,-13 13-16,26-13 0,0 0 0,14 0 15,-53-13-15,12 13 0,1 0 0,-13-13 16,13 13-16,-14-14 0,1 14 16,-14-13-16</inkml:trace>
  <inkml:trace contextRef="#ctx0" brushRef="#br1" timeOffset="209409.72">9472 12515 0,'0'0'0,"13"0"0,-39 0 32,-1 0-32,1 13 15,-14 0-15,1 0 0,-28 14 16,15-14-16,-28 14 0,14-1 0,-13 1 15,-27 12-15,13 1 0,14-14 0,-1 1 16,1-1-16,13 1 0,-13-1 16,-1 1-16,14-14 0,0 13 0,13-12 15</inkml:trace>
</inkml:ink>
</file>

<file path=ppt/ink/ink1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0:25.004"/>
    </inkml:context>
    <inkml:brush xml:id="br0">
      <inkml:brushProperty name="width" value="0.05292" units="cm"/>
      <inkml:brushProperty name="height" value="0.05292" units="cm"/>
      <inkml:brushProperty name="color" value="#FF0000"/>
    </inkml:brush>
  </inkml:definitions>
  <inkml:trace contextRef="#ctx0" brushRef="#br0">794 1468 0,'79'-13'0,"-39"13"0,-1 0 15,14-13-15,14 13 0,12-13 0,0 13 16,-13-13-16,14-1 0,-1 14 0,-13-13 16,1 0-16,12 0 0,-13 13 15,-13-14-15,0 1 0,0 13 0,0-13 16,-27 13-16</inkml:trace>
  <inkml:trace contextRef="#ctx0" brushRef="#br0" timeOffset="191.4">1296 1614 0,'278'-66'31,"-238"66"-31,13-13 0,0 13 0</inkml:trace>
  <inkml:trace contextRef="#ctx0" brushRef="#br0" timeOffset="6080.32">3003 6257 0,'-13'27'31,"13"-14"-31,-13 0 0,13 14 0,0-14 16,-14 0-16,14 14 0,-13-14 0,13 13 15,-13-12-15,13 12 0,-13-13 16,13 1-16,-14 12 0,14-13 0,0 0 16,-13 1-16,13-1 0,0 0 15,0 0-15,13 1 16</inkml:trace>
  <inkml:trace contextRef="#ctx0" brushRef="#br0" timeOffset="6546">3347 6509 0,'-13'0'16,"13"13"-16,-13-13 0,13 13 16,0 0-16,-14-13 0,14 14 0,-13-1 15,13 0-15,-13 0 0,0 1 16,-1-1-16,1 0 0,0 0 15,-14 14-15,27-14 0,-13-13 0,0 13 16,0 0-16</inkml:trace>
  <inkml:trace contextRef="#ctx0" brushRef="#br0" timeOffset="6861.78">3744 6284 0,'0'0'0,"0"26"16,-13-26-16,13 14 0,0-1 16,-14 13-16,14-13 0,0 1 15,-13 12-15,13-13 0,-13 14 0,0-14 16,13 0-16,-14 14 0,14-14 0,-13 13 16,0-12-16,13-1 0,0 0 15,-13 0-15</inkml:trace>
  <inkml:trace contextRef="#ctx0" brushRef="#br0" timeOffset="7116.35">3850 6548 0,'13'14'32,"-13"-1"-32,0 0 0,-13 0 15,13 1-15,-14-1 0,14 0 0,-13 14 16,0-14-16,0 0 16,13 0-16,-13 0 0,-1 1 0,14-1 15,-13 0-15,13 0 0,-13-13 0</inkml:trace>
  <inkml:trace contextRef="#ctx0" brushRef="#br0" timeOffset="7496.08">4299 6363 0,'-13'80'15,"13"-67"1,0 0-16,0 0 0,-13 1 0,13-1 16,0 0-16,-13 13 15,13-12-15,0-1 0,0 0 0</inkml:trace>
  <inkml:trace contextRef="#ctx0" brushRef="#br0" timeOffset="7723.04">4458 6601 0,'0'67'16,"-13"-54"-1,13 0-15,-13 0 0,0 14 0,-1-14 16,-12 13-16,26-12 0,-13-1 16,-1 0-16,14 0 0</inkml:trace>
  <inkml:trace contextRef="#ctx0" brushRef="#br0" timeOffset="8199.1">4948 6363 0,'0'0'0,"13"27"31,-13-14-31,0 0 0,0 0 0,-13 1 16,13 12-16,0-13 0,-14 14 0,14-14 15,0 13-15,0-12 0,-13 12 16</inkml:trace>
  <inkml:trace contextRef="#ctx0" brushRef="#br0" timeOffset="8445.27">5173 6615 0,'13'26'31,"-26"-13"-16,13 1-15,-14-1 0,1 0 0,0 0 16,13 0-16,-13 1 0,-1-1 16,14 0-16,-13 0 0,0-13 0,13 14 15,-13-14-15,13 13 0</inkml:trace>
  <inkml:trace contextRef="#ctx0" brushRef="#br0" timeOffset="8899.92">5596 6324 0,'0'13'0,"0"0"16,0 0-16,0 0 0,0 1 0,0 12 15,-13-13-15,13 1 0,-14 12 0,14-13 16,0 14-16,-13-14 0,13 0 15,0 0-15,0 14 0,-13-14 0</inkml:trace>
  <inkml:trace contextRef="#ctx0" brushRef="#br0" timeOffset="9516.94">6112 6509 0,'0'26'16,"-40"54"15,27-54-31,-14 1 0,1-1 0,-14 0 16,27 1-16,0-14 0,-14 14 15,14-14-15</inkml:trace>
  <inkml:trace contextRef="#ctx0" brushRef="#br0" timeOffset="10069.91">6813 6310 0,'0'-13'0,"0"26"0,-13 1 31,13-1-31,0 0 16,0 13-16,0-12 0,-13-1 0,13 13 15,0-12-15,-14-1 0,14 13 0,0-12 16,-13-1-16,13 0 0,0 0 16,0 0-16,0 1 0,0-1 15,0 0-15</inkml:trace>
  <inkml:trace contextRef="#ctx0" brushRef="#br0" timeOffset="10544.34">7051 6324 0,'27'13'31,"-27"0"-31,0 0 0,0 0 15,-14-13-15,14 14 0,0-1 0,-13 0 16,13 0-16,0 1 16,0-1-16,13 0 15,-13 0-15,14-13 16,-14 14-16,13-14 0,-13 13 0,13 0 16,-13 0-1,-13 0 1,0-13-16,13 14 0,-14-14 0,1 13 15,0-13-15,0 13 0,-1-13 16,1 0-16,13 13 0</inkml:trace>
  <inkml:trace contextRef="#ctx0" brushRef="#br0" timeOffset="10729.99">7289 6496 0,'0'0'0,"13"26"16,-26-13 0,13 0-16,-13 1 0,13-1 15,-13 0-15,0 0 0,13 1 0,-14-1 16,1 0-16,13 0 0,-13 1 0,13-1 16,-13-13-16</inkml:trace>
  <inkml:trace contextRef="#ctx0" brushRef="#br0" timeOffset="11008.37">7646 6257 0,'0'40'31,"0"-27"-15,0 1-16,0-1 0,0 13 0,0-13 15,-13 1-15,13 12 0,0-13 0,-13 14 16,13-14-16,0 0 0,0 1 16,-13-1-16,13 0 0,0 0 0,0 0 15,0 1-15,-13-1 16,26-13-16</inkml:trace>
  <inkml:trace contextRef="#ctx0" brushRef="#br0" timeOffset="11805.95">7871 6284 0,'27'0'16,"-14"0"-16,0 0 0,1 13 15,-14 0-15,0 1 16,-14-1-1,1 0-15,13 0 0,-13 0 16,13 1 0,13-1-1,0-13-15,1 13 16,-1 0 0,-13 1-16,13-1 15,-26 0 1,13 0-16,-13 1 0,-1-14 0,14 13 15,-13-13-15,0 13 0,0-13 16,13 13-16,-14-13 0,1 0 16,0 13-16</inkml:trace>
  <inkml:trace contextRef="#ctx0" brushRef="#br0" timeOffset="12000.38">8176 6456 0,'0'0'0,"0"13"0,13-13 16,-13 13-16,0 1 15,0-1-15,-13 0 0,13 0 16,-14 0-16,1 1 0,-13 25 16,12-25-16,1-1 0,0 13 15,0-12-15,-14-1 0,14 0 0,13 0 16,-13 0-16</inkml:trace>
  <inkml:trace contextRef="#ctx0" brushRef="#br0" timeOffset="12880.34">8533 6297 0,'0'0'16,"13"-13"-16,-26 53 31,13-27-31,0 0 16,0 13-16,0-12 0,-13-1 0,13 13 16,0-12-16,0-1 0,-14 0 15,14 0-15,0 1 0,0-1 0,0 0 16,0 0-16</inkml:trace>
  <inkml:trace contextRef="#ctx0" brushRef="#br0" timeOffset="13484.57">8837 6310 0,'13'0'16,"-26"0"-16,40 0 0,-14 0 16,-13 14-16,13-14 0,-13 13 15,0 0-15,-13 0 16,13 0-16,-13 1 16,13-1-16,0 0 15,0 0-15,13 1 16,-13-1-1,0 0-15,13-13 0,-13 13 16,0 1 0,0-1-1,-13 0-15,0-13 16,-1 13-16,1 0 0,0-13 16,0 0-1</inkml:trace>
  <inkml:trace contextRef="#ctx0" brushRef="#br0" timeOffset="13657.15">9036 6496 0,'0'0'0,"13"13"0,-26 40 16,13-40-1,-14 0-15,1 0 0,13 1 16,-13-1-16,13 0 0,-13 0 15,13 1-15,0-1 0,-14-13 16</inkml:trace>
  <inkml:trace contextRef="#ctx0" brushRef="#br0" timeOffset="13967.42">9485 6297 0,'0'40'31,"0"-27"-31,0 13 0,-13-12 0,13 12 16,0-13-16,0 1 0,0-1 16,0 0-16,-13 0 0,13 1 15,0-1-15,0 0 0,0 0 16,0 0 0</inkml:trace>
  <inkml:trace contextRef="#ctx0" brushRef="#br0" timeOffset="14412.41">9684 6310 0,'13'0'0,"-26"0"0,39 0 15,-26 14-15,0-1 16,0 0-1,-13-13-15,13 13 0,0 0 16,-13 1-16,13-1 16,13 0-1,-13 0-15,0 1 16,13-1 0,-13 0-16,-13 0 15,0 1 1,0-1-1,-1 0 1</inkml:trace>
  <inkml:trace contextRef="#ctx0" brushRef="#br0" timeOffset="14589.29">9922 6522 0,'0'0'0,"0"13"0,0 0 16,0 1-16,-13-1 16,-1 0-16,1 0 0,0 1 15,0-1-15,13 0 0,-14 0 0,1 1 16,13-1-16</inkml:trace>
  <inkml:trace contextRef="#ctx0" brushRef="#br0" timeOffset="15024.43">10478 6271 0,'0'26'15,"0"-13"1,0 1-16,0 12 0,0-13 0,-14 0 16,14 1-16,0-1 0,0 0 15,0 0-15,0 1 0,0-1 0,-13 0 16,13 0-16,13 1 15</inkml:trace>
  <inkml:trace contextRef="#ctx0" brushRef="#br0" timeOffset="15600.12">10795 6257 0,'13'14'0,"-13"-1"16,-13 0-16,0 0 15,13 1-15,-13-14 0,13 13 16,-14 0-16,1 0 0,13 0 16,0 1-16,0-1 15,0 0 1,13-13-16,-13 13 0,0 1 0,0-1 15,0 0-15,0 0 16,-13 1-16,13-1 0,-13-13 16,0 13-16,-1 0 0,1-13 15,13 13-15,-13-13 0,0 14 16,-1-14-16,1 0 16</inkml:trace>
  <inkml:trace contextRef="#ctx0" brushRef="#br0" timeOffset="15836.85">10927 6496 0,'-13'-14'0,"-53"213"31</inkml:trace>
  <inkml:trace contextRef="#ctx0" brushRef="#br0" timeOffset="16088.18">11377 6271 0,'-13'39'31,"13"-25"-31,0-1 16,0 0-16,-13 0 0,13 14 0,-14-14 15,1 0-15,13 0 0,-13 1 0,13-1 16,-13 0-16,13 0 0,-14 1 0,14-1 16,0 0-16,-13-13 0,13 13 0,0 0 31</inkml:trace>
  <inkml:trace contextRef="#ctx0" brushRef="#br0" timeOffset="16823.68">11628 6257 0,'14'0'16,"-1"14"-1,-13-1-15,0 0 16,-13 0 0,13 1-16,-14-14 0,14 13 15,0 0 1,0 0 0,14 0-16,-14 1 15,13-14-15,-13 13 0,0 0 16,0 0-1,-13 1-15,-1-1 16,1 0-16,0 0 0,-13-13 16,12 14-16,1-1 0,0-13 15,0 13-15,-14-13 0,14 0 0,0 13 16</inkml:trace>
  <inkml:trace contextRef="#ctx0" brushRef="#br0" timeOffset="20107.77">1905 6734 0,'40'0'31,"-27"-14"-31,0 14 0,14 0 0,-14 0 16,13-13-16,1 13 0,-14 0 15,0 0-15</inkml:trace>
  <inkml:trace contextRef="#ctx0" brushRef="#br0" timeOffset="20269.38">1984 6813 0,'27'0'31,"-14"-13"-31,14 13 0,-14 0 16,0 0-16,0 0 0,14 0 15,-14 0-15</inkml:trace>
  <inkml:trace contextRef="#ctx0" brushRef="#br0" timeOffset="20809.32">2051 8652 0,'26'0'15,"53"0"1,-65 0-1,-1 0-15,0 0 0,0 0 0,0 0 16,1 0-16,12 0 16</inkml:trace>
  <inkml:trace contextRef="#ctx0" brushRef="#br0" timeOffset="20976.22">2064 8797 0,'66'14'31,"-26"-28"-31,-27 14 0,0 0 0,13-13 16,-12 13-16,-1 0 0,0 0 0,14-13 16,-14 13-16,0 0 0</inkml:trace>
  <inkml:trace contextRef="#ctx0" brushRef="#br0" timeOffset="24376">807 8890 0,'0'26'31,"0"-12"-15,0-1-16,-13-13 15,13 13 1,0 0-16,0 1 16,0-54 15,0 27-31,-13-1 15,13 1-15,0-13 0,0 13 16,0-14-16,0 14 0,0-14 0,0 14 16,0 0-16,0 0 0,0-1 0,0 1 15,0 0-15,13 26 32,-13 0-32,13 1 15,-13-1-15,0 0 0,13 0 16,0 14-16,-13-14 0,14-13 0,-14 13 15,13 1-15,-13-1 0,13-13 16,0 0-16,1-13 16,-14-1-16,13 1 0,0 0 15,0 0-15,-13-14 0,13-13 0,1 14 16,-14-14-16,13 14 0,-13 13 16,13-14-16,-13 14 0,0 0 0,13-1 15,-13 1-15,14 13 16,-1 13-16,-13 1 15,13-1-15,-13 0 0,13 0 16,-13 14-16,0-1 0,14 1 0,-14-14 16,0 13-16,13 1 0,-13-14 0,0 14 15,0-14-15,0 13 0,0-12 16,0-1-16,0 0 0,0 0 0,0 0 16,13-13-16,-13 14 0,0-1 15,13-13-15,0 0 16</inkml:trace>
  <inkml:trace contextRef="#ctx0" brushRef="#br0" timeOffset="25368.12">1270 8903 0,'26'-39'31,"-26"25"-31,14 1 0,-14 0 16,13 0-16,-13-1 0,0 1 0,0 0 15,0 0-15,0-1 0,0 1 16,0 0-16,0 0 16,-13 26-1,-1-13-15,14 13 0,-13 0 16,13 1-16,0-1 0,-13 0 15,13 0-15,0 1 0,0-1 0,0 0 16,0 0-16,13 1 0,-13-1 16,13-13-16,-13 13 0,14-13 0,-1 0 15,0 0-15,14 0 0,-1-13 16,-13 13-16,27-27 0,-14 14 0,1-13 16,-1-1-16,1 1 0,-14-1 0,14 1 15,-14-1-15,0-12 0,0 12 16,0-13-16,-13 14 0,14 13 0,-14-14 15,0 14-15,13 0 0,-13 0 0,0-1 16,0 41 15,0-14-31,-13 14 0,13-14 0,0 13 16,0-13-16,0 14 0,0-14 16,0 0-16,0 14 0,0-14 15,13 0-15,-13 1 0,0-1 16,0 0-16,0 0 15,0 0 1,-13-13-16,13 14 0,-14-14 16,1 13-16,0-13 0,13 13 15,-13 0-15,0 1 0,-1-14 16,14 13-16,-13 0 0,13 0 16,-13-13-16,26 14 15,14-28 1,-1 1-16,-13 0 15,0 0-15,14-1 0,-14 1 0,0 13 16,1-13-16,-1 13 0,0-13 16,0-1-16,0 14 0,1 0 15,-1 0 1,0 14-16,-13-1 16,0 0-1,13 0-15</inkml:trace>
  <inkml:trace contextRef="#ctx0" brushRef="#br0" timeOffset="25502.76">1826 8506 0,'0'-13'0</inkml:trace>
  <inkml:trace contextRef="#ctx0" brushRef="#br0" timeOffset="26049.51">1918 8506 0,'-26'0'16,"13"14"-1,13-1-15,-14 0 0,14 0 16,-13 0-16,13 1 16,0-1-16,0 0 0,0 0 15,0 1-15,0-1 16,13-13-16,-13 13 16,14-13-16,-1-13 15,0 13-15,-13-13 16,13-1-1,-13 1-15,13 13 0,-13-13 0,14 0 16,-14-1 0,13 14-16,-13-13 15,13 26 17,-13 1-17,0-1 1,13-13-16,1 13 31,-1-26-15,0 13-16,0 0 15,1 0-15,-1 0 16,0 0-16,0 0 16,0 0-16,1 0 15,-1 0-15,0 0 16,-13-13-16,13 13 15,1 0-15,-1-14 16,0 14-16,0-13 0</inkml:trace>
  <inkml:trace contextRef="#ctx0" brushRef="#br0" timeOffset="36263.03">3347 6191 0,'0'-13'0,"-13"13"16,-14 0-1,-12 13-15,-1 14 0,-13-1 16,-13 1-16,-14 12 0,-12 1 16,-14 13-16,0 0 0,14 0 0,-14 0 15,-13 0-15,13 13 0,13 0 0,1-13 16,-1 0-16,14 0 0,13-14 15,13 1-15</inkml:trace>
  <inkml:trace contextRef="#ctx0" brushRef="#br0" timeOffset="36967.11">11986 5913 0,'-119'67'0,"238"-134"0,-318 186 0,93-66 0,14 0 0,-27 13 16,0 14-16,0-14 0,-14 13 15,1-12-15,-27 38 0,40-38 0,-13 12 16,13-13-16,0 13 0,13-26 16,0 13-16</inkml:trace>
  <inkml:trace contextRef="#ctx0" brushRef="#br0" timeOffset="37588.07">3903 6125 0,'-172'172'31,"105"-119"-31,-12 13 16,0 0-16,-1 14 0,1-14 15,0 13-15,-1 1 0,1-28 0,13 28 16,0-14-16,26-13 0,0-13 16</inkml:trace>
  <inkml:trace contextRef="#ctx0" brushRef="#br0" timeOffset="38215.22">10901 6178 0,'-199'119'15,"398"-238"-15,-570 331 0,292-159 0,-27 13 16,14-13-16,-14 13 0,13-13 16,-13 13-16</inkml:trace>
  <inkml:trace contextRef="#ctx0" brushRef="#br0" timeOffset="38961.78">4643 6271 0,'-145'92'31,"105"-52"-31,-13 0 0,14-1 16,-14 1-16,0 13 0,13-13 0,-13 13 15,0-14-15,0 14 0,0-13 16,1 13-16,12-14 0,13-12 0</inkml:trace>
  <inkml:trace contextRef="#ctx0" brushRef="#br0" timeOffset="39592.01">9842 6178 0,'-132'106'16,"79"-80"0,-13 14-16,-13 13 0,-14 0 15,1 0-15,-1-14 0,14 14 0,-14 0 16,0 0-16,1-13 0,12 0 16,1-1-16</inkml:trace>
  <inkml:trace contextRef="#ctx0" brushRef="#br0" timeOffset="40147.32">5252 6297 0,'-26'13'16,"12"1"-16,-25 12 0,-1 14 15,0-1-15,1 1 0,-14 13 0,-14 0 16,1 13-16,13 0 0,-13-13 0,13 0 15,14 0-15,-1-13 0</inkml:trace>
  <inkml:trace contextRef="#ctx0" brushRef="#br0" timeOffset="40720.96">9115 6152 0,'-79'66'0,"158"-132"0,-225 171 0,67-52 0,-14 0 16,14 13-16,-14 1 0,1-1 16,-1-13-16</inkml:trace>
  <inkml:trace contextRef="#ctx0" brushRef="#br0" timeOffset="41440.97">5966 6284 0,'-39'0'0,"78"0"16,-105 13-16,53 0 0,-27 14 0,1-1 0,-1 14 15,-13 0-15,0-1 0,-26 27 16,13 1-16,-14-1 0,14-13 16,0 13-16,13-13 0,0 0 0,13-14 15,1 1-15</inkml:trace>
  <inkml:trace contextRef="#ctx0" brushRef="#br0" timeOffset="41976.96">8004 6244 0,'0'0'0,"-265"278"16,212-225 0,13 0-16,-12-13 0,12 12 0</inkml:trace>
  <inkml:trace contextRef="#ctx0" brushRef="#br0" timeOffset="42455.2">6562 6204 0,'0'40'15,"-14"26"1,14-26-16,0 13 0,-13 0 15,13 13-15,-13-13 0,0 0 0,13 13 16,-13-26-16,13 13 0,-14-14 16,1 1-16,13-14 0,0 14 0,-13-27 15,13 14-15,0-14 0,0 0 16,-13 0-16,13 1 0</inkml:trace>
  <inkml:trace contextRef="#ctx0" brushRef="#br0" timeOffset="42984.77">6628 6099 0,'53'-14'0,"-106"28"0,145-41 0,-65 27 15,13-13-15,12 0 0,-12-1 0,13 1 16,-13 13-16,13-13 0,-14 13 16,1-13-16,0 0 0,-14 13 0,1 0 15,-1 0-15,-13-14 0,1 14 0,-1 0 16,0 0-16,0 0 0,0 0 16,1 0-16,-1 0 15,-13 14 1,0-1-16,-13 0 15,13 13-15,0-12 0,0 12 16,0 1-16,0-1 0,-14 14 0,14-1 16,0 14-16,0-13 0,14 0 15,-14-1-15,0 1 0,0 0 0,0 0 16,0-1-16,13-12 0,-13-1 0,0 1 16,0-1-16,0-13 0,0 14 15,0-1-15,0-13 0,0 1 0,0 12 16,0-13-16,-13 1 0,13-1 0,-14 0 15,1 0-15,0 0 0,0 1 16,-27 12-16,14-13 0,-14 1 16,0-1-16,-13 13 0,0-12 0,-13 12 15,0 0-15,-13 1 0,-27-1 0,13 14 16,-12-13-16,12 12 0,0 1 16,-92 39-16,119-39 0,0-14 15,0 14-15</inkml:trace>
  <inkml:trace contextRef="#ctx0" brushRef="#br0" timeOffset="43736.93">4538 8334 0,'0'0'0,"0"-13"15,0 53 1,0-14-1,0-12-15,0 12 0,0 0 0,-14 14 16,14-13-16,-13 12 0,13 1 0,0-14 16,-13-12-16,13 12 0,0 1 15,-13-1-15,13-13 0,0 0 0,0 1 16,0-1-16,0 0 0,0 0 16,0 1-16,13-14 15</inkml:trace>
  <inkml:trace contextRef="#ctx0" brushRef="#br0" timeOffset="44697.94">4723 8493 0,'26'0'0,"-52"0"0,65 0 15,-25 0-15,-1 13 16,-13 1-1,-13 12-15,13-13 16,-14 0-16,14 1 0,-13-14 16,13 13-16,0 0 0,0 0 15,0 1-15,0-1 16,13-13-16,-13 13 0,14-13 16,-14 13-16,13-13 15,-13 14-15,13-1 0,-13 13 16,-13-26-16,13 13 15,-13 1-15,-1-14 0,14 13 16,-13-13-16,0 13 0,0-13 0,0 13 16,-1 1-16,1-14 0,0 0 0,13 13 15,-13-13-15</inkml:trace>
  <inkml:trace contextRef="#ctx0" brushRef="#br0" timeOffset="45000.98">5080 8705 0,'0'13'15,"-26"13"1,-1-12-16,1 12 16,-1-13-16,1 14 0,-1-1 0,-12 1 15,-1-1-15,0 1 0,0-1 16,14 1-16,0-14 0,-1 0 0,1 0 16,-1 1-16,14-1 0,13 0 0,-13-13 15,0 0-15,13 13 0</inkml:trace>
  <inkml:trace contextRef="#ctx0" brushRef="#br0" timeOffset="45200.17">5173 8705 0,'-67'79'31,"41"-52"-31,0-1 0,-14 1 16,0 12-16,0 1 0,1-14 0,-1 14 16,0-13-16,14-1 0,-1 0 0,1 1 15,0-14-15,12 14 0,1-27 16</inkml:trace>
  <inkml:trace contextRef="#ctx0" brushRef="#br0" timeOffset="47543.1">5398 9128 0,'52'0'15,"-25"0"-15,-1 0 0,1 0 0,-1-13 16,27 13-16,93-13 16,-80 13-16,-13 0 0,-14-14 15,14 14-15,-13-13 0,13 13 0,-27 0 16,1-13-16,-1 13 0,-12 0 15,12-13-15,-13 13 0,0 0 0,1 0 16,-1-13-16,0 13 16</inkml:trace>
  <inkml:trace contextRef="#ctx0" brushRef="#br0" timeOffset="47787.21">6138 8864 0,'40'13'0,"-80"-26"0,93 26 0,-26 0 0,-1-13 15,-13 13-15,14 0 0,-1 1 16,-12-1-16,12 0 0,-13 0 0,14 14 16,-27-14-16,13 0 0,-13 1 0,0-1 15,0 0-15,0 13 16,-13-12-16,-1-1 0,1 13 0,0-12 15,13-1-15,-13 0 0,13 0 0,-13-13 16,13 14-16,-14-14 0</inkml:trace>
  <inkml:trace contextRef="#ctx0" brushRef="#br0" timeOffset="51655.39">5953 9022 0,'-13'0'0,"39"14"31,-12-14-31,-1 0 16,13 13-16,-13-13 0,27 0 0,0 13 15,0-13-15,12 0 0,1 0 0,0 13 16,27-13-16,-14 13 0,13-13 15,-13 0-15,1 14 0,12-14 0,13 0 16,-12 0-16,12 0 0,1 0 0,0 0 16,-1 0-16,14 0 15,40 0-15,-1 0 0,-13 0 0,14 0 0,13 0 16,-1 0-16,1 0 0,0-14 0,13 14 16,-13 0-16,13 0 0,-14 0 15,14-13-15,-13 13 0,0 0 0,-14 0 16,1 0-16,-1-13 0,1 13 0,-40 0 15,0 0-15,-14 0 16,14 0-16,-13-13 0,-14 13 0,0 0 16,-12 0-16,-15 0 0,1 0 0,-26 0 15,13 0-15,-27 0 0,13 0 0,-13 0 16,1 0-16,-1 0 0,0-13 16,0 13-16,1 0 15,-1 0-15,0 0 16,0 0-16,1 0 15,-1 0 1,0 13 0,0-13-1,0 0-15,1 0 16,-14 13-16,13-13 0,0 0 0,0 0 16,1 0-16,-1 0 15,0 13-15,0-13 0,1 0 0,12 0 16,-13 0-16,0 0 0,1 0 0,-1 0 15,0 0-15,14 0 0,-14 0 16,0 0-16,0 0 0,14 0 0,-14 0 16,0 0-16,0 0 0,14 0 0,-14 0 15,0 0-15,1 0 0,-1 0 0,13 0 16,-13 0-16,1 0 16,-1 0-16,0 0 15,0 0-15,1 0 0,-1 0 31,-13-13-31,13 13 16</inkml:trace>
  <inkml:trace contextRef="#ctx0" brushRef="#br0" timeOffset="52088.04">11853 8890 0,'27'13'15,"-14"-13"-15,0 13 0,0-13 0,14 14 16,-14-14-16,14 13 0,-1 0 16,-13-13-16,14 13 0,-1 1 0,-13-1 15,1-13-15,12 13 0,-13 0 0,-13 1 16,14-1-16,-1 0 0,-13 0 15,0 0-15,0 1 0,0-1 0,-13 0 16,-14 14-16,1-1 0,-27 1 0,13-1 16,0 0-16,-13 1 0,1-1 15,-1-12-15,0-1 0,0 13 16,13-13-16,-13 14 0,14-14 0,-1 0 0</inkml:trace>
  <inkml:trace contextRef="#ctx0" brushRef="#br0" timeOffset="53286.01">11139 9657 0,'0'14'0,"13"25"15,-13-26-15,-13 14 16,13-14-16,0 0 15,0 1-15,0-1 0,0 0 0,0 0 16,0 0-16,-13-13 0,13 14 0,0-1 16,0 0-16,0-39 47,13 12-47,-13 1 0,0 0 15,0 0-15,0 0 0,0-1 0,13 1 16,-13 0-16,0 0 15,27 26 17,-27 0-17,0 0-15,13-13 0,-13 14 16,13-1-16,0-13 16,-13 13-16,14-13 0,-1 0 0,13-13 15,-13 13-15,1-13 16,-1 13-16,0-14 0,0 1 15,1 13-15,-1-13 0,0 13 16,0-13-16,1 26 16,-14 0-1,13-13-15,-13 13 0,0 1 16,0-1-16,0 0 0,13 0 16,-13 0-16,0 1 0,0-1 0,0 13 15,0-12-15,13-1 16,-13 0-1,13-13-15,1 0 16</inkml:trace>
  <inkml:trace contextRef="#ctx0" brushRef="#br0" timeOffset="53612.77">11642 9776 0,'0'-13'16,"-27"53"15,27-27-31,0 0 16,0 0-16,0 1 15,0-1-15,0 0 16,13-13-16,1 0 16,-1 0-16,0 0 15,0-13-15,1 0 0,-1-1 16,-13 1-16,13 13 0,-13-13 15,13 0-15,1 13 0,-14-13 16,13 13-16,-13-14 0,13 28 31,-13-1-15,0 0-16,0 0 0,0 0 16,13 1-16</inkml:trace>
  <inkml:trace contextRef="#ctx0" brushRef="#br0" timeOffset="53974.52">11959 9750 0,'0'-13'0,"13"39"32,-13-13-32,0 1 15,0-1-15,0 0 0,0 13 16,0-12-16,0-1 0,-13 13 15,13-12-15,-13-1 0,13 0 0,-13 0 16,13 1-16,-14-1 0,14 0 0,-13 0 16,26-39 15,1 13-31,-1-1 0,0 1 16,0 0-16,1 0 0,-1-14 15,13 27-15,-12-13 0,-14 0 0,13 13 16,0-14-16,0 14 0,0 0 15,-13 14 1,14-1 0,-28 0-16,14 0 15,0 1-15,-13-1 0,13 0 16,-13-13-16,13 13 0,-13 1 16</inkml:trace>
  <inkml:trace contextRef="#ctx0" brushRef="#br0" timeOffset="54093.17">12211 9710 0,'-14'-13'0</inkml:trace>
  <inkml:trace contextRef="#ctx0" brushRef="#br0" timeOffset="54263.91">12237 9856 0,'0'26'15,"0"-13"-15,0 1 0,40 12 32,-14-26-32,-13 0 15,1-13-15,-1 13 0,13-13 0,-13-1 16,14 14-16,-14 0 0,0-13 15</inkml:trace>
  <inkml:trace contextRef="#ctx0" brushRef="#br0" timeOffset="54512.2">11099 10372 0,'80'0'0,"-160"0"0,199 0 0,-66-14 15,0 14-15,13-13 0,14 13 0,-1-13 16,-13 0-16,14 0 0,-14 13 0,13-14 16,-13 1-16,-13 0 0,-13 0 15,0 13-15,-14-14 0,0 14 0,-12 0 16,-1-13-16,0 13 0</inkml:trace>
  <inkml:trace contextRef="#ctx0" brushRef="#br0" timeOffset="54723.24">11443 10464 0,'27'0'0,"-54"0"0,67 14 15,-27-14-15,14 0 0,12 0 16,1 0-16,13-14 0,0 14 0,13-13 15,0 0-15,-13 13 0,0-13 0,0-1 16,-13 14-16,-1-13 0,1 0 16,-14 13-16,1-13 0,-14 13 0,0-14 15,1 1-15,-28 0 16,1 13-16,0-13 0,-27 0 16,0-1-16</inkml:trace>
  <inkml:trace contextRef="#ctx0" brushRef="#br0" timeOffset="55659.97">3797 8559 0,'13'0'0,"13"13"15,-12 14-15,-1-14 0,-13 27 16,13 0-16,-13-1 0,0 14 16,0 0-16,0 0 0,-13 13 15,13-13-15,-13 13 0,13-26 0,-14 13 16,14 26-16,-13-39 0,13-14 15,0 1-15,0-14 0,0 13 16,0-12-16</inkml:trace>
  <inkml:trace contextRef="#ctx0" brushRef="#br0" timeOffset="56224.04">3797 8162 0,'79'-26'0,"-158"52"0,211-65 16,-92 39-16,13-14 0,13 1 0,13 13 16,-13-13-16,14 0 0,-1 0 15,0 13-15,1-14 0,-14 1 0,13 13 16,-13-13-16,1 13 0,-14-13 0,-1 13 15,1 0-15,0-14 0,-13 14 16,-14 0-16,14 0 0,-27 0 0,14 0 16,-14 0-16,0 0 0,1 0 15,-1 0-15,0 0 0,0 0 0,0 0 16,1 14-16,-1-14 0,0 13 16,0-13-16,14 26 0,-14-12 0,0 12 15,1 14-15,-1-14 0,0 14 0,-13 13 16,13-14-16,0 1 0,-13 13 15,14-13-15,-14-1 0,13 1 0,-13 13 16,13-13-16,0-1 0,-13 1 0,14 0 16,-14-1-16,13 1 0,-13 0 15,13-14-15,-13 1 0,0-1 16,0 1-16,13-14 0,-13 13 0,0-12 0,0-1 16,-13 0-16,13 0 0,0 1 15,-13-1-15,0 0 0,-1 13 16,-12-12-16,-14-1 0,1 0 0,-14 14 15,-14-14-15,1 13 0,0-12 0,-26 12 16,-14 0-16,-13 1 0,13-1 16,-13 1-16,13-1 0,0 1 0,0-1 15,14-13-15,12 14 0,-65 13 16,79-27-16,26 0 0,0 0 16,1 0-16,25 1 0</inkml:trace>
  <inkml:trace contextRef="#ctx0" brushRef="#br0" timeOffset="57580.94">12343 9723 0,'-40'14'0,"-39"39"31,66-40-31,13 0 0,-14 0 0,1 0 16,13 1-16,0-1 15,0 0-15,13-13 0,1 13 0,-1 1 16</inkml:trace>
  <inkml:trace contextRef="#ctx0" brushRef="#br0" timeOffset="58712.57">12912 10001 0,'-40'-13'0,"80"26"0,-93-39 16,40 26-16,-1 0 0,1-13 16,0-1-16,0 1 0,13 0 0,-14 0 15,1-1-15,13 1 0,-13 0 0,13-14 16,0 14-16,0-13 0,0 13 15,13-14-15,-13 1 0,13-1 0,1 14 16,-1-13-16,0 12 0,0 1 16,-13 0-16,14 0 0,-1 13 0,-13 13 15,0 0 1,-13 0-16,-1 14 0,1-1 0,-13 14 16,-1 0-16,-13-14 0,14 0 15,0 1-15,12-1 0,-12 1 16,13-1-16,-1-12 0,1-1 0,0-13 15,13 13-15,0 0 0,13 0 16,0-13-16,1 0 16,12 0-16,1 0 0,-1-13 0,14 13 15,13-13-15,-14 0 0,1 13 0,0-13 16,-1-1-16,1 1 0</inkml:trace>
  <inkml:trace contextRef="#ctx0" brushRef="#br0" timeOffset="59252.83">13600 9631 0,'-14'26'31,"14"-12"-31,-13-1 0,13 0 16,-13 13-16,0-12 0,13 12 15,-14 14-15,1-27 0,13 13 0,-13-12 16,13 12-16,-13-13 0,13 1 16,0-1-16,0 0 0,0 0 15,0 1-15,0-1 16,-27-26 15,14-1-31,0 14 0,0 0 16,-1 0-1,1 0-15,0 0 0,0 0 0,-1 0 16,1 0-16,0 0 0,0 14 0,0-14 16,13 13-16,-14-13 0,41 13 31,-14-13-31,0 0 0,0-13 0,14 13 15,-1 0-15,-12 0 0,-1 0 16,13 0-16,-12 0 0,-1 0 0,13 0 16,-13 0-16,1 0 0,-1 0 0,0 13 15,0-13-15,1 13 16,-14 0 0,0 1-16,0-1 15</inkml:trace>
  <inkml:trace contextRef="#ctx0" brushRef="#br0" timeOffset="59369.28">13705 9856 0,'-13'-14'0</inkml:trace>
  <inkml:trace contextRef="#ctx0" brushRef="#br0" timeOffset="59571.92">13772 9895 0,'0'40'16,"0"-27"-1,0 1-15,0-1 0,-14-13 16,14 13-16,-13 0 16,0 0-16,0 1 0,13-1 15</inkml:trace>
  <inkml:trace contextRef="#ctx0" brushRef="#br0" timeOffset="59909.11">14049 9869 0,'-39'40'31,"39"-27"-15,-14 0-16,28 0 31,-1-13-31,0-13 15,0 13 1,1 0-16,-1-13 0,0 13 16,0 0-1,1 13 17,-1-13-1,0 0-16</inkml:trace>
  <inkml:trace contextRef="#ctx0" brushRef="#br0" timeOffset="60227.3">13256 10491 0,'-14'26'16,"14"-13"0,0 1-16,0-1 0,0 0 0,-13 0 15,13 14-15,0-14 0,-13 0 0,13 0 16,-13 1-16,13-1 0,-14 0 16,14 0-16,0 1 0,-13-14 0</inkml:trace>
  <inkml:trace contextRef="#ctx0" brushRef="#br0" timeOffset="60477.13">13269 10478 0,'13'-27'15,"0"14"-15,1 13 0,-14-13 16,13 13-16,0 0 0,0 0 0,0 0 16,1 13-16,-1 0 0,0 0 15,-13 1-15,13-1 0,-13 0 0,14 0 16,-14 0-16,0 1 0,-14 12 15,14-13-15,0 14 0,-13-14 0,0 13 16,0-12-16,-1-1 0,1 0 16,0 0-16,0 1 0,0-1 0,-1 0 15,1-13-15,0 13 0,0-13 16,-1 0-16,14 14 0,-13-28 16</inkml:trace>
  <inkml:trace contextRef="#ctx0" brushRef="#br0" timeOffset="60819.95">13586 10517 0,'27'0'0,"-54"0"0,67 0 15,-40-13-15,13 13 0,0 0 0,1 0 16,-14-13-16,13 13 0,0 0 15,0 0-15,1-13 16,-1 13-16,0 0 16,-13 13-1,13-13-15,-13 13 16,0 0-16,0 0 0,0 1 0,0-1 16,0 0-16,0 14 0,0-14 15,0 0-15,0 0 0,0 0 16,-13 14-16,13-14 0,0 0 0,-13 1 15,13-1-15,-13 0 0,-1-13 16,1 13-16,0-13 0,0 14 16,-1-14-16,1 0 0,0 0 0,-13 0 15,12-14-15,-12 14 0,-1 0 0</inkml:trace>
  <inkml:trace contextRef="#ctx0" brushRef="#br0" timeOffset="72528.93">6773 5808 0,'14'13'0,"-14"0"16,0 0-16,0 1 0,0-1 16,0 0-16,0 0 0,0 0 15,0 14-15,0-14 0,0 0 0,0 1 16,0-1-16,0 0 0,0 0 15</inkml:trace>
  <inkml:trace contextRef="#ctx0" brushRef="#br0" timeOffset="72743.92">6562 5649 0,'-14'26'0,"28"-52"0,-41 66 16,27-14-16,0-13 0,-13 14 0,13-14 15,0 13-15,0 1 0,-13-1 16,26 1-16,-13-1 0,0 1 16,0-14-16,13 13 0,-13-12 0,13 12 0,1-13 15,-1-13-15</inkml:trace>
  <inkml:trace contextRef="#ctx0" brushRef="#br0" timeOffset="72943.98">7025 5450 0,'39'0'0,"-78"0"0,105 14 15,-53-1-15,0 13 0,14 1 0,-14 12 16,-13 1-16,13 13 0,-13-13 15,0 13-15,-13 13 0,0-13 0,0 13 16,-1-13-16,-39 53 16,27-53-16,13-14 0,-14 14 15,-12 0-15</inkml:trace>
</inkml:ink>
</file>

<file path=ppt/ink/ink1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1:32.839"/>
    </inkml:context>
    <inkml:brush xml:id="br0">
      <inkml:brushProperty name="width" value="0.05292" units="cm"/>
      <inkml:brushProperty name="height" value="0.05292" units="cm"/>
      <inkml:brushProperty name="color" value="#FF0000"/>
    </inkml:brush>
  </inkml:definitions>
  <inkml:trace contextRef="#ctx0" brushRef="#br0">1349 1998 0,'93'0'0,"-53"0"0,13-14 0,13 14 16,13-13-16,0 0 0,14 13 15,0-13-15,-1-1 0,1 1 0,13 13 16,-14-13-16,1 0 0,0 0 16,-14 13-16,14-14 0,-27 1 0,13 0 15,-26 13-15,0 0 0,-13-13 0,12 13 16,-25 0-16,-1-14 0</inkml:trace>
  <inkml:trace contextRef="#ctx0" brushRef="#br0" timeOffset="243.99">1402 2209 0,'66'0'15,"-39"0"-15,26 0 0,26-13 0,1 13 16,-1-13-16,14 13 0,-1-13 0,1-1 15,-1 14-15,1-13 0,13 13 0,-27-13 16,14 13-16,-14-13 0,-13 13 16,14-14-16,-27 14 0,0 0 0,-14-13 15,1 13-15,-14 0 0,1-13 0,-1 13 16</inkml:trace>
  <inkml:trace contextRef="#ctx0" brushRef="#br0" timeOffset="8357.17">6072 4617 0,'-132'132'31,"105"-92"-31,-12 13 15,-1 0-15,0 0 0,1 0 0,-14 26 16,13 0-16,-13-12 0,13-15 16,1 15-16,-1-14 0,0-1 0,1 1 15,-1 0-15,14-13 0</inkml:trace>
  <inkml:trace contextRef="#ctx0" brushRef="#br0" timeOffset="8960.2">9075 4723 0,'-225'291'31,"159"-225"-31,0 13 0,0-12 16,0 12-16,0-13 0,-1 0 0,1 0 16</inkml:trace>
  <inkml:trace contextRef="#ctx0" brushRef="#br0" timeOffset="9482.32">6324 4829 0,'-27'39'0,"1"-12"15,-1 12-15,1 14 0,-1 0 16,-12 0-16,-1 0 0,0 13 0,-13 0 16,14-13-16,-14 14 0,26-15 0,1-12 15,-1 13-15</inkml:trace>
  <inkml:trace contextRef="#ctx0" brushRef="#br0" timeOffset="10125.02">8427 4762 0,'-26'14'0,"-199"171"32,145-132-32,1 13 0,13 0 15,-14 0-15,1 0 0,-14 1 16,14-1-16,-14 0 0,14 0 0</inkml:trace>
  <inkml:trace contextRef="#ctx0" brushRef="#br0" timeOffset="14034.56">5067 1019 0,'0'-53'15,"0"39"-15,-13-25 32,-1 39-17,1 13-15,0 0 0,-14 14 16,1 26-16,-1 13 0,1 26 15,0 14-15,-14 0 0,13 13 16,1-13-16,-1 0 0,14 0 0,-13-27 16,13 0-16,13 1 0,-14-14 0,14 0 15,0 0-15,0-13 0,0-13 16,0 13-16,0-14 0,0-12 0,0-1 16,14-12-16,-14-1 0,0 0 0</inkml:trace>
  <inkml:trace contextRef="#ctx0" brushRef="#br0" timeOffset="15157.63">4736 939 0,'13'0'0,"-26"0"0,39-13 0,-12 13 15,12 0-15,1 0 16,26 0-16,-1 0 0,28 0 0,-1 0 16,14 0-16,-1 0 0,14 0 0,27 13 15,12-13-15,14 0 0,-14 0 16,14 0-16,-13 0 0,26 0 0,-14 0 15,14 0-15,-13 0 0,13-13 0,0 13 16,0-13-16,0 13 0,13 0 16,0-13-16,-13 13 0,14-14 0,-1 14 15,0 0-15,0-13 0,-13 13 0,0-13 16,0 13-16,0 0 0,-13-13 16,13 13-16,-13 0 0,-1 0 15,1-14-15,0 14 0,0 0 0,-1 0 0,1 0 16,-13 14-16,12-14 15,-12 0-15,-1 13 0,1-13 0,-14 13 16,14-13-16,-14 13 0,0-13 0,1 14 16,-41-14-16,14 13 0,0-13 15,-13 13-15,12-13 0,-12 13 0,13-13 16,-27 13-16,14-13 0,-14 0 0,-13 0 16,14 14-16,-1-1 0,-13-13 15,-13 13-15,0-13 0,0 0 16,-13 13-16,13-13 0,-14 14 0,1-14 0,0 13 15,-1-13-15,1 0 0,0 13 16,-14-13-16,27 0 0,-13 0 16,-14 0-16,27 13 0,-26-13 0,12 0 15,1 0-15,-14 0 0,1 0 16,13 14-16,-14-14 0,0 0 0,1 0 16,-14 0-16,14 0 0,-14 0 0,0 0 15,0 0-15,1 0 0,-1 0 0,0 0 16,0 0-16,0 0 15,1 0-15,-1 13 16,-13 0 0,0 0-16,0 0 15,0 1-15,0-1 0,0 13 0,0 1 16,0 13-16,-13-1 0,13 1 0,0 0 16,0 13-16,0-1 0,0-12 15,0 13-15,0 13 0,13 0 0,-13-13 16,0 0-16,13-13 0,-13 13 0,0-14 15,13 1-15,-13-13 0,0-1 16,0 1-16,0-14 0,0 13 0,0 1 16,0-14-16,0 0 0,-13 14 0,0-14 15,0 13-15,-1-13 0,-25 14 16,12-14-16,-12 0 0,-1 1 0,0-1 16,-13-13-16,-13 13 0,0 0 0,-13-13 15,-1 0-15,-12 14 0,-1-14 16,0 0-16,-26 0 0,-13-14 15,-13 14-15,-160-13 0,133 13 16,0-13-16,14 0 0,-28 13 0,1-14 16,0 14-16,-13-13 0,-1 13 15,1-13-15,-1 13 0,1 0 0,-14-13 16,14 13-16,-14 0 0,0 0 0,14 0 16,-14 0-16,1 0 0,-1 0 15,0 0-15,14 0 0,-1 0 0,1 13 16,-1-13-16,1 0 0,13 13 15,0 0-15,-14-13 0,14 14 0,0-1 16,13 0-16,0 0 0,0 1 16,13-1-16,0 0 0,14 0 0,13 0 15,-1 1-15,41-14 0,-1 13 16,14 0-16,-1-13 0,1 13 0,13 1 16,0-14-16,-1 13 0,15 0 0,12-13 15,0 13-15,1-13 0</inkml:trace>
  <inkml:trace contextRef="#ctx0" brushRef="#br0" timeOffset="16409.91">6535 4749 0,'-13'27'15,"0"-14"-15,0 27 0,-1-14 16,14 27-16,-13 0 0,0 0 16,0 0-16,13 0 0,-14 0 0,14-14 15,0 14-15,-13-13 0,13 0 0,0-1 16,0-12-16,13-1 0,-13 1 16,0-14-16,0 13 0,0-12 15,14-1-15,-14 0 0,0 0 0</inkml:trace>
  <inkml:trace contextRef="#ctx0" brushRef="#br0" timeOffset="16929.98">6496 4696 0,'26'-13'0,"0"0"0,1 13 16,13-13-16,-1-1 0,14 14 0,0-13 15,0 0-15,13 0 0,14 13 0,303-53 32,-343 53-32,0-13 15,-1 13-15,-12 0 0,-14 0 16,13 0-16,-12 0 0,-1 13 0,0 0 15,0 0-15,-13 1 0,0-1 16,0 0-16,0 0 0,0 0 16,0 14-16,0-1 0,0 1 15,0-1-15,-13 14 0,13-14 0,0 14 16,0 0-16,0-1 0,13 1 0,-13 0 16,0 0-16,14-14 0,-14 14 15,0-14-15,13 1 0,0-1 0,-13 1 16,13-1-16,-13-13 0,13 14 15,-13-14-15,0 0 0,14 0 0,-14 14 16,0-14-16,0 0 0,-14-13 16,14 14-16,-13-1 0,0 0 0,-13 0 15,-14 0-15,-13 14 0,0-14 16,-13 14-16,0-1 0,-14-13 0,1 14 16,-27-1-16,0 14 0,0 0 15,1-14-15,-1 14 0,-13-1 0,26 1 16,1 0-16,25-14 0,1 1 15,0-1-15</inkml:trace>
  <inkml:trace contextRef="#ctx0" brushRef="#br0" timeOffset="17465.03">8268 6945 0,'13'40'32,"-13"-27"-32,0 0 0,0 1 15,0 12-15,0 1 0,-13 12 0,13 1 16,-13 0-16,13-14 0,-13 14 15,13-14-15,-13 1 0,13-1 16,-14-13-16,14 14 0,0-14 0,0 0 16,0 1-16</inkml:trace>
  <inkml:trace contextRef="#ctx0" brushRef="#br0" timeOffset="17796.04">8467 7051 0,'0'27'32,"0"-14"-32,-14 0 15,14 14-15,0-14 0,0 13 0,14-13 16,-14 14-16,13-14 0,-13 14 16,13-14-16,0 0 0,14 0 0,-14-13 15,13 13-15,-12-13 0,12 0 0,1-13 16,-14 13-16,0 0 0,14-13 15,-14 0-15,0 0 0,0-1 0,-13 1 16,13 0-16,-13 0 0,0-14 0,-13 14 16,13 0-16,-13 0 0,0-14 0,0 14 15,-1 0-15,1 13 16,-13-14-16,12 14 0,-25-13 16,25 13-16,-12 13 0,13-13 0,0 0 15,-1 14-15,1-1 0,0 0 16</inkml:trace>
  <inkml:trace contextRef="#ctx0" brushRef="#br0" timeOffset="17989.84">9009 6945 0,'13'0'0,"-26"0"0,40-13 0,-14 26 15,-13 1-15,0-1 16,0 0-16,-13 0 0,13 14 15,0-14-15,0 13 0,0-12 16,0 12-16,-14-13 0,14 14 0,0-14 16,0 0-16,0 0 0,0 14 15,0-14-15,0 0 0,0 1 0</inkml:trace>
  <inkml:trace contextRef="#ctx0" brushRef="#br0" timeOffset="18180.06">8916 7144 0,'27'13'16,"-14"-13"-1,0 0-15,1-13 0,-1 13 0,13 0 16,-12 0-16,12 0 0,-13-13 15,14 13-15</inkml:trace>
  <inkml:trace contextRef="#ctx0" brushRef="#br0" timeOffset="18362.75">9432 6932 0,'14'40'31,"-14"-27"-31,0 13 0,0-12 15,0-1-15,0 0 0,0 14 16,0-14-16,-14 13 0,14-12 0,0 12 16,0-13-16,0 0 0,0 1 0,0-1 15,0 0-15</inkml:trace>
  <inkml:trace contextRef="#ctx0" brushRef="#br0" timeOffset="18577.12">9684 6945 0,'13'-13'16,"-26"26"-16,26 1 15,-13-1 1,0 0-16,0 13 0,-13-12 16,13 12-16,0-13 0,0 14 0,0-14 15,0 0-15,0 14 0,0-14 0,-13 0 16,13 0-16,0 1 0,0-1 15,0 0-15,0 0 0,0 1 16,0-1-16</inkml:trace>
  <inkml:trace contextRef="#ctx0" brushRef="#br0" timeOffset="18929.57">7924 7805 0,'40'0'0,"264"-53"31,-198 27-31,13 13 0,-13-1 0,13-12 16,13 13-16,1-14 0,-14 14 16,0 0-16,0 0 0,-27-1 0,1 1 15,-14 0-15,14 0 0,-27-1 16,13 14-16,-12-13 0,-28 0 0,14 13 16,-26-13-16,-1 13 0,1-14 0,-14 14 15,0 0-15,0 0 0,-52 14 16</inkml:trace>
  <inkml:trace contextRef="#ctx0" brushRef="#br0" timeOffset="19347.12">9049 8149 0,'39'-13'15,"-78"26"-15,92-26 0,-27 13 0,-13 0 0,1 0 16,-1 0-16,0 13 0,0 0 15,-13 1-15,0-1 0,-13 13 16,0 1-16,-14 12 0,1 1 0,-14 0 16,14 0-16,-1-14 0,1 0 15,13 1-15,-1-14 0,1 0 16,0 1-16,13-1 0,0 0 0,0 0 16,13-13-1,0 0-15,14 0 16,-14-13-16,0 13 0,14-13 0,-1 13 15,-13-13-15,14-1 0,-1 1 0,1 0 16,-14 0-16,0-1 0,1 1 16,-14 0-16,-14 0 0</inkml:trace>
  <inkml:trace contextRef="#ctx0" brushRef="#br0" timeOffset="19684.75">7104 7832 0,'40'0'16,"-80"0"-16,106 0 0,-53 0 0,1 0 16,12-14-16,-13 14 0,14 0 0,-14 0 15,0 0-15,0 0 0,1 0 0,-1 0 16,0 0-16,-13 14 15</inkml:trace>
  <inkml:trace contextRef="#ctx0" brushRef="#br0" timeOffset="19833.78">6972 8043 0,'0'14'15,"0"-28"-15,26 28 0,-13-14 16,14 0-16,-14-14 0,14 14 0,-1 0 15,14-13-15,-14 13 0,1-13 16,12 13-16,-12-13 0,-1 13 0,1 0 16</inkml:trace>
  <inkml:trace contextRef="#ctx0" brushRef="#br0" timeOffset="20314.82">11232 7289 0,'26'-13'0,"-52"26"0,65-26 0,-26 13 15,1-13-15,-1 13 16,0 0-16,0 0 0,1 0 0,-1 0 15,0 13-15,0-13 0</inkml:trace>
  <inkml:trace contextRef="#ctx0" brushRef="#br0" timeOffset="20481.27">11192 7554 0,'40'0'31,"-27"-13"-31,0 13 16,13 0-16,-12 0 0,12-14 0,1 14 16,-1-13-16,1 13 0,-1 0 15,0-13-15,1 13 0</inkml:trace>
  <inkml:trace contextRef="#ctx0" brushRef="#br0" timeOffset="20896.8">12779 6998 0,'40'-13'0,"-80"26"0,107-26 0,-54 13 0,0 0 15,0 13-15,0-13 0,1 13 0,-1-13 16,0 14-16,-13-1 0,0 0 16,0 0-16,0 1 0,0 12 15,-13-13-15,0 14 0,-1-14 0,14 0 16,-13 0-16,0 14 0,0-14 0,0 0 15,13 1-15,0-1 16,-14-13-16,28 13 16,-14 0-16,13-13 0,0 0 0,13 0 15,-12 0-15,-1 0 0,13-13 16,1 13-16,-1-13 0,1 0 16,12-1-16,1 1 0,-13-13 15,12 12-15</inkml:trace>
  <inkml:trace contextRef="#ctx0" brushRef="#br0" timeOffset="21044.9">13335 7025 0,'26'-27'0,"-26"14"0,14 0 16,-41 52 15,14-12-15,13-14-16,-13 0 0,13 1 0,0 12 16,-13-13-16,13 14 0,0-14 15,-14 0-15,14 14 0,0-14 0,0 13 16,-13-12-16,13-1 0</inkml:trace>
  <inkml:trace contextRef="#ctx0" brushRef="#br0" timeOffset="21292.9">12660 7594 0,'53'-14'16,"-13"14"-16,-14 0 0,27 0 0,0-13 0,0 13 16,13-13-16,0 13 0,14-13 15,-14-1-15,-13 14 0,0 0 0,0-13 16,0 13-16,-14 0 0,-12 0 16,-1 0-16,1 0 0,-14 0 15,0 0-15,0 0 0,-13 13 0,14-13 16</inkml:trace>
  <inkml:trace contextRef="#ctx0" brushRef="#br0" timeOffset="21604.19">13216 7805 0,'40'0'16,"-80"0"-16,93 0 0,-27 0 0,-12 0 0,-1 0 15,0 13 1,-13 1-16,-13-1 0,0 0 16,-1 0-16,-12 14 0,-1-1 15,1-12-15,-1 12 0,1 0 0,13-12 16,0-1-16,-1 0 0,1 0 0,0 1 16,13-1-16,0 0 15,13-13 1,0 0-16,1 0 0,12 0 0,-13-13 15,27 13-15,-14-13 0,14-1 16,0 1-16,-1 0 0,1-14 0,0 14 16,0-13-16,-14-1 0,14 14 15,-14-13-15,14-1 0</inkml:trace>
  <inkml:trace contextRef="#ctx0" brushRef="#br0" timeOffset="21826.98">14036 7289 0,'40'-13'31,"-27"13"-31,0-13 0,1 13 15,-1 13-15,0-13 0,0 0 0,0 0 16,1 0-16,-14 13 0</inkml:trace>
  <inkml:trace contextRef="#ctx0" brushRef="#br0" timeOffset="21961.9">14063 7488 0,'79'-14'0</inkml:trace>
  <inkml:trace contextRef="#ctx0" brushRef="#br0" timeOffset="22265.05">15716 7038 0,'-13'26'16,"13"-12"-16,0-1 0,-13 0 0,13 0 0,0 14 16,0-1-16,0 1 0,0-1 15,0 14-15,0-1 0,0-12 16,0-1-16,0 1 0,0-1 0,0 1 16,0-14-16,0 0 0,0 0 0</inkml:trace>
  <inkml:trace contextRef="#ctx0" brushRef="#br0" timeOffset="22469.83">16047 7091 0,'0'40'15,"0"-27"-15,-13 0 16,13 13-16,-13-12 0,13 12 0,-14 14 15,1-14-15,0 1 0,13-1 16,-13-13-16,13 14 0,-14-14 0,14 14 16,0-14-16,0 0 0</inkml:trace>
  <inkml:trace contextRef="#ctx0" brushRef="#br0" timeOffset="22620.91">16298 7289 0,'-13'0'31,"0"0"-31</inkml:trace>
  <inkml:trace contextRef="#ctx0" brushRef="#br0" timeOffset="22896.84">16563 7197 0,'-53'13'0,"106"-26"16,-119 39-16,53-26 0,13 13 0,13 14 15,0-14 1,0 0-16,14 14 0,-14-14 16,0 0-16,0 0 0,1 1 0,-1-1 15,-13 0-15,13 0 0,-13 1 16,0-1-16,-13 0 0,0 0 16,-14 0-16,1 14 0,-14-14 15,0 0-15</inkml:trace>
  <inkml:trace contextRef="#ctx0" brushRef="#br0" timeOffset="23085.86">15505 7779 0,'53'0'0,"-106"0"0,145 0 0,-39 0 0,0 0 16,13-13-16,14 13 0,-1 0 15,14-14-15,-1 14 0,1-13 16,-1 13-16,-12 0 0,12-13 0,-26 13 0,1 0 15,-14-13-15,-27 13 0,0 0 16,1 13-16,-14-13 0</inkml:trace>
  <inkml:trace contextRef="#ctx0" brushRef="#br0" timeOffset="23280.66">15663 8043 0,'53'0'15,"-106"0"-15,146 0 0,-53 0 0,13 0 0,-1 0 16,15-13-16,-1 13 0,-13 0 0,13-13 16,13 13-16,-26-13 15,0 13-15,0-14 0,-13 14 0,-1-13 0,-12 13 16,-1-13-16,1 13 0,-1-13 0,-13 13 16,1-13-16,-1 13 15,0-14-15,0 1 0,1 0 0</inkml:trace>
  <inkml:trace contextRef="#ctx0" brushRef="#br0" timeOffset="24798.65">3836 2103 0,'0'14'15,"14"-14"-15,12 0 16,-13-14-16,14 14 0,-14-13 0,27 0 15,-14-13-15,1 12 16,12-12-16,-12-1 0,13-12 0,-1-1 16,-12 0-16,-1 1 0,1-1 0,-1-13 15,0 13-15,-12-13 0,-1 1 16,0-1-16,-13 0 0,0-13 0,0-1 16,-13 1-16,0-13 0,-1 13 0,-25-27 15,-1 14-15,-13 13 0,0-1 16,0 1-16,-13 0 0,0 13 0,0 0 15,-13 0-15,-14 0 0,0 14 0,1-1 16,-1 14-16,-26-1 0,13 1 16,-13-1-16,-13 14 0,13 0 15,-13 0-15,-1 13 0,27 0 0,-26 0 16,0 0-16,13 13 0,-14 13 0,1-12 16,13 12-16,13 0 0,-13 14 15,27 0-15,-14-1 0,13 14 0,14 14 16,-14-1-16,14 0 0,-1 26 0,14 1 15,0-14-15,0 27 0,0 0 16,26 0-16,-13 13 0,27-13 0,-1 13 16,14-27-16,13 1 0,13-14 0,14 14 15,12 0-15,28-14 0,-1 0 16,26-26-16,1 13 0,26-13 16,27-26-16,-1 13 0,14-14 0,13-13 15,26-13-15,1 0 0,-1 0 0,14-13 16,52 0-16,-12-14 0</inkml:trace>
  <inkml:trace contextRef="#ctx0" brushRef="#br0" timeOffset="28504.14">16523 7157 0,'0'-13'15,"13"13"16,1 0-15,-1 0-16,0 0 0,0 0 16,1 0-16,-1 0 0,0 0 0,0 0 15,1 0-15,-1 0 0,0 0 16,0 0-16,0 0 0,1 0 0</inkml:trace>
  <inkml:trace contextRef="#ctx0" brushRef="#br0" timeOffset="29891.99">12184 5027 0,'13'0'16</inkml:trace>
  <inkml:trace contextRef="#ctx0" brushRef="#br0" timeOffset="36181.87">20809 1984 0,'0'14'31,"0"-1"-15,0 0-16,0 0 15,0 1 1,14-1-1,-14 0 1,13-39 15,-13 12-31,0 1 16,0 0-16,0 0 16,13-1-1,-13 1-15,0 0 16,13 26 15,1 0-15,-14 1 15,13-28-15,0 1-16,-13 0 15,13 13-15,-13-13 16,0-1-16,14 14 0,-14-13 15,13 13 1,0 13 0,0-13-16,-13 14 15,13-1-15,-13 0 0,14 0 16,-14 1 0,13-14-16,-13 13 15,0 0-15,13-13 0,-13 13 16,13 1-1</inkml:trace>
  <inkml:trace contextRef="#ctx0" brushRef="#br0" timeOffset="36614.37">21233 2011 0,'13'-13'0,"0"-27"31,-13 27-31,0-1 16,-13 14-16,13-13 15,-13 40 1,0-27 0,13 13-16,-14 0 0,14 0 15,0 1-15,0 12 16,0-13-16,14-13 15,-14 14-15,13-14 16,-13 13-16,13-13 0,0 0 0,0 0 16,1 0-16,-1 13 15,0-26-15</inkml:trace>
  <inkml:trace contextRef="#ctx0" brushRef="#br0" timeOffset="37257.94">21550 1905 0,'-13'-13'15,"0"0"1,0 13-16,-1 13 15,1 0-15,0-13 16,13 13-16,-13-13 0,-1 13 16,14 1-16,-13-14 0,13 13 0,-13-13 15,13 13-15,-13 0 16,13 1-16,13-1 16,0-13-1,0 0 1,1 0-1,-1-13 1,0-1-16,0 14 16,-13-13-16,14 0 0,-14 0 15,13 13 1,-13-14-16,13 1 16,-13 26 30,13 1-30,-13-1-16,0 0 16,14-13-1,-14 13-15,13-13 32,13 0-17,-13 0 16,1 0-31,-1-13 16,0 13 0,0 0-16,1 0 15,-1 0 1,0 0 0</inkml:trace>
  <inkml:trace contextRef="#ctx0" brushRef="#br0" timeOffset="37481.51">22066 1799 0,'40'-13'16,"-27"0"0,0 13-16,1 0 15,-1 0-15,0 0 0</inkml:trace>
  <inkml:trace contextRef="#ctx0" brushRef="#br0" timeOffset="37652.01">21960 1971 0,'27'0'15,"-14"0"1,0-13-16,1 13 0,-1 0 0,13-13 16,-13 13-16,14-14 0,-14 14 0,14-13 15,-14 13-15</inkml:trace>
  <inkml:trace contextRef="#ctx0" brushRef="#br0" timeOffset="37970.07">22384 1627 0,'0'0'0,"13"-13"0,0 13 15,0 0-15,1 0 16,-1 0-16,0 13 16,0-13-16,-13 13 0,14 1 15,-1-1-15,-13 0 0,13 0 0,0 1 16,-13 12-16,13-13 0,-13 0 0,0 1 15,0-1-15,14 0 16,-14 0-16,-14 1 0,14-1 0,14-13 16,-14 13-16,0 0 0</inkml:trace>
  <inkml:trace contextRef="#ctx0" brushRef="#br0" timeOffset="38142.71">22423 1852 0,'0'-13'0,"40"0"15,-27 13 1,1-14-16,-1 14 0,0-13 16,0 13-16,0 0 0,1 0 0</inkml:trace>
  <inkml:trace contextRef="#ctx0" brushRef="#br0" timeOffset="38349.71">23072 1640 0,'0'-13'32</inkml:trace>
  <inkml:trace contextRef="#ctx0" brushRef="#br0" timeOffset="38712.54">23336 1535 0,'0'0'0,"-13"0"16,-13 0-1,12 13 1,14 0-16,-13-13 0,13 13 16,0 14-1,0-14-15,0 0 0,0 0 16,0 1-16,0 12 16,0-13-1,-13 1-15,0-1 16,-1-13-16,14 13 15,-13-13-15,0 0 0,0 13 0,0-13 16,13 13-16,-14-13 0,1 0 0</inkml:trace>
  <inkml:trace contextRef="#ctx0" brushRef="#br0" timeOffset="39577.75">23164 2051 0,'-13'26'16,"13"-13"-16,0 0 15,0 1-15,-13-14 0,13 13 16,13 0-16,-13 0 16,13 1-16,1-1 15,-1-13-15,0 13 16,0-13-16,0 0 0,1 0 0,-1 0 15,0 0-15,14 0 0,-14 0 16,0 0-16,0-13 0,0 13 0</inkml:trace>
  <inkml:trace contextRef="#ctx0" brushRef="#br0" timeOffset="39848.08">23429 2064 0,'13'-13'0,"27"26"31,-27 0-31,0-13 0,0 0 16,1 13-16,-14 0 0,13-13 16,0 14-16,0-14 0,1 13 0,-14 0 15,13 0-15,-13 1 16,0-1-16,0 0 15,-13-13-15,13 13 0,-14-13 0,14 13 16,-13-13-16,13 14 0,-13-1 16</inkml:trace>
  <inkml:trace contextRef="#ctx0" brushRef="#br0" timeOffset="40262.44">23852 2051 0,'13'0'15,"-26"0"-15,40 0 0,-14-14 0,13 14 0,-12 0 16,-1-13-16,0 13 15,0 0-15,0 0 0,1 0 0,-1 0 16,0 0-16,0 0 16,1 0-16,-1 0 0,0 13 15,-13 1 1,0-1-16,0 0 16,0 0-16,0 0 0,0 1 15,0-1-15,0 0 16,0 0-16,0 1 0,0-1 15,-13 0-15,13 0 16,-13-13-16,13 13 0,-14-13 16,1 0-16,13 14 0,-13-14 0,0 0 15,-1 13-15,1-13 16</inkml:trace>
  <inkml:trace contextRef="#ctx0" brushRef="#br0" timeOffset="40505.8">24315 2051 0,'-26'26'0,"52"-52"16,-65 52-16,25-13 0,1 0 15,0 1-15,13-1 16,0 0-16,0 0 15,13-13 1,-13 14-16,13-14 0,1 0 0,-1 0 16,0 0-16,13 13 0,-12-13 0,-1 0 15,0 0-15,14 0 0,-14 0 16,0 0-16,0 0 0,1 0 16</inkml:trace>
  <inkml:trace contextRef="#ctx0" brushRef="#br0" timeOffset="41305.89">24342 2434 0,'0'0'0,"13"0"31,-26 27-31,-1-14 16,14 0-16,-13 14 0,-13-1 0,13 0 15,-14 1-15,1-1 0,12 1 16,-12-1-16,-1-12 0,14 12 0,-13 0 16,13-12-16,-1-1 0,1 0 15,0 0-15,0-13 0,13 14 16,-14-1-16,1-13 0,0 13 15</inkml:trace>
  <inkml:trace contextRef="#ctx0" brushRef="#br0" timeOffset="41650.08">24064 2487 0,'0'0'0,"40"27"0,-27-14 0,0 0 16,13 0-16,1 14 0,-1-14 0,1 13 15,-1-12-15,14 12 0,-14-13 16,1 14-16,-1-14 0,1 0 0,-14 0 16,0-13-16,1 14 0,-1-1 15,0-13-15,0 13 0,0-13 0,1 13 16,-1 1 0</inkml:trace>
  <inkml:trace contextRef="#ctx0" brushRef="#br0" timeOffset="43533.28">21630 1971 0,'0'27'31,"0"-14"1,26-26-1,-13-1-16,1 28 17,-1-14-17,0 0-15,0 0 0,1 13 16,-1-13-16,0-13 0,0 13 16,14 0-16,-14 0 0,13-14 15,-12 14-15,-1 0 0,0-13 0</inkml:trace>
  <inkml:trace contextRef="#ctx0" brushRef="#br0" timeOffset="44625.75">20585 4114 0,'-14'27'31,"1"-14"-16,13 0-15,0 0 16,0 1-16,0-1 16,0 0-16,-13 0 15,13 1 1,0-54 31,0 27-47,0-1 0,13 1 15,-13-13-15,0 13 0,0-14 16,13 14-16,-13 0 0,0-1 0,0 1 16,14 0-16,-14 0 0,0-1 15,13 14 1,0 27-16,0-14 16,-13 0-16,14 1 0,-14-1 15,0 0-15,0 0 0,13 1 16,-13-1-16,0 0 0,13-13 15,-13 13-15,0 0 16,13-13 0,0-13-16,-13 0 15,14 0-15,-14 0 0,13-1 16,0 1-16,-13 0 16,13 13-16,-13-13 0,14 13 0,-1 0 15,0 13-15,0 0 16,-13 0-16,13 1 0,1-1 15,-14 0-15,13 0 16,-13 0-16,0 1 0,13-1 16,-13 0-16,13 0 15,1-13 1,-14 14-16,13-14 0</inkml:trace>
  <inkml:trace contextRef="#ctx0" brushRef="#br0" timeOffset="44928.78">21048 4220 0,'0'-26'16,"0"52"-16,13-52 0,-13 12 0,0 1 15,0 0-15,0 0 16,-13 26 15,-1-13-15,14 13-16,-13 0 0,13 1 16,0-1-16,0 0 15,0 0-15,13-13 0,1 0 16,-1 0-16,0 0 0,14 0 15</inkml:trace>
  <inkml:trace contextRef="#ctx0" brushRef="#br0" timeOffset="45395.97">21352 4141 0,'0'-13'16,"-27"13"-1,1 0-15,13 13 0,-1-13 16,1 13-16,0-13 0,0 13 15,0-13-15,13 13 0,-14-13 16,14 14-16,14-1 31,-1-13-31,13-13 16,-13 13-16,1-14 0,-1 1 16,-13 0-16,13 0 0,0 0 0,14-14 15,-14 1-15,-13-14 0,13 13 0,1 14 16,-1-13-16,-13 13 0,13-1 15,-13-12-15,13 26 0,-13-13 0,0-1 16,0 54 15,0-27-31,0 1 0,0-1 16,-13 0-16,13 0 0,0 0 16,0 1-16,0-1 0,0 0 0,13 0 0,-13 1 15,0-1 1,13-13-16,-13 13 0,14-13 0,-1 0 15,0 13-15,0-13 16,1 14-16,-14-1 16,13-13-16,-13 13 15,0 0-15,-13 0 16,13 1-16,0-1 16</inkml:trace>
  <inkml:trace contextRef="#ctx0" brushRef="#br0" timeOffset="45532.99">21577 3942 0,'-13'0'0,"-1"0"31,1 14-31</inkml:trace>
  <inkml:trace contextRef="#ctx0" brushRef="#br0" timeOffset="45890.01">21709 4048 0,'-26'13'16,"12"-13"-16,14 14 0,-13-14 15,13 13-15,0 0 0,-13 0 16,13 1-16,0-1 16,13-13-1,0 0-15,14-13 16,-14 13-16,0 0 0,1-14 16,-1 14-16,0-13 15,0 13-15,0-13 16,1 13-16,-1 0 15,0 13 1,0-13-16,1 0 16,-1 0-16,0 0 31,0 0-31,1 0 16,-1 0-16</inkml:trace>
  <inkml:trace contextRef="#ctx0" brushRef="#br0" timeOffset="46097.56">22344 4008 0,'27'0'0,"39"0"31,-40 0-31,-13 0 16,1 0-16</inkml:trace>
  <inkml:trace contextRef="#ctx0" brushRef="#br0" timeOffset="46245.89">22318 4154 0,'26'0'31,"-13"0"-15,1-13-16,12 13 0,-13 0 0,0-13 15,14 13-15,-14 0 0,14-14 16,-14 14-16</inkml:trace>
  <inkml:trace contextRef="#ctx0" brushRef="#br0" timeOffset="46463.99">22807 3836 0,'-13'27'31,"13"-14"-31,0 0 16,0 1-16,0-1 0,0 13 0,-13 1 15,13-1-15,0-13 0,0 1 0,0-1 16,0 0-16,0 0 15,0 1-15,0-1 0,0 0 16,13 0-16,-13 1 16</inkml:trace>
  <inkml:trace contextRef="#ctx0" brushRef="#br0" timeOffset="47354.57">23019 3850 0,'0'0'0,"13"0"0,0 0 0,0 0 15,1 0-15,-14 13 16,13-13-16,-13 13 0,0 0 15,0 1 1,0-1-16,0 0 0,0 0 16,0 1-16,0-1 15,0 0-15,0 0 16,13 0-16,-13 1 0,0-1 16,0 0-16,0 14 15,-13-14 1,13 0-16,-13-13 0,13 13 15,-14-13-15,1 14 0,0-14 0,13 13 16,-13-13-16,0 13 0,-1-13 16,1 0-16,13 13 0,-13-13 0,0 0 15</inkml:trace>
  <inkml:trace contextRef="#ctx0" brushRef="#br0" timeOffset="47691.11">23495 4035 0,'40'0'16,"-14"-13"0,-13 13-16,1 0 0,-1 0 15,0 0-15,0 0 0,1 0 16,-1 0-16,0 0 0,0 0 15</inkml:trace>
  <inkml:trace contextRef="#ctx0" brushRef="#br0" timeOffset="47933.31">23707 3916 0,'13'0'0,"27"13"16,-27 0 0,0-13-16,0 14 0,0-1 15,1 0-15,-1 0 0,-13 0 0,13 1 16,-13-1-16,0 13 0,0-12 0,0-1 16,0 0-16,-13 0 0,13 1 0,-13-1 15,-1 0-15,1 0 0,0 0 16,-13 1-16,12-1 0,1-13 15,0 13-15,0 0 0</inkml:trace>
  <inkml:trace contextRef="#ctx0" brushRef="#br0" timeOffset="48903.98">24276 3929 0,'0'27'31,"0"-14"-31,0 0 16,0 0-16,0 0 0,0 1 15,-14-1-15,14 0 0,0 0 0,0 1 16,-13-1-16,13 0 0,0 0 0,-13-13 16,13 14-16,0-1 0,0 0 15</inkml:trace>
  <inkml:trace contextRef="#ctx0" brushRef="#br0" timeOffset="49369.75">24328 3916 0,'0'0'16,"27"-13"-16,13 13 16,-27 13-16,0 0 15,-13 0-15,13 1 16,-13-1-16,0 0 0,0 0 0,-13 14 15,13-14-15,-13 13 0,0-12 0,-1-1 16,1 13-16,-13-12 0,12-1 16,1 0-16,0 0 0,0 0 0,0 1 15,-1-14-15,1 13 0,0-13 0,13 13 16</inkml:trace>
  <inkml:trace contextRef="#ctx0" brushRef="#br0" timeOffset="49587.92">24593 3995 0,'13'27'0,"-26"-54"0,26 67 15,-13-27-15,-13 0 0,13 1 16,0-1-16,0 0 0,-13-13 15,13 13-15,-13 1 0,13-1 0,-14 0 16,14 0-16,-13-13 0,13 13 16</inkml:trace>
  <inkml:trace contextRef="#ctx0" brushRef="#br0" timeOffset="49838.67">24672 3810 0,'-13'0'0,"0"13"32</inkml:trace>
  <inkml:trace contextRef="#ctx0" brushRef="#br0" timeOffset="50108.99">24778 3929 0,'0'27'16,"0"-14"-16,-13 0 15,13 0-15,0 0 0,-13 1 16,13-1-16,-13 0 0,-1 0 15,14 1-15,-13-1 0,0 0 0,0 0 16,-1-13-16,1 14 0,0-1 16,0 0-16,-1-13 15</inkml:trace>
  <inkml:trace contextRef="#ctx0" brushRef="#br0" timeOffset="50538.05">24884 3956 0,'0'0'0,"-13"26"32,0-13-32,13 0 15,-14 1-15,1-1 0,13 0 16,-13 0-16,13 1 0,0-1 15,0 0 1,13-13-16,0 0 16,1 0-1,-1 0-15,0 0 16,0 0 0,1 13-1,-1-13-15,0 0 16,0-13-16,0 13 31,1-13-31,-14 0 16,0-1-1,0 1-15,-14 0 16,1 26 0,0-13-16,-13 0 0,12 13 15,1 1-15,-13-1 0,-1 0 16</inkml:trace>
  <inkml:trace contextRef="#ctx0" brushRef="#br0" timeOffset="50927.89">24567 4524 0,'0'-92'32,"13"65"-32,-13 14 0,13 0 0,0-14 15,0 27-15,1-13 0,-1 0 16,0 0-16,-39 39 31,12-13-31,-12 1 16,0-1-16,-1 0 0,1 0 0,12 1 15,1-1-15,-13-13 0,26 13 0,-13-13 16,-1 13-16,1 0 16,26-13-1,1 0-15,-1 0 0,13 0 16,-13 0-16,14 0 0,-1 0 16,-12 0-16,25 0 0,-26 0 15,1 14-15,-1-14 0,0 0 0,0 13 16,1-13-16,-14 13 15</inkml:trace>
  <inkml:trace contextRef="#ctx0" brushRef="#br0" timeOffset="51570.74">24315 4802 0,'-26'13'31,"26"1"-15,0-1-16,-13-13 15,13 13 1,-14 0 15,14 1 1,0-1 30,0-40-15,14 27-47,-14-13 0,0 0 16,0 0-16,13 13 0,-13-14 0,13 1 15,-13 0-15,13 0 0,0-1 16,1 1-1,-1 13-15,0 0 16,-13 13-16,13-13 0,-13 14 16,14-14-16,-14 13 15,0 0-15,0 0 0,0 1 16,-14-14-16,14 13 0,-13-13 0,0 13 16,0 0-16,-1-13 0,1 14 15,0-1-15,0-13 0,0 0 16,-1 13-16,1-13 0,0 0 15</inkml:trace>
  <inkml:trace contextRef="#ctx0" brushRef="#br0" timeOffset="51874.11">24606 4776 0,'13'0'16,"14"0"-1,-14 13 1,0 0 0,-13 0-16,14 1 15,-14-1-15,0 0 16,-14 0-16,14 1 15,0-1-15,0 0 0,-13 0 16,13 0-16,-13-13 0,0 14 0,-1-1 16,1-13-16,0 0 0,0 13 15,0-13-15,-1 13 0,1-13 16,0 0-16</inkml:trace>
  <inkml:trace contextRef="#ctx0" brushRef="#br0" timeOffset="52007.91">24580 5001 0,'-13'0'16,"-1"0"0</inkml:trace>
</inkml:ink>
</file>

<file path=ppt/ink/ink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38:04.722"/>
    </inkml:context>
    <inkml:brush xml:id="br0">
      <inkml:brushProperty name="width" value="0.05292" units="cm"/>
      <inkml:brushProperty name="height" value="0.05292" units="cm"/>
      <inkml:brushProperty name="color" value="#0070C0"/>
    </inkml:brush>
  </inkml:definitions>
  <inkml:trace contextRef="#ctx0" brushRef="#br0">9657 2593 0,'14'0'31,"-14"-13"-31,-27 13 31,14 0-31,0 0 16,-1 0-16,1 0 0,0 0 0,0 0 16,-14 0-16,14 0 0,0 13 15,0-13-15,-1 0 0,1 0 0,0 13 16,0-13-16,-1 13 0,1 1 16,13-1-16,-13-13 15,13 13-15,0 0 0,-13 1 16,13 25-16,-14 1 15,14-27-15,-13 14 0,13-1 16,0 1-16,-13-1 0,13 0 0,0 1 16,0-1-16,-13 1 0,13-14 0,0 13 15,0 1-15,0-14 0,0 0 0,-13 14 16,13-14-16,0 0 0,0 1 16,0 12-16,0-13 0,0 0 15,-14 1-15,14-1 0,0 0 16,0 0-16,0 1 15,0-1 1,14 0-16,-1-13 0,-13 13 16,13-13-16,0 0 0,0 14 15,1-14-15,-1 0 0,0 0 16,0 13-16,1-13 0,-1 0 0,0 0 16,0 0-16,1 0 0,-1 0 15</inkml:trace>
  <inkml:trace contextRef="#ctx0" brushRef="#br0" timeOffset="1095.83">450 3784 0,'0'0'0,"13"13"16,0-13-16,0 0 0,14 0 0,-1 0 15,1 0-15,26 0 0,0 0 0,0 0 16,0 0-16,26-13 0,-13 13 0,13 0 15,1 0-15,-14 0 0,13 0 16,-13-14-16,-13 14 0,14 0 0,-15 0 16,1 0-16,0 0 0,0 0 0,0 0 15,-13 0-15,-14 0 0,14 0 16,-14 0-16,14 0 0,-13 0 16,-14 0-16,13 0 0,1 0 0,-14 0 15,0 0-15,0 0 0,1 0 16,-1 0-16,0 0 0,0 0 15,-39-13 32,13 13-31</inkml:trace>
  <inkml:trace contextRef="#ctx0" brushRef="#br0" timeOffset="7688.1">3572 3281 0,'26'-13'63,"-12"13"-47,-1 0-1,0 0 1,0 0-1,0-14 1,-13 28 15,14-1 1,-14 0-32,0 0 15,0 1-15,0-1 16,0 0-1,0 0-15,0 0 0,0 1 0,0-1 16,0 0-16,0 0 0,0 14 0,0-14 16,0 0-16,0 0 0,0 14 15,0-14-15,0 0 0,0 1 0,0-1 16,0 0-16,0 0 0,13 1 16,-13-1-16,0 0 0,0 0 0,0 0 15,0 1-15,0-1 0,0 0 16,13 0-16,-13 1 15,0-1 1,0 0 0,0 0 15,-13-13-15,0 0-1,-1 0 1,1 0-16,0 14 15,0-14-15,0 0 0,-14 0 16,14 0-16,0 0 16,-1 13-16,1-13 0,-13 0 0,12 0 15,1 13-15,0-13 0,0 0 16,0 0-16,-1 13 0,1-13 16,0 0-16,0 0 15,-1 0-15,1 0 0,13 13 16,-13-13-1,0 14 32,26-41 47,-13 14-78</inkml:trace>
  <inkml:trace contextRef="#ctx0" brushRef="#br0" timeOffset="12481.78">4683 3757 0,'0'-13'15,"0"0"1,13 39 31,-13-13-47,0 1 0,14-1 15,-14 0-15,0 0 16,13 0-16,0 1 0,-13 12 0,13-13 16,0 1-16,-13 12 0,14-13 0,-1 1 15,0-1-15,0 13 0,1-13 0,12 1 16,-13-1-16,14 0 16,-14 0-16,13-13 0,-12 14 0,12-14 15,1 13-15,-1-13 0,-13 13 0,14-13 16,-14 0-16,13 0 0,1 13 15,-1-13-15,-12 0 0,12 0 0,1 0 16,-14-13-16,13 13 0,1 0 0,-1 0 16,-13-13-16,14 13 0,-1 0 15,1-13-15,-14 13 0,13-14 0,1 1 16,-1 0-16,-12 13 0,25-27 0,-12 27 16,-1-13-16,14 0 0,-14 0 15,14 0-15,-14-1 0,14 1 0,-13 0 16,12 0-16,-12 13 0,-1-14 15,14 1-15,0 13 0,-14-13 0,14 0 16,-14 13-16,14-14 0,0 14 16,-14-13-16,14 13 0,-1-13 0,1 13 15,-13-13-15,25 13 0,-12-13 0,0-1 16,0 14-16,12-13 0,-12 13 16,13-13-16,-13 0 0,13 13 0,-14-14 15,14 14-15,0-13 0,-13 13 0,13 0 16,0-13-16,-14 13 0,1 0 15,0 0-15,-14 0 0,14 0 0,0 0 16,-14 0-16,14 0 0,-14 13 0,14-13 16,-14 0-16,1 0 15,12 13-15,-12-13 0,13 14 0,-1-14 16,-12 13-16,-1 0 0,1-13 0,65 27 16,-65-14-1,-1-13-15,1 13 0,-1 0 0,-13-13 16,14 13-16,-1 1 0,-12-14 0,-1 13 15,13-13-15,-13 13 0,1 0 16,-1-13-16,0 14 0,0-14 16,1 13-16,-1 0 0,0-13 15,-13 13-15,13 1 0,0-14 0,-13 13 16,14-13-16,-14 13 0,13 0 16,-13 0-1,13-13-15,-13 14 16,13-14-1,14-14 17,-14 14-17,-13-13-15,13 13 0,1-13 16,-1 0-16,0 0 0,0 13 16,0-14-16,1 14 0,-1-13 15,13 13-15,-12-13 0,12 0 16,1 13-16,-1-14 0,0 14 0,1-13 15,13 13-15,-14-13 0,14 0 16,-1 13-16,1 0 0,0-14 0,-14 14 16,14 0-16,13-13 0,-13 13 0,-14 0 15,14 0-15,-14 0 0,27 0 16,-13 0-16,13 0 0,-14 0 0,1 0 16,13 0-16,-13 0 0,-1 0 0,1 0 15,-14 13-15,27-13 0,-13 0 0,13 0 16,-13 0-16,13 0 0,0 0 15,-1 0-15,1 0 0,0 0 0,0 0 16,0 0-16,0 0 0,0 0 16,-13 14-16,13-14 0,-1 0 15,1 0-15,0 0 0,0 0 0,-13 13 16,13-13-16,0 0 0,-14 0 0,1 13 16,-13-13-16,12 0 0,-12 0 15,12 0-15,-12 0 0,-1 0 0,1 0 16,-1 0-16,-13 0 0,14 0 0,-1 0 15,-12 0-15,12 0 0,-13-13 16,1 13-16,12 0 0,-13-13 16,0 13-16,1-14 0,-1 14 15,0 0-15,-13-13 0,13 13 0</inkml:trace>
  <inkml:trace contextRef="#ctx0" brushRef="#br0" timeOffset="13557.02">12078 3744 0,'0'26'0,"13"-26"15,-13 14-15,14-14 0,-1 13 0,0 0 16,0-13-16,1 13 0,-1 0 16,0 1-16,14-1 0,-14 0 0,13 0 15,1 1-15,-14-1 0,13-13 0,1 26 16,12-26-16,-12 14 0,-1-1 16,1-13-16,-1 0 0,1 13 0,-1-13 15,14 0-15,-14 0 0,1 0 0,-1 0 16,1 0-16,-1-13 0,1 13 15,-1 0-15,1 0 0,-1-13 0,1 13 16,-1 0-16,0-14 0,-12 14 0,12 0 16,1-13-16,-1 13 0,1-13 15,-1 0-15,0 13 0,1 0 16,-1-14-16,-12 14 0,12-13 0,0 13 16,1-13-16,-1 13 0,1 0 0,-1 0 15,1 0-15,-1-13 0,1 13 16,-1 13-16,1-13 0,-1 0 0,1 0 15,-1 0-15,0 13 0,1-13 0,-1 13 16,1-13-16,-1 0 0,1 14 16,-1-14-16,14 0 0,-14 0 15,1 13-15,12-13 0,-12 0 0,-1 0 16,14 0-16,-13 0 0,12 0 0,-12-13 16,26 13-16,-14-14 0,1 14 15,13-13-15,-13 0 0,-1 13 0,1-13 16,0-1-16,-1 14 0,-12-13 0,-1 0 15,-13 13-15,14-13 0,-14 13 16,-13-13-16</inkml:trace>
  <inkml:trace contextRef="#ctx0" brushRef="#br0" timeOffset="14553.41">278 4366 0,'26'0'0,"-12"13"0,12-13 15,0 0-15,14 0 0,13 0 0,0 0 16,26 0-16,-13 0 0,14 0 15,-1 13-15,-13-13 0,14 0 0,-1 0 16,0 0-16,14 0 0,-27 0 0,14 0 16,-14 0-16,-13 0 0,0 0 0,0 0 15,-1-13-15,-12 13 0,0 0 16,-14 0-16,1 0 0,-1 0 16,1 0-16,-14 0 0,0 0 0,14 0 15,-14 0-15,0 0 0,0 0 16,0 0-1,-13 13-15</inkml:trace>
  <inkml:trace contextRef="#ctx0" brushRef="#br0" timeOffset="15936.17">7435 3757 0,'13'53'32,"-13"-40"-32,-13 14 0,13 12 0,0 1 15,0-13-15,-13 12 0,13 1 16,0-14-16,0 1 0,-14-1 0,14-12 16,0 12-16,-13 0 0,13-12 0,0-1 15,0 13-15,0-12 0,-13-1 16,13 0-16,0 0 0,0 0 15,0 1-15</inkml:trace>
  <inkml:trace contextRef="#ctx0" brushRef="#br0" timeOffset="16496.99">7408 3797 0,'-39'13'15,"25"0"-15,1-13 0,0 13 16,13 1-16,-13-14 0,-1 13 15,1 0-15,0 0 0,0 1 16,0-1-16,-1 0 16,1 0-16,0-13 15,39-26 17,-12 13-17,-1-1-15,0 1 0,0 13 0,0-13 16,1 0-16,-1-1 0,13 1 0,-12 13 15,-1-13-15,0 13 0,0 0 16,1 0-16,-1 0 0,0 0 0,0 13 16,0-13-16,1 13 0,-1 1 0,0-14 15,0 13-15,1 0 0,-1 0 16,0-13-16,0 14 0,1-1 16,-1 0-16,0-13 0,0 13 0</inkml:trace>
  <inkml:trace contextRef="#ctx0" brushRef="#br0" timeOffset="29705.02">9776 6112 0,'-13'-13'16,"53"13"0,-14 0-16,1 0 0,-1 13 15,27-13-15,0 0 0,0 0 0,26 13 16,-13-13-16,14 0 0,12 13 0,-12-13 16,12 0-16,-12 14 0,12-14 15,-12 13-15,-1-13 0,1 0 0,-1 13 16,-13-13-16,0 0 0,-26 13 0,13-13 15,0 0-15,-27 13 0,1-13 16,-1 0-16,1 0 0,-1 0 16,-13 0-16,0 14 0,1-14 0,-1 0 15,0 0-15,0 0 0,1 0 16,-1 0 0,0 0-16,0 0 15,-13 13 1,14-13-1,-1 0 17</inkml:trace>
  <inkml:trace contextRef="#ctx0" brushRef="#br0" timeOffset="30488.14">13137 6099 0,'66'13'16,"-40"-13"-16,27 0 0,-13 0 16,-1 13-16,14-13 0,-13 0 15,13 0-15,-13 13 0,13-13 0,-14 0 16,14 14-16,-26-14 0,12 0 15,-12 13-15,12-13 0,-12 0 0,-14 0 0,14 0 16,-14 0-16,0 13 0,0-13 16,1 0-16,-41 13 31,14-13-31,-27 0 16,14 0-16</inkml:trace>
  <inkml:trace contextRef="#ctx0" brushRef="#br0" timeOffset="32015.79">794 6813 0,'26'13'0,"-13"-13"0,1 0 0,12 0 16,14 13-16,-1-13 0,14 0 0,27 0 15,-1 0-15,14 0 0,13 0 16,-14 0-16,54 0 0,-14 0 0,14 0 15,-1 0-15,14 0 0,0 0 0,-1 0 16,-12 0-16,13 0 0,-1 0 16,1 0-16,-13 0 0,-1 14 15,1-14-15,-41 0 0,1 0 0,-13 0 16,13 0-16,-27 0 0,14 0 16,-14 0-16,-26 0 0,13 0 0,-13 0 15,0 0-15,-13 0 0,-14 13 0,14-13 16,-27 0-16,14 0 0,-1 0 15,-13 0-15,0 0 0,1 0 16,-1 0-16,0 0 0,0 0 0,14 0 16,-14 0-16,0 0 31,-39-13 16</inkml:trace>
  <inkml:trace contextRef="#ctx0" brushRef="#br0" timeOffset="35912.22">7051 5278 0,'13'27'31,"-13"-14"-15,14 0-16,-14 1 0,13-1 16,-13 0-16,0 0 0,13-13 0,-13 14 15,13-1-15,1 0 0,-1 0 16,0 0-16,0-13 15</inkml:trace>
  <inkml:trace contextRef="#ctx0" brushRef="#br0" timeOffset="36150.06">7488 5265 0,'0'0'0,"-14"-13"15,1 13 1,0 13-16,0-13 0,0 13 15,-14 1-15,14-1 0,-14 13 0,1 1 16,-1-1-16,1-12 0,0 12 0,12 0 16,-12 1-16,13-14 0,-1 0 15,1 14-15,-13-14 0,13 0 0,13 14 16,-14-14-16,1 0 0,0 0 0,0 1 16,13-1-16,-14 0 15</inkml:trace>
  <inkml:trace contextRef="#ctx0" brushRef="#br0" timeOffset="36451.44">7858 5146 0,'-13'27'15,"13"-14"-15,-13 0 0,13 0 16,-14 1-16,1 12 0,13-13 16,-13 27-16,0-14 0,0 1 0,-1-1 15,1 1-15,0-14 0,0 13 0,-1-12 16,1 12-16,0 1 0,13-14 15,-13 0-15,-1 0 0,14 0 0,-13 1 16,13-1-16,0 0 0</inkml:trace>
  <inkml:trace contextRef="#ctx0" brushRef="#br0" timeOffset="36964.5">8149 5622 0,'13'-26'31,"-13"13"-31,14-1 0,-14 1 16,13 0-16,-13 0 0,13 0 0,-13-1 16,13 1-16,1 0 0,-1 0 15,-13-1-15,13 14 16,-13-13-16,13 13 0,0 0 16,1 13-16,-1 1 15,-13-1 1,0 0-16,13-13 0,-13 13 0,0 1 15,13-1-15,1 0 16,-1-13 0,0 0-1,0-13-15,1 0 16,-14-1-16,13 14 0,-13-13 0,13-13 16,-13 12-16,13 1 0,-13 0 15,13 0-15,-13-14 0,14 14 0,-14 0 16,13 0-16,-13-1 0,0 1 0,13 13 15,-13-13-15,0 0 0,13-1 16,-13 1 0,14 13-1</inkml:trace>
  <inkml:trace contextRef="#ctx0" brushRef="#br0" timeOffset="40525.01">5477 6588 0,'-27'13'16,"14"14"0,0-27-16,13 13 0,0 0 15,0 1-15,0-1 16,13 0-16,-13 0 0,13 0 0,-13 1 16,14-1-16,-1-13 0,0 13 0,-13 0 15,13 1-15,1-14 0,-1 13 16,0 0-16,13-13 0,-12 13 0,-1-13 15,0 13-15,0-13 0,1 0 0,-1 14 16,0-14-16,0 0 0,1 0 16,12 13-16,-13-13 0,14 0 0,-14 0 15,13 0-15,1-13 0,-1 13 16,1 0-16,-1 0 0,1-14 16,12 14-16,-12 0 0,-1-13 0,1 13 15,-1 0-15,-13-13 0,14 13 0,-1 0 16,-12-13-16,12 13 0,-13 0 15,14-13-15,-14 13 0,13 0 0,-12-14 16,12 14-16,-13 0 0,14-13 0,-14 13 16,0 0-16,14-13 0,-14 13 0,13 0 15,-12-13-15,-1 13 0,13 0 16,-12-14-16,12 14 0,-13 0 0,14-13 16,-14 13-16,13 0 0,-12 0 0,-1 0 15,13 0-15,-12-13 16,-1 13-16,13 0 0,-13 13 0,14-13 15,-1 0-15,-12 0 0,12 0 0,0 0 16,1 13-16,-1-13 0,1 0 16,-1 14-16,1-14 0,-1 13 0,14 0 15,-14 0-15,1-13 0,-14 14 0,14-1 16,-1 0-16,-13-13 16,40 26-16,-40-26 0,14 27 15,-14-27-15,0 0 0,0 13 16,1-13-16,-1 13 0,0-13 0,0 14 15,14-14 1,-14 0 0,0-14-16,1 14 0,-1 0 0,0-13 15,0 13-15,0-13 0,14 0 16,-1 13-16,-12-14 0,12 1 0,1 13 16,-1 0-16,0-13 0,14 13 0,-13 0 15,12 0-15,1 0 0,13 0 0,-13 0 16,13 13-16,-14-13 0,14 0 15,-13 13-15,13-13 0,-14 14 0,14-14 16,-13 0-16,13 13 0,-13-13 0,13 0 16,-1 0-16,-12 13 0,13-13 15,-13 0-15,-14 0 0,14 0 0,-14 0 16,1 0-16,-1 0 0,1 0 16,-1 0-16,1-13 0,-14 13 0,27-13 15,-1-1-15,-12 1 0,12 0 16,-12-13-16,13 12 0</inkml:trace>
  <inkml:trace contextRef="#ctx0" brushRef="#br0" timeOffset="41966.92">11192 6628 0,'-13'0'0,"-1"13"0,14 0 16,0 1-16,0-1 16,0 0-16,0 0 15,14 0-15,-1 1 16,-13-1-16,13-13 0,0 13 15,1-13-15,-1 13 0,0-13 16,0 0-16,0 0 0,1 0 16,-1 0-16,0 14 0,0-14 15,1 0-15,-1-14 0,0 14 16,0 0-16,1 0 0,-1 0 0,0-13 16,0 13-16,0 0 0,1-13 15,-1 13-15,0-13 0,0 13 16,1-14-16,-1 14 0,0 0 0,0-13 15,1 13-15,-1 0 0,0 0 16,0-13-16,0 13 0,1 0 0,-1 0 16,0 0-16,0 0 0,1 0 0,-1 0 15,0 13-15,0-13 16,1 0 0,-1 13-16,0-13 15,0 0 1,0 14-1,1-14 1,-1 0 47,-13-14-17,13 14-30,0 0 0,-13-13-1,14 13-15,-1 0 16,0 0-16,0-13 16,0 13-16,1 0 0,12 0 15,-13 0 1,-13 13-16,14-13 0,-1 13 15,0 1-15,0-14 16,-13 13-16,14-13 0,-14 13 0,13-13 16,0 13-16,0-13 15,-13 14-15,13-14 0,1 0 0,-1 0 16,0 0-16,0 0 0,1-14 16,-1 14-16,0 0 0,0 0 15,1-13-15,-1 13 0,0 0 0,0-13 16,0 13-16,1-13 0,-1 13 15,0-14 1,0 14-16,1 0 16,-1 0-16,0 0 15,0 14-15,0-14 0</inkml:trace>
  <inkml:trace contextRef="#ctx0" brushRef="#br0" timeOffset="43125.55">10821 6985 0,'0'0'0,"27"26"31,-27-12-31,0-1 16,13 0-16,-13 0 0,0 1 16,0-1-16,13 0 0,-13 0 15,0 1-15,14-14 0,-14 13 0,13-13 16,0 0-16,0 13 0,1-13 0,-1 0 15,0-13-15,0 13 0,14 0 16,-14-13-16,0-1 0,0 14 0,14-13 16,-14 0-16,0 0 0,14-1 15,-27 1-15,13 13 16,-13-13-16,13 0 16,-39 26-1,12-13-15,1 13 16,-13 0-16,13 14 0,-1-14 15,-12 0-15,13 14 0,-14-1 0,14-13 16,-13 14-16,12-14 0,1 14 16,0-1-16,0-13 0,-1 0 0,1 14 15,0-14-15,0 0 0,-1 1 0,14-1 16,-13 0-16,13 0 0,0 1 16</inkml:trace>
  <inkml:trace contextRef="#ctx0" brushRef="#br0" timeOffset="43389.4">11351 7025 0,'-27'13'16,"27"0"-1,-13 0-15,0 1 0,-1-1 0,1 13 16,-13 1-16,13 12 16,-1-12-16,-12-1 0,13 1 0,-1-1 15,-12 1-15,13-1 0,-1-13 0,14 1 16,-13-1-16,13 0 0,0 0 16,-13-13-16,13 14 0,13-1 15</inkml:trace>
  <inkml:trace contextRef="#ctx0" brushRef="#br0" timeOffset="43807.32">11443 7422 0,'13'-53'16,"-13"39"0,0 1-16,0 0 0,14 0 15,-14-1-15,13 1 16,0 0-16,0 26 47,1 0-47,-14 1 15,13-14-15,0 0 16,0 0 0,1 0-16,-14-14 15,13 14-15,-13-13 0,13 13 0,-13-13 16,13 0-16,-13 0 0,13-1 0,-13 1 16,14 0-16,-14 0 15,0-1-15,13 14 0,-13-13 0,13 0 0,-13 0 16,13 13-1</inkml:trace>
  <inkml:trace contextRef="#ctx0" brushRef="#br0" timeOffset="44355.1">10702 6800 0,'0'0'16,"0"39"-16,-13-25 0,13 12 0,-13 1 15,13 12-15,-13 1 0,13 13 0,-14-13 16,1 13-16,0 13 0,0-13 0,0-1 15,-1-12-15,14 0 16,-13 0-16,0-1 0,0 1 0,13-14 0,-14 1 16,14-1-16,-13-12 0,13-1 15,0 0-15,0 0 0,0 0 16</inkml:trace>
  <inkml:trace contextRef="#ctx0" brushRef="#br0" timeOffset="45012.38">10742 6720 0,'53'0'15,"-106"0"-15,132 0 0,-52 0 16,13 0-16,13 0 0,-1 0 0,28 0 0,-1 0 16,1 0-16,-1 0 0,14 0 0,-1 14 15,1-14-15,-1-14 16,-12 28-16,12-14 0,-12-14 0,-1 28 0,0-14 16,-12 0-16,-14 0 0,-1 0 0,1 0 15,-13 0-15,0 0 16,-14 0-16,1 0 0,-14 13 0,13-13 15,-12 0-15,-1 0 0,0 0 0,0 13 16,0-13-16,1 13 16,-14 1-16,0-1 0,0 0 15,0 13-15,0-12 0,0 12 0,0-13 16,0 14-16,0-1 0,0 14 0,0 0 16,0-14-16,0 14 0,0-14 15,-14 14-15,14-14 0,14 14 0,-14-13 16,0-1-16,0 0 0,0 1 0,0-1 15,0-12-15,0 12 0,0-13 16,0 14-16,0-14 0,0 0 16,0 0-16,0 1 0,0-1 0,0 0 15,0 0-15,-14-13 0,14 14 16,-13-1-16,0 0 0,0-13 0,0 13 16,-14-13-16,14 0 0,-14 14 0,1-14 15,-1 0-15,-12 0 0,-14 13 0,0-13 16,0 0-16,-13 13 0,-13-13 15,-1 13-15,1-13 0,-1 13 0,1-13 16,-14 14-16,14-14 0,0 13 0,-1 0 16,14-13-16,0 13 0,0 1 15,26-14-15,-13 0 0,14 13 0,-14-13 16,26 13-16,-12-13 0,12 0 16,1 0-16,-1 0 0,14 0 15,0 0-15,-14 0 0,14 0 0</inkml:trace>
  <inkml:trace contextRef="#ctx0" brushRef="#br0" timeOffset="46567.25">4485 7580 0,'92'0'0,"-184"0"0,237 0 0,-79 0 15,14-13-15,12 13 16,1 0-16,0 0 0,-1-13 0,1 13 16,-1 0-16,1 0 0,-14 0 0,14 0 15,-14 0-15,1 0 0,-27 0 16,13 0-16,-13 0 0,-14 0 0,1 0 15,0 0-15,-14 0 0,-13 0 0,14 0 16,-14 0-16,0 0 0</inkml:trace>
  <inkml:trace contextRef="#ctx0" brushRef="#br0" timeOffset="46863.34">4630 7805 0,'106'-13'16,"-27"13"-16,1 0 0,264-13 15,-252 0-15,-12 13 16,-14 0-16,13 0 0,-13 0 15,-13 0-15,0 0 0,0 0 16,0 0-16,-13 0 0,-14 0 0,1 0 16,-1 0-16,-13 0 0,1 0 15,-1 0-15,0 0 0,-13 13 0,13-13 16</inkml:trace>
  <inkml:trace contextRef="#ctx0" brushRef="#br0" timeOffset="88775.32">16550 10835 0,'-80'39'0,"67"-39"16,13 14-1,0-1 1,13-13-16,1 13 0,-1-13 16,0 13-16,0-13 15,14 14-15,-14-14 0,0 13 0,0 0 16,1-13-16,-1 13 0,0-13 0,-13 13 15,13 1-15,-13-1 0,0 0 16,0 0-16,-13-13 0,0 14 16,0-1-16,-1 0 0,1 0 0,-13-13 15,-1 13-15,14-13 0,-13 14 16,12-14-16,1 0 0,-13 0 0,12 0 16,1 0-16,0 0 0,0 0 0,-1 0 15,1 0-15,0-14 16</inkml:trace>
  <inkml:trace contextRef="#ctx0" brushRef="#br0" timeOffset="89084.46">16841 10795 0,'0'26'16,"0"-12"0,0-1-16,0 0 0,0 0 15,0 1-15,0-1 0,0 13 0,0-12 16,0-1-16,0 0 16,13 0-16,-13 0 0,13 1 0,-13-1 15,13 0-15,1 0 0,-1 1 0,0-14 16,-13 13-16,13-13 0,1 13 15,-1-13-15,0 13 0,0-13 16,0 0-16,1 0 0,-14-13 16,13 13-16</inkml:trace>
  <inkml:trace contextRef="#ctx0" brushRef="#br0" timeOffset="89256.2">16761 11046 0,'0'0'0,"0"-13"16,14 13 0,-1-13-16,13 13 15,-12 0-15,-1-13 0,13 13 0,1-14 16,-1 14-16,1-13 0,12 0 0,-12 13 16,12-13-16,-12 13 0,-14 0 15,14 0-15</inkml:trace>
  <inkml:trace contextRef="#ctx0" brushRef="#br0" timeOffset="89993.18">17198 11073 0,'26'-13'0,"-12"-1"16,-14 1-1,13 13-15,-13-13 0,0 0 16,13-1-16,-13 1 16,0 0-16,-13 13 15,0 13 1,-1-13-16,14 13 15,-13 1-15,0-1 0,13 0 16,0 0-16,-13-13 0,13 14 16,13-1-16,-13 0 15,13-13-15,0 0 0,14 0 16,-14 0 0,0-13-16,1 0 0,-1-1 0,0 14 15,0-13-15,0 0 0,1 0 16,-1-14-16,0 14 15,-13 0-15,13 0 0,-13-1 16,14 1-16,-14 40 31,0-14-31,0 0 0,0 0 0,0 14 16,0-14-16,0 13 0,-14 1 16,14-1-16,0 1 0,0-1 0,0-13 15,0 14-15,0-1 0,-13-12 0,13 12 16,0-13-16,0 0 0,0 1 15,-13-1-15,13 0 16,-13 0-16,13-39 16,0 13-1,0-14-15,0 14 0,0-13 16,13-1-16,-13 1 0,13 12 0,-13-12 16,13 13-16,-13-14 0,14 27 0,-14-13 15,13 0-15,0 13 0,0 0 16,0 0-1,-13 13-15,0 0 16,0 0-16,0 1 16,0-1-1,0 0-15,14-13 32</inkml:trace>
  <inkml:trace contextRef="#ctx0" brushRef="#br0" timeOffset="90217.35">17634 11007 0,'0'-14'15,"0"54"17,0-27-17,0 1-15,0-1 16,-13-13-16,13 13 0,0 0 0,-13 0 15,13 1-15,-13-14 16,0 13-16,-1-13 16</inkml:trace>
  <inkml:trace contextRef="#ctx0" brushRef="#br0" timeOffset="90743.96">18283 11179 0,'-14'-14'15,"-12"-25"1,13 25-16,13 1 16,-13-13-16,13-1 0,0 1 0,-14-1 15,14 1-15,14 0 0,-14-14 16,13 13-16,0-12 0,0 25 0,0-12 15,1 13-15,-1 0 0,0 13 0,-13-14 16,13 14-16,1 0 0,-1 14 16,-13-1-16,-13 0 15,13 0-15,-14 0 0,-12 14 16,-1-1-16,-12 1 0,12-1 0,1 1 0,-1-14 16,-12 13-16,26-12 0,-14-1 0,14 0 15,0 0-15,-1 1 16,14-1-16,14-13 15,-1 0 1,0 0-16,0 0 0,14 0 0,-14-13 16,27 13-16,-14 0 0,1-14 15,-1 14-15,14-13 0,-14 13 0,1-13 16,-1 13-16,-13-13 0,14 13 0,-14 0 16,0 0-16,0-14 0</inkml:trace>
  <inkml:trace contextRef="#ctx0" brushRef="#br0" timeOffset="92076.16">18891 10861 0,'-13'40'31,"13"-27"-31,0 0 0,0 1 15,0-1-15,0 0 0,0 0 16,0 0-16,0 1 0,0-1 0,0 0 16,0 0-16,0 1 15,0-1 1,0-40 15,13 14-31,-13 0 0,13 0 16,-13-1-16,14 1 15,-1 0-15,0 13 0,-13-13 16,13 13-16,1 0 0,-1 0 16,0 0-1,-13 13-15,13-13 0,1 0 0,-14 13 16,13 0-16,-13 1 16,13-14-16,-13 13 0,0 0 15,13-13-15,-13-13 47,0 0-47,13 13 0,-13-14 0,14 1 16,-1 0-1,0 13-15,0 0 16,1 0-16,-1 0 16,-13 13-16,13-13 0,0 13 15,1 1 1,-1-1-1,0-13-15,0 0 16,0 0 0</inkml:trace>
  <inkml:trace contextRef="#ctx0" brushRef="#br0" timeOffset="92925.14">19381 11020 0,'0'-13'0,"0"-1"16,0 1-1,-13 26 32,13 1-47,0-1 16,-14 0-16,14 0 15,0 1-15,0-1 0,14 0 16,-1-13-16,-13 13 16,13-13-16,0 0 15,0 0-15,1 0 0,-1-13 0,0 13 16,0-13-16,1 13 0,-1-13 0,0-1 16,0 1-16,0 0 0,1-14 15,-1 14-15,-13-13 0,13 13 0,0-14 16,-13 1-16,14-1 0,-14 14 0,0-14 15,13 1-15,-13 13 0,0 0 0,0-1 16,13 1-16,-13 0 16,0 0-16,0-1 0,0 1 15,-13 40 32,13-14-47,0 0 0,0 0 0,0 1 16,0-1-16,0 0 0,-13 0 0,13 0 15,0 14-15,0-14 0,13 0 16,-13 1-16,0-1 0,0 0 0,0 0 16,0 1-16,13-1 0,-13 0 15,13 0-15,-13 0 16,14-13-16,-1 14 16,0-28-1,0 14-15,-13-13 0,13 0 16,-13 0-16,14 0 15,-14-1-15,13 1 0,-13 0 16,13 0-16,-13-14 0,13 14 0,-13 0 16,0-1-16,14 1 0,-14 0 0,0 0 15,13 0 1,-13-1-16,0 41 47,0-14-32,0 0 1,0 0-16,0 1 0,0-1 16,0 0-16,0 0 15,0 1-15,0-1 0,0 0 16,0 0-16,13-13 16,-13 14-16,13-1 15,1-13 1,-1 0-16</inkml:trace>
  <inkml:trace contextRef="#ctx0" brushRef="#br0" timeOffset="93120.32">19539 10901 0,'53'-27'31,"-39"27"-31,12-13 0,-13 13 16,27-13-16,-14 13 0,1 0 16,-14 0-16,27 0 0</inkml:trace>
  <inkml:trace contextRef="#ctx0" brushRef="#br0" timeOffset="94091.05">19817 10941 0,'0'0'0,"14"-14"31,-1 1-31,0 0 0,0 13 16,0 0 0,1 13-16,-1-13 15,0 13-15,0 1 16,1-14-16,-14 13 0,13-13 0,-13 13 15,13-13-15,0 0 16,0 13-16,1-13 16,-1 0-16,0-13 0,0 13 15,1-13 1,-1 13-16,-13-13 16,13 13-16,0 0 31,1 0-16,-1 0-15,0 0 16,0 0 0,-13-14-1,0 1-15,-13 0 32,0 13-17,13-13 1,13 13 15,0 0-31,0 0 16,1 0-16,-1 0 15,0 0 1,-13 13-16,13-13 16,-13 13-16,14 0 15,-1 1 1,0-14-1,0-14 1,1 14-16,-1-13 0,0 0 16,0 0-16,-13-1 0,13-12 15,1 13-15,-1-14 0,0 1 0,-13 13 16,13-1-16,-13 1 0,14 0 0,-14 0 16,0-1-16,-14 54 31,14-13-16,-13-14-15,13 0 0,0 0 0,0 0 16,-13 14-16,13-14 0,0 0 0,0 1 16,0-1-16,13 0 0,-13 0 0,0 1 15,13-14-15</inkml:trace>
  <inkml:trace contextRef="#ctx0" brushRef="#br0" timeOffset="94584.32">21286 10583 0,'-14'40'32,"1"-14"-32,13-12 0,0 12 15,0-13-15,-13 14 0,13-1 16,0-12-16,0 12 0,0-13 0,0 14 15,-13-14-15,26 0 0,-13 14 0,0-14 16,0 0-16,0 0 0,0 1 16,0-1-16,0 0 0,0 0 15</inkml:trace>
  <inkml:trace contextRef="#ctx0" brushRef="#br0" timeOffset="94964.11">21074 10927 0,'27'-13'15,"-14"0"-15,13 13 16,-13 0-16,14-13 0,-1 13 0,1-14 16,-14 14-16,13 0 0,-12-13 0,12 13 15,-13 0-15,1 0 0,-1 0 16,0 0-16,0 0 15,1 13-15,-1 1 16,0-14 0,-13 13-16,13-13 0,0 0 15,1 0-15,-1 0 16,0 0-16,0 0 0,-13-13 16,14 13-16,-1-14 0,-13 1 15,0 0-15,0 0 0,-13-1 16,13 1-16,-14 0 0,1 13 15,13-13-15,-13 13 0,0-13 0,-1 13 16,14-14-16,-13 14 0,0 14 31</inkml:trace>
  <inkml:trace contextRef="#ctx0" brushRef="#br0" timeOffset="95935.47">22093 10888 0,'-14'-27'31,"1"27"-31,0 0 0,0 0 16,0 0-16,-1-13 0,1 13 16,0 0-16,0 13 15,26 0 1,-13 1-16,13-1 15,-13 0-15,13 0 0,1 1 0,-14-1 16,13 0-16,-13 0 0,13 0 0,-13 1 16,0-1-16,0 0 0,0 0 15,0 1-15,-13-1 0,0 0 16,13 0-16,-14-13 0,1 0 16,13 13-16,-13-13 15,0 0-15,13-13 16,13 0-1,-13 0-15,13 13 0,0-13 16,1-1-16,-1 14 0,0-13 16,0 0-16,14 0 0,-14-1 0,0 1 15,14 0-15,-14 0 0,0 0 0,0-1 16,-13 1-16,14 13 0,-1-13 16,-13 0-16,13 13 0,-26 13 62,13 0-62,0 0 16,13-13-16,0 0 0,0 0 15,1 0 1,-1 0-16,0 0 0,0 0 0,1-13 0,12 0 16,-13 0-16,1-1 0,-1-12 0,13-1 15,-13-12-15,1 12 0,-1-12 16,-13 12-16,13 14 0,-13-14 0,0 14 15,13 0-15,-13 0 0,0 0 0,0-1 16,-13 41 15,0-14-31,13 0 16,0 14-16,-13-14 0,13 13 0,0 1 16,0-14-16,13 14 0,-13-14 15,13 13-15,-13-13 0,13 14 0,1-14 16,-1 0-16,0-13 0,0 14 0,-13-1 15,13-13-15,1 0 0,-1 0 0,0 0 16,0 0-16</inkml:trace>
  <inkml:trace contextRef="#ctx0" brushRef="#br0" timeOffset="96132.3">22304 10729 0,'0'0'0,"27"-13"16,-14 13-1,14 0-15,-14 0 0,13 0 0,1 0 16,-1 0-16,1-14 0,12 14 0,-12 0 16,-1 0-16,1 0 0,-1 0 15,1 0-15</inkml:trace>
  <inkml:trace contextRef="#ctx0" brushRef="#br0" timeOffset="96536.21">23270 10663 0,'27'13'31,"-27"0"-31,13 14 0,-13-14 16,0 0-16,13 0 0,-13 14 0,0-14 16,0 0-16,0 14 0,0-14 15,-13 0-15,13 0 0,0 1 0,0-1 16,-13 0-16,13 0 0,0-39 47,0 13-47,13-1 0,-13 1 0,13-13 15,-13 12-15,13-12 0,0 13 16,1 0-16,-14-1 0,13 1 16,0 13-16,0-13 0,1 0 15,-1 13-15,0 0 16,0 13-16,-13 0 15</inkml:trace>
  <inkml:trace contextRef="#ctx0" brushRef="#br0" timeOffset="96884.2">23469 10901 0,'13'-27'31,"0"27"-31,-13-13 0,13 0 0,-13 0 16,13-1-16,-13 1 0,14 0 0,-1 0 15,-13 0-15,13-1 16,-13 1-16,-26 26 47,26 1-47,0-1 15,-14-13-15,14 13 0,0 0 0,14 0 16,-14 1-16,0-1 16,13-13-16,-13 13 15,13 0-15,0-13 16,1 0-16,12 0 16,-13 0-16,1 0 0,-1 0 15,0 0-15,0 0 0</inkml:trace>
  <inkml:trace contextRef="#ctx0" brushRef="#br0" timeOffset="97151.72">23786 10729 0,'0'0'0,"-13"0"15,13 13 1,0 0-1,0 1-15,0-1 16,0 0-16,0 0 0,0 0 16,0 1-16,0-1 15,-13-13-15,13 13 0,-14-13 0,14 13 16,-13-13-16,0 14 0,0-14 16,-1 0-1,1 0 1</inkml:trace>
  <inkml:trace contextRef="#ctx0" brushRef="#br0" timeOffset="97880.01">23839 10808 0,'13'-13'15,"-26"39"16,13-12-15,0-1-16,0 0 16,13 0-1,0-13 1,1 0 0,-1 0-16,0 0 15,-13-13-15,13 13 16,1 0 15,-1 13-15,0-13-1,0 0-15,0 0 16,1-13-16,-1 13 16,-13-13-16,13 0 0,0 13 0,1-27 15,-1 14-15,0 0 0,0-14 16,1 1-16,-1-1 0,13 1 0,-13-14 15,1 14-15,-14-1 0,13 14 0,0 0 16,-13 0-16,0-1 0,13 1 0,-26 26 31,0 1-15,13 12-16,-13-13 0,-1 14 0,14-14 16,-13 13-16,13-12 0,0 12 0,0-13 15,0 1-15,0-1 0,0 0 16,0 0-16,13-13 0,-13 14 15,14-1-15,-1-13 0,0 0 16,0 0-16,1 0 0,-1 0 0,0-13 16,0-1-16,1 1 0,12-13 15,0-1-15,-12 1 0,12-1 0,-13 1 16,14-14-16,-14 14 0,0 12 0,1 1 16,-1-13-16,-13 13 0,13 13 0,-13-14 15,0 41 16,-13-14-31,13 0 0,0 0 0,-13 14 16,13-14-16,0 0 0,0 14 16,0-14-16,0 0 0,0 14 15,0-14-15,13 0 0,-13 0 16,0 1-16,13-1 0</inkml:trace>
  <inkml:trace contextRef="#ctx0" brushRef="#br0" timeOffset="98058.52">24448 10623 0,'66'-13'0,"-132"26"0,171-26 0,-65 0 0,0-1 0,13 14 15,-14-13-15,1 0 16,0 0-16,-1-1 0,-12 1 0,-14 0 15,0 0-15,-13 0 0,0-1 0,-39-39 16</inkml:trace>
  <inkml:trace contextRef="#ctx0" brushRef="#br0" timeOffset="98612.21">18058 11470 0,'0'0'0,"132"-14"0,159-12 16,-211 13-16,12 13 0,40-27 15,-13 14-15,1 0 0,-1 0 16,0-1-16,-27 1 0,1 0 0,-1 13 16,1-13-16,-27 13 0,0-14 0,-13 14 15,-26 0-15,-1 0 0,-13 0 0,-13 14 16,-39-1 0</inkml:trace>
  <inkml:trace contextRef="#ctx0" brushRef="#br0" timeOffset="98812">18150 11655 0,'186'-27'16,"-107"27"-16,0-13 0,14 0 0,0 13 16,-1-13-16,1 0 0,13-1 15,-27 14-15,14-13 0,-14 13 16,-13-13-16,-13 13 0,-26 0 0,-1 0 0,0 0 15,-12 0-15,-1 0 0</inkml:trace>
  <inkml:trace contextRef="#ctx0" brushRef="#br0" timeOffset="104824.31">13758 7554 0,'53'0'0,"-26"0"0,12 0 16,-12 0-16,-1 0 0,1 13 15,-1-13-15,1 0 0,-1 0 0,1 0 16,-1 13-16,1-13 0,-14 0 16,0 0-16,13 14 0,-12-14 0,-1 13 15,0 0-15,0 0 0,-13 0 16,0 1-16,14 12 0,-14 1 0,0-1 15,0 1-15,0 12 0,-14 1 0,14 13 16,0-13-16,0 12 0,-13 1 16,13 13-16,0-13 0,0 14 0,0-15 15,-13 15-15,13-14 0,0-1 0,13 1 16,-13 0-16,0 13 0,13-13 0,-13 0 16,14 0-16,-1 0 0,-13-13 15,13-1-15,0 1 0,1 0 0,-14-14 16,13 1-16,0-1 15,0 40-15,-13-52 16,27 78 15,-27-79-31,-14 14 16,14-14-16,-13-13 16,0 13-16,-13 1 0,12-1 15,-12-13-15,-1 13 0,-12 0 0,-1 0 16,-13 1-16,0-14 0,13 13 15,-12 0-15,-15-13 0,1 13 0,0-13 0,-13 0 16,13 14-16,-14-14 0,1 0 16,-1-14-16,1 14 0</inkml:trace>
  <inkml:trace contextRef="#ctx0" brushRef="#br0" timeOffset="106659.27">688 7832 0,'-13'0'0,"26"0"0,-40-14 16,14 14-1,0 0-15,0 0 0,-14 0 16,14-13-16,0 13 0,0 0 15,-1 0-15,1 0 0,0 0 16,0 0-16,-1 0 0,1 0 0,0 0 16,0 0-16,0 0 0,-1 0 15,-12 0-15,13 0 0,-1 0 0,1 0 16,0 0-16,0 0 0,0 13 0,-1-13 16,1 0-16,0 0 15,0 0-15,-1 0 0,1 0 0,0 0 16,0 0-16,-1 14 15,1-14-15,0 0 16,0 0-16,0 13 0,-1-13 16,14 13-16,-13-13 15,13 13-15,-13 1 16,0-14-16,13 13 0,0 0 16,0 0-16,0 1 15,-14-1-15,28 0 0,-14 0 16,0 0-16,0 1 15,0-1-15,0 0 0,0 0 0,13 1 16,-13 12-16,0-13 0,0 0 16,0 14-16,0-14 0,0 14 0,0-14 15,13 13-15,-13-12 0,0 12 16,0 0-16,0-12 0,0 12 0,0-13 16,0 14-16,0-14 0,0 14 0,-13-14 15,13 0-15,0 13 0,0-12 16,0-1-16,0 0 0,0 0 0,0 14 15,0-14-15,-13 0 0,13 0 0,0 1 16,0-1-16,0 0 0,0 0 16,0 1-16,0-1 0,-14 0 15,14 0-15,0 1 0,0-1 0,0 0 16,0 0-16,0 0 0,0 1 16,0-1-16,0 13 0,0-12 0,0-1 15,0 0-15,0 0 0,0 1 16,0 12-16,0-13 0,0 0 0,0 1 15,0-1-15,0 13 0,0-12 0,0-1 16,0 0-16,0 14 0,0-14 0,0 0 16,0 13-16,0-12 15,0 12-15,0-13 0,0 14 0,0-14 16,0 14-16,14-1 0,-14 0 0,0 1 16,0-1-16,0 1 0,13-1 15,-13 1-15,0-1 0,0-13 0,13 14 16,-13-14-16,0 0 0,0 14 0,13-14 15,-13 0-15,0 0 0,14 1 16,-14-1-16,0 0 16,13-13-16,-13 13 0,13-13 15,0 0 1,0 14-16,1-1 16,-1-13-16,0 0 0,0 13 0,14-13 15,-1 0-15,27 13 0,-13-13 16,13 0-16,0 14 0,0-14 15,0 0-15</inkml:trace>
  <inkml:trace contextRef="#ctx0" brushRef="#br0" timeOffset="107352">5517 10226 0,'-14'53'32,"14"-26"-32,0-1 0,-13 14 15,13-1-15,-13 1 0,0 0 0,-1 13 16,14 0-16,-13-1 0,0-12 0,0 0 15,0 13-15,-1-14 0,14-12 16,-13 13-16,0-1 0,0-12 0,13-14 16,-14 13-16,14-12 0,0-1 15,-13-13-15,13 13 0</inkml:trace>
  <inkml:trace contextRef="#ctx0" brushRef="#br0" timeOffset="107602.62">5569 10226 0,'-132'80'31,"106"-54"-31,-1 0 16,1 1-16,-1 13 0,1-14 0,-14 14 16,14-14-16,-1 14 0,1-14 0,13 1 15,-1-14-15,1 13 0,0-26 16,13 14-16</inkml:trace>
  <inkml:trace contextRef="#ctx0" brushRef="#br0" timeOffset="107770.98">5278 10319 0,'0'0'0,"27"13"0,-14 0 0,0-13 15,14 13-15,-14 1 0,27-1 0,-14 0 16,14 14-16,-14-14 0,14 0 16,-14 0-16,14 1 0,0-1 0,-14 0 15,14 0-15,0 0 0,-14 1 0,-13-14 16</inkml:trace>
  <inkml:trace contextRef="#ctx0" brushRef="#br0" timeOffset="108288.32">5675 11761 0,'-13'39'16,"26"-78"-16,-26 105 0,0-53 0,13 14 0,0-1 16,0 0-16,0 1 0,0-1 15,0 14-15,13 0 0,-13-14 0,0 1 16,13-1-16,1 1 0,-1-14 0,0 0 16,13 0-16,-12-13 0,-1 14 15,0-14-15,14-14 0,52-12 16,-53 13-16,1-14 15,-14 14-15,0-14 0,1 14 16,-1-13-16,-13 13 0,0-14 0,0 14 16,-13-14-16,-1 1 0,-12-1 0,13 1 15,-14 0-15,1 12 0,-1 1 0,14 0 16,-13 0-16,12 13 0,-12 0 16,13 0-16,-14 0 0,14 0 0,0 13 15,0 0-15,-14 0 0,14-13 0,0 14 16,13-1-16,-14 0 0,14 0 15</inkml:trace>
  <inkml:trace contextRef="#ctx0" brushRef="#br0" timeOffset="108723.3">5953 11390 0,'27'53'31,"-27"-13"-31,13 0 0,0 13 16,-13-1-16,13 15 0,0-14 0,-13 13 15,14-13-15,-1-1 0,-13-12 16,13 13-16,-13-13 0,0-1 16,13 1-16,-13-13 0,0-1 0,0-13 15,14 1-15,-14-1 0,-14 0 16,14-39-1,0 12-15,0-12 16,0-1-16,0-12 0,14 12 16,-1-12-16,0-1 0,0 13 0,1 1 15,12 13-15,-13-1 0,0 1 0,14 13 16,-14-13-16,0 13 0,1 13 16,-1-13-16,0 0 0,0 13 15,1-13-15,-1 14 0,-13-1 0,0 0 16,0 0-16,0 1 0,0 12 15,-13-13-15,-1 14 0,1-14 0,-13 0 16,12 0-16,-12 1 0,13-1 0,-1-13 16,1 13-16,0-13 0,0 0 0,0-13 15,13 0 1</inkml:trace>
  <inkml:trace contextRef="#ctx0" brushRef="#br0" timeOffset="109172.3">6548 11761 0,'-26'13'0,"52"-26"0,-65 39 0,39-13 15,0 1-15,0-1 0,0 0 16,13 0-16,-13 1 0,13-1 15,0 0-15,1 0 0,-1 14 0,0-14 16,0 0-16,-13 0 0,14 1 0,-1-1 16,-13 0-16,0 0 0,0 1 15,0-1-15,0 0 0,-13 0 0,13 0 16,-14 1-16,1-1 0,0-13 0,-14 13 16,14-13-16,0 0 0,0 13 15,0-13-15,-1 0 0,1 0 16,13-13-16,-13 13 15</inkml:trace>
  <inkml:trace contextRef="#ctx0" brushRef="#br0" timeOffset="109660.34">6760 12039 0,'0'0'16,"27"-14"-16,-27 1 0,13 0 0,-13 0 0,13 13 15,-13-14-15,0 1 0,13 0 0,-13 0 16,0-1-16,0 1 0,0 0 16,0 0-16,-13 13 15,13-27-15,-13 27 16,0 0 0,-1 14-16,14-1 15,-13 0-15,13 0 0,0 0 16,13 1-1,-13-1-15,0 0 0,14-13 16,-1 0-16,13 0 16,-13 0-1,1 0-15,-1 0 0,0 0 0,0 0 16,1 0-16,-1 0 0,0 13 16,0-13-16,1 0 0,-1 0 15,0 14-15,0-14 0,0 13 0,-13 0 16,14-13-16,-1 13 15,-13-26 17,0 0-32,0 0 15,13-1-15,-13 1 0,0 0 0,13-14 16,-13 14-16,14 0 0,-1-13 16,-13 12-16,13 1 0,14-13 0,-14 26 15,-13-14-15,13 14 0,0-13 16,0 13-16,1 0 15</inkml:trace>
  <inkml:trace contextRef="#ctx0" brushRef="#br0" timeOffset="110101.33">7329 11761 0,'40'66'31,"-40"-53"-31,13 0 0,0 1 0,-13-1 16,13 13-16,1-26 0,-14 13 15,13 1-15,-13-1 0,13-13 16,-13 13-16,13-13 0,0 0 16,1-13-1,-1 0-15,-13-1 0,13-12 16,-13 13-16,0-14 0,13 1 0,1 13 15,-14-14-15,13 1 0,-13 13 16,13-1-16,-13 1 0,13 0 0,1 0 16,-14-1-16,13 1 0,0 13 15,-13-13-15,13 13 0,0 0 16</inkml:trace>
  <inkml:trace contextRef="#ctx0" brushRef="#br0" timeOffset="110923.72">7845 11602 0,'-27'13'15,"14"-13"1,13 13-16,-13-13 0,0 14 16,13-1-16,-13-13 0,13 13 15,-14-13-15,14 13 0,-13-13 16,13 14-16,0-1 16,0 0-1,13-13 1,1-13-16,-1 13 15,0 0-15,0 0 0,0 0 16,1-13 0,-1 13-16,0 0 0,-13-14 0,13 14 15,1 0-15,-1-13 0,0 0 16,-13 0-16,13-1 0,1 1 16,-14 0-16,13 0 0,-13-14 15,0 14-15,13-13 0,-13-1 0,0 14 16,0-14-16,0 1 0,0 0 0,0 12 15,0-12-15,0 13 0,0-1 16,0 1-16,0 0 0,13 39 31,0-12-31,-13-1 16,0 0-16,14 14 0,-14-1 0,0 0 16,13 1-16,-13-1 0,13 1 0,-13-14 15,13 14-15,-13-1 0,14-13 16,-14 0-16,13 1 0,-13-1 15,13 0-15,-13 0 0,-13-26 32,0 13-17,-1 0-15,1-13 0,0 0 16,0 13-16,-1 0 0,1-14 16,0 1-16,0 13 15,13-13-15,0 0 16,0 0-16,0-1 0,13 14 15,-13-13-15,13 0 0,0 13 16,1-13-16,-1-1 0,0 14 0,0-13 0,14 13 16,-14 0-16,0-13 15,0 13-15,1 0 0,-1 0 0,0 13 16,0-13-16,1 0 0,-1 13 16,0-13-16,-13 14 0,13-1 15,1 0-15,-14 0 0,0 1 16,0-1-16,0 0 15,0 0-15</inkml:trace>
  <inkml:trace contextRef="#ctx0" brushRef="#br0" timeOffset="111040.33">8189 11377 0,'0'-13'0</inkml:trace>
  <inkml:trace contextRef="#ctx0" brushRef="#br0" timeOffset="111768.25">8453 11404 0,'-26'13'0,"13"13"16,13-13-16,0 1 16,0-1-16,-13 0 0,13 0 15,13 1-15,-13-1 0,0 0 16,0 0-16,13-13 0,-13 14 0,13-14 16,-13 13-16,13-13 0,1 0 0,-1-13 15,0 13-15,0 0 16,1-14-16,-14 1 0,13 13 15,-13-13-15,13 0 0,-13-1 0,0 1 16,-13 0 0,13 0-16,0-1 0,-13 1 15,13 0-15,-14 13 16,14-13-16,-13 13 16,13-13-1,-13 13-15,53 13 47,-27-13-47,0 0 16,0 13-16,0-13 0,-13 13 15,14-13-15,-1 13 0,0-13 16,-13 14-16,13-14 0,-13 13 0,14-13 16,-14 13-16,13-13 0,0 13 15,0-26 16,1 0-15,-1 0 0,0 13-16,0-14 15,0 14-15,1 0 0,-1-13 16,0 13-16,0 0 0,1 0 16,-1-13-16,0 13 0,0 0 15,1 0-15,-1 0 0,0-13 16</inkml:trace>
  <inkml:trace contextRef="#ctx0" brushRef="#br0" timeOffset="112293.27">9036 11324 0,'0'-13'0,"0"26"0,-14-26 16,1 13-1,0 0 1,13 13-16,-13-13 0,-1 13 16,1 1-1,13-1 1,0 0 0,0 0-1,0 1-15,13-14 16,1 0-16,-1 0 15,-13-14 1,13 14-16,0 0 0,1 0 16,-1 0-16,0 0 15,0-13 1,0 13-16,-13-13 16,14 13-16,-1-13 0,-13-1 15,0 1-15,13 0 0,-13 0 16,0-1-16,0 1 0,0-13 15,0 13-15,0-14 0,0 14 0,0 0 16,0-1-16,0 1 0,0 0 0,0 39 47,0-12-47,0 12 0,13-13 0,-13 14 16,0-1-16,14-13 0,-1 14 0,13-1 15,-12-12-15,12 12 0,-13-13 16,0 1-16,14-1 0,-14 0 0,14-13 15,-14 0-15,13 0 0</inkml:trace>
  <inkml:trace contextRef="#ctx0" brushRef="#br0" timeOffset="112755.43">9869 10954 0,'0'0'0,"-27"0"0,14 0 16,-13 13 0,13 0-16,13 0 0,0 1 15,0-1-15,13 0 0,0-13 16,-13 13-16,26 1 0,1 12 0,-1-13 16,1 0-16,-1 14 0,1-14 15,-14-13-15,0 13 0,14 1 16,-14-1-16,0 0 0,0 0 0,-13 1 15,0-1-15,0 0 16,0 0-16,-13-13 0,0 27 0,0-27 16,-14 13-16,14 0 0,-13 0 0,-1 1 15,1-14-15,12 13 0,-12-13 0,13 13 16,-1-13-16,1-13 0,0 13 16,0-13-16,13-1 15,0 1-15</inkml:trace>
  <inkml:trace contextRef="#ctx0" brushRef="#br0" timeOffset="112965.46">10147 10782 0,'0'-27'16,"13"54"0,-13-14-16,0 0 0,13 14 15,-13-1-15,13 1 0,-13 12 0,14 1 16,-1-14-16,0 14 0,-13 0 0,13-14 15,1 1-15,-1-1 0,0 1 16,0-1-16,-13-13 0,14 1 0,-1-1 16,-13 0-16,13 0 0,0 0 15</inkml:trace>
  <inkml:trace contextRef="#ctx0" brushRef="#br0" timeOffset="113140.28">10094 11073 0,'0'0'15,"13"-13"-15,0 13 16,14 0-16,-14-14 0,0 14 16,14-13-16,-1 13 0,1-13 0,-1 13 15,1-13-15,-1 13 0,0-14 0</inkml:trace>
  <inkml:trace contextRef="#ctx0" brushRef="#br0" timeOffset="113792.06">10597 11046 0,'0'-13'0,"0"53"46,0-27-30,0 0-16,0 0 0,13 1 0,0-1 16,-13 0-16,13 0 0,0 1 15,1-14-15,-1 0 16,0 13-16,0-26 16,1 13-16,-14-14 0,13 14 15,0-13-15,-13 0 0,13 0 16,-13-1-16,14 1 0,-14 0 15,0 0-15,13 0 0,-13-1 16,13 1 0,0 26-1,-13 1 1,0-1-16,13-13 0,-13 13 0,0 0 16,14 0-16,-14 1 0,0-1 15,13 0-15,-13 0 0,0 1 16,13-14-16,-13 13 0,13-13 15</inkml:trace>
  <inkml:trace contextRef="#ctx0" brushRef="#br0" timeOffset="114580.13">11205 10623 0,'-13'40'32,"13"-14"-32,0-13 15,0 27-15,0-13 0,13-1 16,-13 14-16,0-1 0,13-12 16,-13 13-16,14-14 0,-1 0 0,-13-12 15,13 12-15,0-13 0,-13 1 16,13-1-16,1 0 0,-14 0 15,-14-39 17,1 26-32,0 0 15,0 0-15,0-13 0,-1 13 0,1 0 0,0 13 16,-14-13-16,14 0 0,-13 13 0,12-13 16,1 13-16,-13-13 0,13 13 15,-1 1-15,1-14 0,13 13 16,13 0-1,1-13 1,12 0-16,-13 0 0,14-13 0,-1 0 16,14 13-16,-14-14 0,1 1 0,-1 13 15,-13 0-15,14-13 0,-14 13 0,0 0 16,1-13-16,-1 13 16,0 0-16,0 0 15,1 0-15,-1 0 16,0 0-16,0-13 15,0 13-15,1 0 32,-1 0-32,0 0 15,0 13 1,1-13-16,-1 13 0,0 0 16,-13 14-16,13-14 0,-13 0 0,14 14 15,-14-1-15,0-13 0,0 14 16,-14 12-16,14-12 0,-13 13 0,0-14 15,0 1-15,-1-14 0,1 13 0,0-13 16,13 1-16,-13-14 0,-1 0 16,1 13-16,0-13 0,0-13 15,13-1-15,-13 1 0,13 0 16,0 0-16,0 0 0,0-1 0,0-12 16,13 13-16,-13-1 0,13-12 15,-13 13-15,13-14 0,0 14 0,1 0 16,-1 0-16,0-1 0,0 1 0,1 0 15,-1 0-15,0-1 0,0 1 16,1 13-16,-1-13 0,0 0 16,0 13-16,-13-14 0,13 14 0</inkml:trace>
  <inkml:trace contextRef="#ctx0" brushRef="#br0" timeOffset="114749.57">11906 11007 0</inkml:trace>
  <inkml:trace contextRef="#ctx0" brushRef="#br0" timeOffset="135120.2">11417 12091 0,'0'14'32,"13"-1"-32,-13 0 0,0 0 15,13 1-15,-13-1 16,0 13-16,13-12 0,-13-1 0,14 13 16,-1-13-16,-13 1 0,13 12 0,0-13 15,1 1-15,-1-1 0,0 0 16,14 0-16,-14 0 0,0 1 0,13-1 15,-12 0-15,-1-13 0,13 13 0,-12-13 16,-1 14-16,0-14 0,0 0 0,1 0 16,-1 13-16,0-13 0,0 0 15,0 0-15,1 0 0,12 0 16,-13 0-16,1-13 16</inkml:trace>
  <inkml:trace contextRef="#ctx0" brushRef="#br0" timeOffset="135464.99">11867 12330 0,'13'13'47,"-13"0"-47,13-13 0,-13 13 0,13 0 15,0-13-15,1 14 0,-1-1 0,0 0 16,14 0-16,-14 1 16,0-1-16,-13 0 0,13 0 15,1 1-15,-14-1 0,0 0 0,0 0 16,0 0-16,-14 1 15,1-1-15,13 0 0,-13 0 16,0 1-16,-1-14 0,1 13 0,0-13 0,0 13 16,-1-13-1</inkml:trace>
  <inkml:trace contextRef="#ctx0" brushRef="#br0" timeOffset="136030.21">12488 12224 0,'0'-13'15,"27"26"1,-14 13 0,0-13-16,0 1 0,-13 12 15,14-13-15,-1 1 0,-13 12 0,0-13 16,13 0-16,-13 1 0,0 12 16,0-13-16,0 1 0,0-1 0,0 0 15,-13 0-15,13 1 16,-13-14-1,13-14-15,0 1 16,0 0-16,0-14 0,0 14 0,0-13 16,0-1-16,13 1 0,-13 13 15,13-14-15,0 14 0,1-14 0,-1 14 16,-13 0-16,13 0 0,0 13 16,1-13-16,-1 13 0,0 0 15,0 0-15,0 0 16,1 0-16,-14 13 0,13-13 0</inkml:trace>
  <inkml:trace contextRef="#ctx0" brushRef="#br0" timeOffset="136381.59">12819 12475 0,'13'-26'16,"1"12"0,-14 1-16,0 0 0,13 0 0,-13-1 15,13 1-15,-13 0 0,0 0 16,0 0 0,-26 26-1,26 0 1,-14-13-16,14 13 15,0 0-15,-13 1 0,13-1 16,0 0-16,13-13 16,-13 13-16,14-13 15,-1 0-15,0 0 16,0 0-16,0 0 0,1 0 0,-1-13 16,13 13-16,1-13 0,-14 0 15</inkml:trace>
  <inkml:trace contextRef="#ctx0" brushRef="#br0" timeOffset="136624.04">13084 12303 0,'-14'0'0,"14"-13"16,-13 26 15,13 0-15,0 1-16,0-1 15,13 0-15,-13 0 0,14-13 16,-14 13-16,0 1 0,0-1 15,0 0 1,-14 0-16,1 1 16,0-14-16,0 13 15,0-13-15,-1 0 0,1 0 16,0 0-16</inkml:trace>
  <inkml:trace contextRef="#ctx0" brushRef="#br0" timeOffset="137568.7">13216 12290 0,'-13'-13'16,"-1"39"15,14-13-15,0 1-16,0-1 0,-13 0 16,26 0-1,-13 0-15,0 1 0,14-14 31,12-14-31,-13 1 16,1 0-16,-1 0 0,0 0 16,0 13-1,1 0 1,-1 13-16,0 0 16,0 0-1,0-13 1,14 0-1,-27-13-15,13 13 0,-13-13 0,13 0 16,1-14-16,-14 14 0,13-14 16,-13 14-16,13-13 0,0-27 15,1 13-15,-14 27 16,0 0-16,13-14 0,-13 14 16,-13 39-1,13-12-15,-14 12 16,14 14-16,-13-14 0,0 14 15,13-14-15,0 1 0,0-14 0,0 14 16,0-14-16,0 0 0,0 13 16,13-12-16,0-1 0,1 0 15,-1-13-15,0-13 16,0 0-16,0 13 0,14-14 16,-14-12-16,0 0 0,1-1 0,-1 1 15,0-1-15,0-12 0,0 12 0,1 1 16,-1-1-16,-13 14 0,13 0 0,-13-1 15,0 1-15,0 0 0,13 0 16,-13 0-16,0-1 16,-13 41 15,0-27-31,13 13 0,0 0 16,-13-13-16,13 13 0,0 1 0,0-1 15,0 0-15,0 0 16,0 1-1,0-1-15,13 0 16,-13 0-16,13-13 16,-13 14-16,13-1 0,1 0 15,-14 0-15,0 0 16,13 1-16,-13-1 16,0 0-1,13 0-15,-26 1 16,0-14-1,-1 0 1,14-14 0,-13 1-16</inkml:trace>
  <inkml:trace contextRef="#ctx0" brushRef="#br0" timeOffset="137719.53">13626 12237 0,'-13'0'0,"0"-13"31,26 0-16,0 13-15,0-14 0,0 14 0,1 0 16,-1-13-16,13 0 0,1 13 16,-1-13-16,1-1 0,-1 14 0,-13-13 15,14 13-15,-1-13 0,-12 13 0,12-13 16</inkml:trace>
  <inkml:trace contextRef="#ctx0" brushRef="#br0" timeOffset="139071.31">14314 12078 0,'-13'-13'0,"26"39"32,-13-12-17,13-1-15,-13 0 0,13-13 16,-13 13-16,14 1 0,-14-1 15,13-13-15,-13 13 0,13 0 0,0-13 16,-13 14-16,14-14 0,-1 0 16</inkml:trace>
  <inkml:trace contextRef="#ctx0" brushRef="#br0" timeOffset="139327.4">14579 12078 0,'0'-13'16,"-27"26"-1,14 0 1,13 1-16,-13-1 0,-1 13 16,1-12-16,0 25 0,13-12 0,-13-1 15,-1-13-15,1 27 16,0-13-16,-13 12 0,12-12 16,1-14-16,13 13 0,-13-12 0,13-1 0,-13-13 15,13 13-15,-14 0 0,14 1 16,-13-14-16,53-14 47</inkml:trace>
  <inkml:trace contextRef="#ctx0" brushRef="#br0" timeOffset="140115.34">14870 11840 0,'0'0'0,"0"27"16,0-1-16,-14-13 16,14 14-16,-13 12 0,0 1 15,0 0-15,-1-1 0,1 14 16,0 0-16,0-13 0,0 0 0,-1-1 15,1 1-15,0 0 0,0-14 0,-1 14 16,1-27-16,0 14 0,13-14 16,-13 13-16,13-13 0,-14 1 0,14-1 15,-13-13-15,40-13 32</inkml:trace>
  <inkml:trace contextRef="#ctx0" brushRef="#br0" timeOffset="140920.4">15174 12396 0,'-13'13'0,"13"-40"62,0 14-62,0 0 0,0 0 16,0 0-16,0-1 0,0 1 0,0-13 15,0 12-15,0 1 0,0 0 16,0 0-16,0 0 0,0-1 0,13 14 16,-13-13-16,0 0 0,0 0 31,13 26-16,0 0-15,-13 0 0,14 1 16,-14-1-16,13 0 0,-13 0 16,13 0-16,0 1 15,-13-1-15,13 0 0,-13 0 16,14-13-16,-14 14 0,13-14 0,-13 13 16,13-13-16,0 0 31,1-13-31,-1-14 15,-13 14-15,13-14 16,-13 14-16,0-13 0,0 13 16,13-14-16,-13 1 0,0 12 0,0-12 15,0-1-15,14 14 0,-14 0 0,0 0 16,0 0-16,0-1 0,0 1 16,0 0-16,0 0 15,0 52 16</inkml:trace>
  <inkml:trace contextRef="#ctx0" brushRef="#br0" timeOffset="143391.37">14843 5345 0,'40'-14'15,"-27"14"-15,13 0 16,1 0-16,-1 0 0,1 0 0,13 0 0,-14 14 16,14-14-16,-14 0 0,1 0 0,-1 0 15,1 0-15,-1 13 0,-13-13 16,14 0-16,-14 13 0,0-13 0,0 13 16,14 1-16,-27-1 0,13 0 0,0 0 15,-13 0-15,14 14 0,-14-1 16,0 1-16,0-1 0,0 1 15,13 12-15,-13 1 0,0 0 0,13-1 0,-13 1 16,13 0-16,-13 0 0,13-1 16,-13 1-16,14 0 0,-14-1 15,13 1-15,-13 0 0,13-1 0,-13-12 16,13 12-16,-13 1 0,14 0 0,-14-14 16,0 1-16,13-1 0,-13 27 15,0-26-15,0-1 16,0 1-16,0-14 0,0 13 0,-13-13 0,13 14 15,0-14-15,0 0 0,-14 1 16,14-1-16,-13 0 0,0 0 0,0 1 16,-1-1-16,1 0 0,-13 0 15,-14 0-15,14-13 0,-14 14 0,-13-1 16,13-13-16,1 13 0,-1 0 16,-13-13-16,0 0 0,13 14 0,1-14 15,-1 0-15,14 0 0,-14 0 0,0 0 16</inkml:trace>
</inkml:ink>
</file>

<file path=ppt/ink/ink2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2:30.352"/>
    </inkml:context>
    <inkml:brush xml:id="br0">
      <inkml:brushProperty name="width" value="0.05292" units="cm"/>
      <inkml:brushProperty name="height" value="0.05292" units="cm"/>
      <inkml:brushProperty name="color" value="#FF0000"/>
    </inkml:brush>
  </inkml:definitions>
  <inkml:trace contextRef="#ctx0" brushRef="#br0">1614 2487 0,'145'0'15,"-65"-13"-15,12 13 0,1-13 16,0 13-16,39-14 0,-13 1 15,13 13-15,-39-13 0,13 13 0,-14-13 16,14 13-16,-13 0 0,-14 0 0,14-14 16,-14 14-16,-13 0 0,-13 0 15,0 0-15,0 0 0,0 14 0,-13-14 16,-14 0-16,-13 0 0,14 0 0,-14 13 16</inkml:trace>
  <inkml:trace contextRef="#ctx0" brushRef="#br0" timeOffset="206.58">1707 2844 0,'39'14'0,"-78"-28"0,118 14 16,-26 0-16,26 0 0,1 0 0,25-13 15,14 0-15,14 13 0,12-13 16,-12-1-16,-1 14 0,0-13 0,-13 0 15,-26 13-15,-1-13 0,1-1 0,-14 14 16,1-13-16,-14 13 0,-13-13 16,-13 13-16,-1 0 0,-12 0 0</inkml:trace>
  <inkml:trace contextRef="#ctx0" brushRef="#br0" timeOffset="1185.4">1468 6376 0,'14'0'0,"-1"14"16,-13-1-16,13 0 16,-13 0-16,0 1 0,13-1 15,-13 13-15,0-12 0,0-1 0,0 13 16,0-13-16,0 1 0,0-1 15,0 0-15,0 14 0,0-14 0,0 0 16</inkml:trace>
  <inkml:trace contextRef="#ctx0" brushRef="#br0" timeOffset="1416.09">1826 6535 0,'26'13'0,"-13"1"15,-13-1-15,0 66 32,-13-52-32,13-14 0,-13 0 0,0 14 15,13-14-15,-14 0 0,1 0 0,13 1 16,-13-1-16</inkml:trace>
  <inkml:trace contextRef="#ctx0" brushRef="#br0" timeOffset="1660.16">2130 6284 0,'13'26'31,"-13"-12"-31,0-1 0,0 0 0,0 0 16,0 0-16,0 1 0,0 12 0,0-13 15,0 1-15,-13 12 0,13-13 0,0 1 16,0 12-16,-13-26 0</inkml:trace>
  <inkml:trace contextRef="#ctx0" brushRef="#br0" timeOffset="1867.84">2275 6482 0,'14'14'15,"-14"-1"-15,0 0 16,0 0-16,0 0 0,0 1 0,0-1 16,0 0-16,-14 14 0,14-14 0,-13-13 15,13 26-15,0-12 0,0-1 16,-13-13-16,13 13 0</inkml:trace>
  <inkml:trace contextRef="#ctx0" brushRef="#br0" timeOffset="2315.25">2686 6271 0,'0'39'0,"0"-78"0,0 92 0,0-27 0,0-13 15,0 0-15,-14 14 0,14-14 16,0 0-16,0 14 0</inkml:trace>
  <inkml:trace contextRef="#ctx0" brushRef="#br0" timeOffset="2532.81">2884 6429 0,'13'14'0,"0"25"15,-13-25-15,-13-1 16,13 0-16,-13 13 0,13-12 16,-13 12-16,13-13 0,-13 1 0,13-1 15,0 0-15,-14 0 0,14 1 16</inkml:trace>
  <inkml:trace contextRef="#ctx0" brushRef="#br0" timeOffset="2991.33">3294 6231 0,'0'13'0,"0"40"16,-13-40-16,13 14 15,0-14-15,0 13 0,-13-12 16,13-1-16,0 13 0,0-12 0,-14 12 16</inkml:trace>
  <inkml:trace contextRef="#ctx0" brushRef="#br0" timeOffset="3452.86">3664 6469 0,'0'40'31,"0"-27"-31,0 0 16,-13 0-16,13 1 0,-13 12 0,13-13 15,-13 1-15,13-1 0,-13 0 16,13 0-16,-14 1 0,14-1 16,0 0-16</inkml:trace>
  <inkml:trace contextRef="#ctx0" brushRef="#br0" timeOffset="3656.25">3942 6271 0,'0'13'0,"0"40"31,0-40-31,0 0 16,0 14-16,-13-14 0,13 13 0,0-12 15,-13-1-15,13 13 0,0-12 16,0-1-16,0 0 0</inkml:trace>
  <inkml:trace contextRef="#ctx0" brushRef="#br0" timeOffset="4103.24">4749 6271 0,'0'0'0,"0"26"31,0-13-15,0 1-16,0-1 0,0 0 15,-13 0-15,13 0 0,0 1 0,0-1 16,0 13-16,-13-12 0,13-1 0,0 13 16,-13-12-16,-1 12 0,14-13 15,-13 0-15,0 14 0,13-14 0,-13 0 16,-1 1-16</inkml:trace>
  <inkml:trace contextRef="#ctx0" brushRef="#br0" timeOffset="4476.22">4247 6522 0,'-14'66'31,"1"-39"-31,0-14 0,0 13 0,13 1 16,-14 12-16,1-25 15,13-1-15,0 0 0,13-13 0,-13 13 16</inkml:trace>
  <inkml:trace contextRef="#ctx0" brushRef="#br0" timeOffset="4896.84">5027 6257 0,'13'0'0,"14"27"32,-27-14-32,0 0 0,-13 1 15,13-1-15,-14 0 0,14 0 16,0 0-16,-13 1 0,13-1 15,13 0-15,-13 0 16,14-13-16,-1 27 16,-13-14-16,13 0 0,-13 1 15,-13-1-15,13 0 0,0 0 16,-13-13-16,-1 13 0,14 1 16,-13-1-16,0-13 0,0 13 0,-1-13 15</inkml:trace>
  <inkml:trace contextRef="#ctx0" brushRef="#br0" timeOffset="5058.41">5186 6429 0,'13'0'0,"-13"14"0,0 25 31,-13 14-31,0-26 16,-1-14-16,14 13 0,-13 1 0,13-14 15,-13 0-15,13 1 0,-13-1 16,13 0-16</inkml:trace>
  <inkml:trace contextRef="#ctx0" brushRef="#br0" timeOffset="5356.09">5728 6204 0,'27'14'0,"-27"-1"0,0 0 15,13 0-15,-13 1 0,0-1 0,0 13 16,0-12-16,0 12 0,0-13 0,0 14 16,0-14-16,-13 0 0,13 14 15,0-14-15,0 0 0,0 0 0,0 1 16</inkml:trace>
  <inkml:trace contextRef="#ctx0" brushRef="#br0" timeOffset="5855.56">6019 6244 0,'13'0'0,"1"13"32,-14 1-32,0-1 15,-14-13-15,14 13 0,0 14 16,14-14-16,-14 0 16,0 0-16,13-13 0,-13 13 15,13 1-15,-13-1 0,0 0 0,0 0 16,0 1-16,0-1 15,0 0-15,0 0 0,-26 14 0,26-14 16,-14 0-16,1 0 0,-13 1 16,26-1-16,-13-13 15,39-13 1</inkml:trace>
  <inkml:trace contextRef="#ctx0" brushRef="#br0" timeOffset="5995.99">6271 6469 0,'13'13'0,"0"27"32,-26-27-32,13 0 0,-13 1 0,13-1 15,-27 27-15,27-27 0,-13 0 16,13 0-16,0 1 0,0-1 16</inkml:trace>
  <inkml:trace contextRef="#ctx0" brushRef="#br0" timeOffset="6265.63">6932 6218 0,'13'26'0,"-13"-13"0,14 14 16,-14-14-16,0 0 0,0 14 15,0-14-15,0 13 0,0 1 16,0-14-16,0 14 0,0-1 0,0-13 16,0 14-16,0-1 0,0-13 15,0 1-15</inkml:trace>
  <inkml:trace contextRef="#ctx0" brushRef="#br0" timeOffset="6689.2">7183 6244 0,'14'-13'15,"-1"26"-15,0 0 16,-13 1-1,0-1-15,-13 0 16,13 0-16,0 1 0,13-1 16,-13 0-16,13 0 0,-13 0 15,14-13-15,-14 14 0,13-1 16,-13 0-16,13-13 0,-13 27 16,-13-14-16,13 0 15,0 0-15,-13 1 0,-1-14 16,1 13-16,0 0 0,0-13 0,13 13 15,-14-13-15</inkml:trace>
  <inkml:trace contextRef="#ctx0" brushRef="#br0" timeOffset="6836.41">7435 6482 0,'13'14'0,"-26"-28"16,39 41-16,-26-14 0,-13 0 0,13 0 15,-13 1-15,0 12 0,13-13 16,-14 1-16,1-1 0,0 0 0,13 14 16,-13-27-16,13 13 0,0 0 0</inkml:trace>
  <inkml:trace contextRef="#ctx0" brushRef="#br0" timeOffset="7176.3">7938 6284 0,'13'13'16,"-13"0"-16,0 1 0,0-1 0,0 0 16,-13 0-16,13 14 0,0-1 0,-14 1 15,14-1-15,-13-13 0,13 14 16,-13-14-16,13 13 0,0-12 0,0-1 15,0 0-15,0 0 0</inkml:trace>
  <inkml:trace contextRef="#ctx0" brushRef="#br0" timeOffset="7515.96">8268 6244 0,'27'13'0,"-54"-26"0,67 26 0,-40 1 16,0-1-16,-13 0 16,13 0-16,0 1 15,-14-1-15,1 0 0,13 0 16,0 0-16,0 1 0,0-1 15,13-13-15,-13 13 0,14 0 16,-14 1-16,13-14 0,-13 13 16,0 0-16,0 0 15,0 1-15,-13-1 0,13 0 16,-14 0-16,1-13 0,13 13 0,-13-13 16,0 14-16,13-1 15</inkml:trace>
  <inkml:trace contextRef="#ctx0" brushRef="#br0" timeOffset="7672.04">8453 6509 0,'-13'66'16,"13"-53"-1,-13 0-15,0 1 0,13-1 16,-27 13-16,27-12 0,-13-1 15,13 0-15</inkml:trace>
  <inkml:trace contextRef="#ctx0" brushRef="#br0" timeOffset="7997.01">8996 6324 0,'0'13'15,"0"0"-15,0 0 0,0 0 16,0 1-16,0 12 0,0-13 16,-13 1-16,13-1 0,0 0 15,0 0-15,-14 1 0,14-1 0,0 0 16,0 0-16,0 0 16</inkml:trace>
  <inkml:trace contextRef="#ctx0" brushRef="#br0" timeOffset="8337.1">9287 6231 0,'13'0'0,"0"13"16,-26 0-16,13 1 16,0 12-1,0-13-15,0 1 16,13-14-16,-13 13 0,0 0 0,14 0 16,-14 0-16,0 1 0,13-1 0,-13 0 15,0 0-15,13 1 16,-26-1-16,13 0 0,0 0 15,-13 1-15,-1-14 0,14 13 0,-13 0 16,0 0-16,0-13 16,13 13-16</inkml:trace>
  <inkml:trace contextRef="#ctx0" brushRef="#br0" timeOffset="8513.28">9512 6469 0,'13'13'16,"-26"-26"-16,26 40 0,-13-14 0,0 0 16,0 0-16,-13 0 0,13 1 15,-13 12-15,-1-13 0,14 1 16,-13-1-16,13 0 0,-13 0 0,13 1 16,0-1-16</inkml:trace>
  <inkml:trace contextRef="#ctx0" brushRef="#br0" timeOffset="8760.04">10094 6257 0,'0'14'0,"0"39"15,-13-27 1,13-13-16,-14 14 0,1-1 16,13-13-16,-13 14 0,0-14 0,13 14 15,0-14-15,-14 0 0,14 0 0,0 0 16,0 1-16,0-1 0,0 0 16</inkml:trace>
  <inkml:trace contextRef="#ctx0" brushRef="#br0" timeOffset="9084.48">10266 6297 0,'0'0'16,"13"0"-16,-13 13 15,0 14 1,-13-27-16,13 13 16,0 0-16,0 0 0,0 1 15,0-1-15,13-13 16,-13 13-16,0 0 0,13 1 16,-13-1-16,0 0 15,0 0-15,-13 1 0,13-1 16,-13 0-16,0-13 0,-1 13 0,1 0 15,0 1-15,0-14 0,-1 13 0,1 0 16,0 0-16,0-13 16,13 14-16,-13-14 0,-1 13 0,1-13 15</inkml:trace>
  <inkml:trace contextRef="#ctx0" brushRef="#br0" timeOffset="14366.96">4604 6826 0,'39'-13'0,"-12"13"15,-1 0-15,-12 0 0,12 0 0,0 0 16,1 0-16,-1 0 0,1-13 16,-1 13-16,14 0 0,-14 0 0,-12-13 15,12 13-15,-13 0 0,1 0 0,-1 0 16,0 0-16,-39 13 15,12 0 1,-12-13-16,-1 13 0,-12 0 0,-1 1 16,-13-1-16,13 0 0,-12 0 15,-1-13-15,13 14 0,0-1 0,14-13 16,13 13-16,-1-13 0,1 0 0,0 13 16,26 1-1,0-14-15,14 13 16,-1-13-16,14 0 0,-14 0 0,14 0 15,13 0-15,-13 0 0,-14 0 0,14 0 16,0 0-16,-1 0 0,-12 0 16,-1 0-16,1-13 0,-14 13 0,13 0 15,-12 0-15,-1 13 0,0-13 16</inkml:trace>
  <inkml:trace contextRef="#ctx0" brushRef="#br0" timeOffset="14916.87">5398 8401 0,'0'66'16,"0"-40"-16,-14 1 15,1 39-15,0-27 0,13-12 16,-13 13-16,-1-14 0,14 0 0,0-12 16,0-1-16,-13 13 0,13-12 15,0 12-15,0-13 0,0 1 16,0-1-16,0 0 0</inkml:trace>
  <inkml:trace contextRef="#ctx0" brushRef="#br0" timeOffset="15588.18">5583 8520 0,'0'0'0,"13"0"0,0 0 16,0 0-16,1 0 15,-1 13-15,0-13 16,-13 13-16,13 0 15,-13 0-15,0 1 16,0-1-16,0 0 16,14 0-16,-14 1 0,0-1 0,13 0 15,0 0-15,-13 1 0,13-1 16,-13 0-16,0 0 0,0 0 16,0 1-16,0-1 0,-13 0 15,13 0-15,-13 1 0,13-1 0,-13 0 0,-1 0 16,-12 1-16,13-1 0,-14 0 15,14-13-15,0 13 0,-14-13 0,14 0 16,0 0-16,0-13 16,13 0-1,0 0-15</inkml:trace>
  <inkml:trace contextRef="#ctx0" brushRef="#br0" timeOffset="15958.31">5173 8136 0,'-106'79'0,"212"-158"0,-252 211 0,106-92 15,14 26-15,-1-13 0,1 26 0,0-13 16,12 14-16,14 12 0,0-12 16,0-1-16,27 14 0,-1 13 0,14-14 15,0-12-15,13-14 0,-14-13 0,14 0 16,0-14-16,0-12 0,0 12 15,53-12-15,-53-27 0,0 0 16,52-27-16,-38 14 0,-1-26 16,-13 12-16,13-13 15,-13-13-15,79-66 0,-79 53 16,-13 13-16,39-92 0,-53 79 16,1 0-16,-14-14 0,-13 1 15,-13-1-15,-67-197 16,41 197-16,-1 14 0,0 13 0,-13 13 15,-52-26-15,52 53 16,0 0-16,0 13 0,-93 0 16,54 13-16,12 0 0,-12 1 0</inkml:trace>
  <inkml:trace contextRef="#ctx0" brushRef="#br0" timeOffset="17300.54">2805 9578 0,'-27'-238'15,"54"476"-15,-54-503 0,27 252 0,0-13 16,0 12-16,0 1 0,0 0 15,13 0 1,-13 39 0,14-13-16,-14 1 15,13-1-15,-13 0 0,13-13 16,-13 13-16,13-13 0,1 0 16,-1 0-16,0-13 15,0 13-15,0-13 0,1 13 0,-1-13 16,0-1-1,0 14-15,1 0 16,-1 14-16,-13-1 16,13 0-1,-13 0-15,0 1 0,13-14 16,-13 13-16,13-13 0,1 0 16,-1-13-16,53-14 15,-53 14 1,1 0-16,52 26 47,-66 0-32,13 14 1,0-27-16,0 13 16,1-13-16,-1 13 0,0-13 15,0-13-15,14 13 16,-14-13-1,-13-1-15,-13 1 16,0 13 0,13-13-1,-14 13-15,14-13 16,14-1 0,-1 14-16,0-13 15,0 13-15,0-13 0,-13 0 16,14 13-16,-1 0 0,0-13 15,0 13-15,1 0 16,-1 0 0,-13 13-16,0 0 15,0 0-15,0 0 0,0 1 16,0-1 0,0 0-1,13-39 1,0 12-1,-13 1-15,0-13 0,13 13 16,-13-40-16,0 39 0,0-12 16,0-14-16,-13 27 0,13-13 15,0 12-15,0 1 16,-13 26 0,0-13-16,13 14 15,0 12-15,0-13 16,0 0-16,13 27 0,-13-27 15,13 1-15,14-1 16,-27 0-16,26-13 16,-13-13-16,1 13 0,-1 0 15,0 0-15,0 0 0,14 0 0,-14 0 16,13 0-16,-12 0 16,-1 0-16,0 13 0,0-13 0,1 0 15,-1 13-15,0-13 0,0 0 16,1 0-1</inkml:trace>
  <inkml:trace contextRef="#ctx0" brushRef="#br0" timeOffset="17871.82">4022 9128 0,'66'0'0,"-53"-13"0,14 13 16,-1 0-16,14-13 0,-14 13 15,40-27-15,-13 27 16,-40 0 0</inkml:trace>
  <inkml:trace contextRef="#ctx0" brushRef="#br0" timeOffset="18040.04">4061 9287 0,'0'0'0,"40"0"31,-27-13-31,1 13 0,38-14 16,-25 14-16,79-39 15,-80 39-15,14-13 0</inkml:trace>
  <inkml:trace contextRef="#ctx0" brushRef="#br0" timeOffset="20112.3">6376 8877 0,'14'-27'0,"-1"27"0,0 0 15,0 0-15,14 0 0,-1 0 0,14 0 16,13 0-16,-13-13 0,13 13 0,-1 0 16,15-13-16,12 13 0,-13 0 15,13-13-15,-12 13 0,25-14 16,-12 14-16,12-13 0,1 0 0,26 0 0,13-1 15,0 1-15,1 0 16,-1 0-16,27-14 0,-14 14 0,1 0 16,13 0-16,-1-14 0,1 14 0,0 0 15,0-1-15,-1-12 0,1 13 0,0-14 16,-14 14-16,14-13 16,-13 12-16,-14-12 0,0 13 0,0-14 15,-12 14-15,-28 0 0,-12 0 0,78-27 16,-92 27-16,-26 13 0,0-14 15,-14 14-15,1-13 0,-14 13 0,0-13 16,-26 0 0,0 13-1,-1-13-15,-12 13 0,13-14 0,-14 14 16,1 0-16,13-13 0,-14 13 0</inkml:trace>
  <inkml:trace contextRef="#ctx0" brushRef="#br0" timeOffset="20421.18">10927 8030 0,'40'13'16,"-14"1"-16,14-14 0,13 13 0,66 26 16,-40-25-16,-12 12 0,12 14 15,-13-14-15,0 14 0,0 0 16,-13-14-16,-13 27 0,0-13 0,-14-14 16,-13 14-16,-13 0 0,-13-1 15,-13 14-15,-14-13 0,-26 26 0,-13 13 0,-14-12 16,0-1-16,-13 0 0,14-13 15,-27 13-15</inkml:trace>
</inkml:ink>
</file>

<file path=ppt/ink/ink2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3:12.827"/>
    </inkml:context>
    <inkml:brush xml:id="br0">
      <inkml:brushProperty name="width" value="0.05292" units="cm"/>
      <inkml:brushProperty name="height" value="0.05292" units="cm"/>
      <inkml:brushProperty name="color" value="#FF0000"/>
    </inkml:brush>
  </inkml:definitions>
  <inkml:trace contextRef="#ctx0" brushRef="#br0">1667 2725 0,'0'13'203,"53"-13"-187,53 0-16,52 0 16,28 0-16,52 0 15,53 0-15,39 0 16,-12 0-16,52 0 15,-79 0-15,40 40 16,-40-40-16,-53 27 16,14-27-16,-54 0 15,-66 0-15,1 0 16,-80 0-16,-14 0 16</inkml:trace>
  <inkml:trace contextRef="#ctx0" brushRef="#br0" timeOffset="13940.64">7673 4710 0,'119'-27'0,"-66"27"0,0-13 15,53 0-15,-53-1 16,-1 14-16,15 0 0,-14-13 0,-1 13 0,1 0 16,0 0-16,0-13 0,-26 13 15,12 0-15,-12 0 0,-1 0 0,-13 0 16,14 0-16,-14 0 0,0 0 0,1 0 16,-1 0-16,0 0 15,0-13-15,1 13 16,-1 13-1</inkml:trace>
  <inkml:trace contextRef="#ctx0" brushRef="#br0" timeOffset="14427.65">9221 4696 0,'39'0'15,"-12"0"-15,-1-13 16,27 13-16,-13 0 0,13 0 0,0-13 15,26 13-15,-13-13 0,14 13 16,-14-14-16,-13 14 0,0 0 0,0-13 16,-1 13-16,-12 0 0,0-13 0,-14 13 15,1 0-15,-14 0 0,0 0 16,0 0-16,1 0 0,-1 13 16,-26 0-1,-1 1 1</inkml:trace>
  <inkml:trace contextRef="#ctx0" brushRef="#br0" timeOffset="15527.93">8070 4815 0,'26'106'31,"-26"-53"-31,-13-13 0,13 26 15,0-13-15,0 13 0,0-13 16,-13 0-16,13-13 0,0 13 16,0-14-16,0 1 0,-13 0 0,13-14 15,0 0-15,0-12 0,-14 25 16,14-25-16,0-1 16,0 0-16</inkml:trace>
  <inkml:trace contextRef="#ctx0" brushRef="#br0" timeOffset="15816.55">7885 5464 0,'0'26'0,"13"-13"0,-13 1 16,0 12-16,13 0 0,-13-12 0,13 12 15,-13 14-15,14-14 0,-1 27 16,0 0-16,0-40 16,0 1-16,-13-1 0,14 0 0,-14 0 15,13-13-15,0 14 0,0-14 16,1 0-16,-1-14 0,0 14 16,0-13-16,0 13 0,1-13 15,-1 0-15,13-1 0,-12 1 16,-1 0-16,0 0 0,0-1 0,1 1 15,12 0-15</inkml:trace>
  <inkml:trace contextRef="#ctx0" brushRef="#br0" timeOffset="16345.34">9869 4749 0,'-106'172'31,"66"-106"-31,14-13 0,-14 27 16,1 12-16,-14-12 0,13-1 16,-13 0-16,13-26 0,1 13 15,12-13-15,-12 0 0,12 0 0,1-13 16,12-14-16,1 14 0,0-27 0,0 14 15,13-14-15,0 0 0,-13-13 16,13 13-16</inkml:trace>
  <inkml:trace contextRef="#ctx0" brushRef="#br0" timeOffset="16612.23">9062 5583 0,'0'0'0,"-13"26"0,0-13 0,13 14 0,-14-14 16,14 14-16,-13-14 0,13 13 0,0 1 16,0-1-16,0 1 15,0-1-15,0 1 0,13-1 0,1-13 0,-1 0 16,0 14-16,13-14 0,14 0 0,0-13 15,0 0-15,12 0 0,1-13 16,13 0-16,1 0 0,-1-1 0,-13-12 16,13 13-16,0 0 0,-13-14 15,-13 14-15</inkml:trace>
  <inkml:trace contextRef="#ctx0" brushRef="#br0" timeOffset="17097.52">8268 6628 0,'0'0'0,"13"40"32,-13-14-32,0 0 15,0 1-15,0 13 0,-13-1 0,13 1 16,0 13-16,-13-13 0,13-1 0,-13 14 16,13-13-16,-13 0 0,13-1 0,0-12 15,-14-1-15,14 1 0,0-14 16,-13 13-16,13-13 0,0 1 0,0-1 15,0 0-15</inkml:trace>
  <inkml:trace contextRef="#ctx0" brushRef="#br0" timeOffset="17983.7">8295 6734 0,'119'-53'31,"-106"53"-31,13 13 0,-12-13 0,-1 13 16,0 0-16,-13 1 0,0-1 15,0 0-15,0 14 0,0-14 0,-13 13 16,0 1-16,13-1 0,-14-13 0,14 1 15,0-1-15,-13 0 0,13 0 16,13 1-16,1-1 16,-14 0-16,13-13 0,0 13 0,14 0 15,-14 1-15,0-1 0,-13 0 16,13 0-16,0 1 0,-13-1 0,0 0 16,0 0-16,-13 1 0,0 12 0,0-13 15,0 14-15,-14-1 0,1 1 16,-1-14-16,14 0 0,-13 0 0,12 0 15,1 1-15,0-14 0,0 13 16,-1-13-16,1-13 16,13-1-16,0 1 0,0-13 15</inkml:trace>
  <inkml:trace contextRef="#ctx0" brushRef="#br0" timeOffset="18149.57">8692 6945 0,'39'-13'0,"-78"26"0,78-13 16,-26 0-16,1 14 0,-14-1 15,0 0-15,0 0 16,0 0-16,0 14 0,0-14 0,-14 0 16,14 14-16,0-14 0,-13 0 0,13 1 15,-13-1-15,13 0 16,0 0-16,-13 0 0,13 1 16</inkml:trace>
  <inkml:trace contextRef="#ctx0" brushRef="#br0" timeOffset="18275.84">8639 6853 0,'-14'0'0,"28"0"0</inkml:trace>
  <inkml:trace contextRef="#ctx0" brushRef="#br0" timeOffset="19601.41">8996 6906 0,'0'39'15,"0"-25"-15,0-1 16,-13 0-16,13 0 0,0 0 15,0 1-15,0-1 0,0 0 16,0 0 0,0 1-16,13-41 47,-13 14-47,13 13 0,0-13 15,-13-1-15,14 1 0,-1 13 0,0-13 16,0 13-16,0 0 0,1 0 15,-1 13 1,0-13-16,0 13 16,1-13-1,-1 0 17,0 0-32,0 0 15,-13-13 1,14 26-1,-1-13 1,0 0-16,0 0 16,0 0-16,1 0 0,-1-13 0,0 13 15,0 0-15,1-13 0,-1 13 16,0-13-16,0 13 0,0 0 0,-13-13 16,14 13-16,-1 0 15,0 0-15,0 0 16,1 0-1,-14 13-15,13-13 0,0 0 16,0 0-16,1-13 16,-1-1-16,0 14 15,0-13-15,0 0 0,-13 0 16,14 13-16,-14-14 0,0 1 0,0 0 16,0 0-1,-14-1-15,1 14 16,0 0-16,-13 0 15,26 14-15,-14-1 16,28 0 15,-1-26-31,0 13 0,0 0 16,0 0-16,1-13 0,-1 13 16,13-14-16,-12 14 15,-1-13-15,0 13 0,0 0 0,1 0 31,-14 13-31,0 1 16,0-1-16,0 0 16,0 0-16,0 1 15,13-1 1,0-13 0,0 0-1,-13-13-15,13 13 0,-13-14 16,14 1-16,-14 0 0,13 0 0,-13-14 15,0 14-15,13-13 0,-13-1 16,13-13-16,-13 14 0,0 0 0,0-1 16,14 1-16,-14-1 0,0 14 0,0 0 15,0-1-15,0 1 0,0 40 32,0-1-32,0-13 15,0 14-15,13-1 0,-13 1 0,0-14 16,13 13-16,0 1 0,-13-14 15,13 0-15,1 1 0,-14-1 0,13 0 16,0 0-16,0-13 0,1 13 16,-1-13-16,0 0 15,0 0-15,14 0 0,-14 0 16,0 14-16,0-14 16,-13 13-16,14-13 0,-14 13 15,13 0-15,-13 1 16,0-1-1,0 0-15</inkml:trace>
  <inkml:trace contextRef="#ctx0" brushRef="#br0" timeOffset="19693.54">10067 6734 0,'0'-14'0,"-13"1"16,13 0-1</inkml:trace>
  <inkml:trace contextRef="#ctx0" brushRef="#br0" timeOffset="19997.46">10107 6734 0,'0'26'16,"-26"14"-1,26-27 1,0 0-16,13-13 16,0 0-16,0 0 15,1 0-15,-14-13 0,26 13 16,-13-13 0,0 13-16,1 0 15,-1 0-15,0 0 16,0 0-1,1 0 1,-14 13 15</inkml:trace>
  <inkml:trace contextRef="#ctx0" brushRef="#br0" timeOffset="21748.43">7752 3982 0,'119'26'31,"-92"-26"-31,13-13 0,-14 13 16,0 0-16,14 0 0,-13 0 0,25-13 16,-12 13-16,0-13 0,13 13 15,-14-13-15,14 13 0,-13-14 0</inkml:trace>
  <inkml:trace contextRef="#ctx0" brushRef="#br0" timeOffset="22048.44">9115 4154 0,'40'0'16,"-14"0"-16,1-13 16,25 13-16,-12-13 0,13 13 0,0 0 15,13-14-15,-13 14 0,0 0 0,0-13 16</inkml:trace>
  <inkml:trace contextRef="#ctx0" brushRef="#br0" timeOffset="25109.3">15994 4498 0,'0'-13'0,"0"26"0,0-40 16,0 54 15,0-14-31,0 0 0,0 1 0,0-1 15,0 0-15,0 14 0,-13-14 0,13 0 16,0 13-16,0-12 0,0-1 16,0 0-16,0 0 0,0 1 0,-13-1 15,13 0 1,0 0-16,0 0 16,13-39 30,-13 13-46,0 0 0,0-1 16,13 1-16,-13 0 0,0 0 0,0-14 16,0 14-16,13 0 0,-13 0 15,0-1-15,0 1 0,0 0 0,14 0 16,-14-1-16,0 1 0,0 0 16,13 0-1,0 13-15,0 13 16,0 0-1,-13 0-15,14-13 0,-14 14 0,13-1 16,-13 0-16,13 0 0,-13 1 16,13-14-16,-13 13 0,0 0 0,14-13 15,-14 13-15,13-13 0,0 0 16,0 0 0,0-13-16,-13 0 0,14 0 15,-1-1-15,0 1 0,-13-13 16,13 12-16,1 1 0,-1-13 0,-13 12 15,13 1-15,-13 0 0,13 13 0,-13-13 16,14 13 0,-1 13-16,-13 0 15,0 0-15,0 1 0,0 12 16,0-13-16,0 14 0,0-14 0,0 14 16,0-14-16,0 13 0,0-13 0,0 1 15,0-1-15,13 0 0,-13 0 16,0 1-16,0-1 0,0 0 15,0 0-15,13-13 0,-13 13 0,13-13 16,1 0-16,-1 0 16</inkml:trace>
  <inkml:trace contextRef="#ctx0" brushRef="#br0" timeOffset="26009.01">16550 4630 0,'0'0'0,"-14"27"32,1-14-17,13 0 1,0 0-16,13 1 16,1-14-1,-1 0-15,0 0 16,0-14-16,1 14 0,-14-13 15,13 0-15,0 13 0,-13-13 0,13 13 16,-13-14-16,14 14 0,-14-13 16,13 13-16,0 13 15,-13 1 1,0-1-16,13 0 16,-13 0-16,13-13 15,-13 14-15,14-14 0,-14 13 0,13-13 16,0 0-16,0 0 15,1 0-15,-1-13 0,0 13 16,-13-14-16,13 1 0,1 0 16,-1 0-16,-13-1 0,13-12 0,-13 0 15,0 12-15,13-25 0,0 12 16,-13 1-16,0-1 0,14 14 0,-14-13 16,0 12-16,0 1 0,0 0 0,13 13 15,-13-13-15,-13 52 31,13-25-31,-14 12 0,14-13 16,0 14-16,0-14 0,0 13 0,0-12 16,0 12-16,0-13 0,14 1 15,-14 12-15,13-13 0,0 0 16,-13 1-16,13-1 0,1-13 16,-1 0-16,0 0 0,0 0 15,0-13-15,1 13 16,-1-14-16,13 1 0,-12-13 0,-1-1 15,0 1-15,0-14 0,14 14 0,-27-1 16,13-12-16,0 12 0,0 14 16,-13-14-16,0 14 0,14 0 0,-14 0 15,0 39 1,0-13 0,0 1-16,-14 12 0,14-13 15,0 14-15,0-14 0,0 13 0,0-12 16,0 12-16,0-13 0,0 1 0,0-1 15,14 0-15,-14 0 0,0 1 16,0-1-16,13-13 0,-13 13 16,13-13-1,0 0 1</inkml:trace>
  <inkml:trace contextRef="#ctx0" brushRef="#br0" timeOffset="26173.4">17132 4511 0,'-13'0'32,"39"0"-17,-13-13 1,0 13-16,1 0 0,-1 0 0,0 0 16,14-13-16,-14 13 0,13-14 15,-12 14-15,12 0 0,-13 0 0,0-13 16</inkml:trace>
  <inkml:trace contextRef="#ctx0" brushRef="#br0" timeOffset="26459.84">17529 4498 0,'-14'0'16,"14"13"-16,-13 14 16,0-14-1,13 0-15,0 0 0,0 1 16,-13-1-16,13 0 31</inkml:trace>
  <inkml:trace contextRef="#ctx0" brushRef="#br0" timeOffset="26584.67">17529 4379 0</inkml:trace>
  <inkml:trace contextRef="#ctx0" brushRef="#br0" timeOffset="27937.57">17714 4485 0,'-13'13'0,"26"-26"0,-26 39 16,13-13-16,0 1 16,-14-1-16,14 0 0,0 0 15,0 1-15,-13-1 16,26 0-1,1-39 17,-1 26-17,0 0-15,-13-14 0,13 14 16,1 0-16,-1 0 16,0 0-1,0 0-15,0 0 16,1 0-1,-1 0-15,0 0 16,0 0 15,1 14-31,-1-14 32,0 0-32,14 0 15,-14 0 1,0-14-16,0 14 0,-13-13 15,13 13-15,1 0 0,-1-13 0,0 13 16,-13-13-16,13 13 0,1 0 16,-1-14-1,-13 28 1,13-1-16,-13 0 16,0 0-16,13 1 15,1-1 1,-1-13-16,0 0 15,13 0-15,-12 0 16,-14-13-16,13 13 16,-13-14-16,0 1 15,-13 0-15,-1 13 16,14-13-16,-13 13 0,0 0 0,0-14 16,0 14-1,39-13 16,-13 13-15,0-13-16,14 13 0,-14 0 0,14-13 16,12 13-16,-12-14 0,-1 14 0,-13 0 15,14 0-15,-14 0 0,0 0 16,1 0-16,-1 0 0,0 14 16,-26-1-16,13 0 15,-13 0-15,13 1 16,-14-1-16,14 0 0,-13 0 15,13 1-15,0-1 16,13 0 15,1-26-31,-1 0 0,0 13 16,-13-14-16,13-12 0,0 13 0,1-14 16,12 1-16,-13-14 0,1 14 0,-1-1 15,0 1-15,-13-1 0,13 14 16,-13 0-16,0-1 0,14 14 0,-14-13 15,-14 26 1,14 1 0,0 12-16,-13-13 0,13 1 15,-13 12-15,13-13 0,0 1 0,0-1 16,0 0-16,0 0 0,13 0 0,-13 1 16,0-1-16,13-13 0,1 13 15,-1-13-15,0 0 0,0 0 16,0 0-16,1 0 0,-1 0 15,-13-13-15,13 13 0,0 0 16,-13-13-16,0 26 31,0 0-15,14 0 0,-1-26-1,0 13-15,0 0 16,0-13-16,1 13 0,-1-13 0,0-1 15,0 14-15,1 0 16,-14-13-16,13 13 0,0 13 31,-13 1-15,0-1-16,0 0 31,13-13-31</inkml:trace>
  <inkml:trace contextRef="#ctx0" brushRef="#br0" timeOffset="28083.6">19103 4339 0,'-13'0'31,"-1"13"-16,1 1 1</inkml:trace>
  <inkml:trace contextRef="#ctx0" brushRef="#br0" timeOffset="28791.83">19169 4233 0,'13'-39'0,"-26"78"0,40-92 16,-27 40-16,0 0 0,13 13 0,-26 26 31,-1 1-31,1-1 0,0 14 15,0 0-15,-1-1 0,1 1 0,0 0 16,13-1-16,-13-12 0,13-1 0,13 1 16,-13-1-16,13 1 0,-13-14 15,13 13-15,1-12 0,-1-1 0,0 0 16,0-13-16,1 13 0,-1-13 0,0 0 16,0 0-16,0 0 0,14 0 15,-14 0-15,0-13 0</inkml:trace>
  <inkml:trace contextRef="#ctx0" brushRef="#br0" timeOffset="28979.35">19592 4657 0,'0'0'0,"0"-14"62</inkml:trace>
  <inkml:trace contextRef="#ctx0" brushRef="#br0" timeOffset="29244.93">17780 4934 0,'26'0'16,"1"0"-16,13-13 0,13 13 15,-1 0-15,28-13 0,-1 0 0,1 13 16,-1-13-16,14 13 0,-14-14 0,14 14 15,-14-13-15,0 13 0,1-13 0,-14 13 16,-13-13-16,-14 13 0,14-14 16,-26 14-16,-1 0 0,-13 0 0,1-13 15</inkml:trace>
  <inkml:trace contextRef="#ctx0" brushRef="#br0" timeOffset="29526.02">18084 4987 0,'0'0'0,"93"0"0,-53 0 16,12 0-16,15 0 0,-14-13 0,-1 13 16,15 0-16,-14 0 0,-1-13 15,1 13-15,0 0 0,0 0 0,-13-13 16,0 13-16,-14 0 0,0 0 15,1 0-15,-14 0 0,0 0 16,1-14-16,-1 14 0,0 0 0,0 0 16,1-13-16,-1 13 15,-40 0 17,14 0-32</inkml:trace>
  <inkml:trace contextRef="#ctx0" brushRef="#br0" timeOffset="35528.18">13679 7990 0,'-13'14'0,"26"-1"109,0-13-109,0 0 0,1 0 16,-1 13-16,0-13 15,-13 13-15,13-13 0,-13 14 16,0-1-16,-13 0 16,13 0-16,-13-13 0,13 13 15,-13-13-15,13 14 0,-14-1 16,28 0 0,-1-13-1,-13 13-15,13-13 0,0 14 0,1-14 16,-14 13-16,13-13 0,-13 13 0,13 0 15,-13 1-15,-13-1 16,13 0-16,-13 0 16,-1 0-16,1-13 0,0 14 0,-14-1 15,14 0-15,-13 0 0,-1-13 0,14 0 16,0 14-16,0-14 0,-1 0 16,1 0-16,0 13 0</inkml:trace>
  <inkml:trace contextRef="#ctx0" brushRef="#br0" timeOffset="35704.74">13944 8321 0,'-27'40'16,"14"-27"-16,0 0 15,-80 67 1,67-67-16,12 0 0,1 0 0,-13 1 15,26-1-15,-14-13 0,1 13 0</inkml:trace>
  <inkml:trace contextRef="#ctx0" brushRef="#br0" timeOffset="36196.42">14592 8043 0,'-27'27'31,"14"-14"-31,0 0 0,-14 0 0,14 1 0,-13 12 16,-1-13-16,14 1 0,-13-1 15,12 0-15,1 0 0,0 1 0,0-14 16,-1 13-16,14 0 0,0 0 16,-13 0-16,26 1 15,1-14-15,-14 13 0,13-13 16,0 13-16,14-13 0,-14 0 0,13 13 16,-13-13-16,14 0 0,-14 0 0,0 0 15,14 0-15,-14-13 0,14 13 16,-14-13-16,0 13 0,0-13 0,0 13 15,1-14-15,-14 1 0</inkml:trace>
  <inkml:trace contextRef="#ctx0" brushRef="#br0" timeOffset="36393.48">14618 8030 0,'-26'13'0,"26"40"16,0-26-1,-13-14-15,13 13 0,0-12 16,0 12-16,0 1 0,-14-14 0,14 13 16,0 1-16,-13-1 0,13-13 0,-13 1 15,13 12-15,0-13 0,0 1 16,-13-1-16,13 0 0</inkml:trace>
  <inkml:trace contextRef="#ctx0" brushRef="#br0" timeOffset="36612.31">14922 8242 0,'40'39'15,"-40"-25"-15,13-1 16,-26 0-16,13 0 0,0 1 0,-13 12 15,0-13-15,-1 14 0,1-14 16,0 0-16,0 0 0,13 1 0,-13-1 16,13 0-16,-14-13 0</inkml:trace>
  <inkml:trace contextRef="#ctx0" brushRef="#br0" timeOffset="36911.68">15505 8030 0,'0'0'0,"-14"27"15,1-14 1,0 0-16,-14 0 0,14 0 16,0 1-16,0-1 0,0 0 15,-1 0-15,1 1 0,0-1 16,13 0-16,-13 0 0,13 1 0,0-1 15,0 0-15,0 0 0,13-13 16,-13 13-16,13-13 16,0 0-16,1 0 0,-1 0 0,0 0 15,0 0-15,0 0 0,14-13 0,-14 13 16,0-13-16,1 13 0,-1-13 16,0 0-16,0-1 0,1 14 0,-14-13 15,0 0-15</inkml:trace>
  <inkml:trace contextRef="#ctx0" brushRef="#br0" timeOffset="37092.32">15518 7977 0,'0'0'0,"-13"13"15,-1 1-15,14-1 16,0 0-16,-13 0 0,13 14 0,0-14 16,-13 13-16,13 1 0,0-1 0,0 1 15,0-1-15,-13 1 0,13-1 16,0 1-16,0-14 0,0 0 0,-14 14 15,14-14-15,0 0 0,0 0 0,0 1 16,0-1-16</inkml:trace>
  <inkml:trace contextRef="#ctx0" brushRef="#br0" timeOffset="37295.21">15901 8242 0,'-13'79'31,"0"-66"-31,0 14 0,-14-1 16,14 1-16,-13-14 0,-1 13 0,1 1 16,12-14-16,-12 14 0,13-14 15,13 0-15,-13-13 0,13 13 0</inkml:trace>
  <inkml:trace contextRef="#ctx0" brushRef="#br0" timeOffset="38075.08">16576 7951 0,'0'0'0,"27"0"0,-27-13 0,13 13 16,-40 0 15,14 13-31,0-13 16,0 13-16,-14-13 0,14 13 0,0-13 16,0 13-16,13 1 0,-14-14 15,14 13-15,-13-13 0,13 13 0,13 0 16,-13 1-16,14-14 15,-1 13-15,0-13 16,0 13-16,0-13 0,14 13 0,-14 0 16,0-13-16,1 14 0,-1-1 15,-13 0 1,-13 0-16,13 1 0,-14-14 0,-12 13 16,13 0-16,-14 0 0,1 1 0,-1-1 15,1-13-15,13 13 0,-14-13 0,14 13 16,0-13-16,-1 0 0</inkml:trace>
  <inkml:trace contextRef="#ctx0" brushRef="#br0" timeOffset="38245.18">16880 8109 0,'27'133'31,"-40"-120"-31,-1 27 0,1-14 16,0 1-16,-13-1 0,12 1 0,1-1 16,0-13-16,0 0 0,-1 1 0,14-1 15,-13 0-15</inkml:trace>
  <inkml:trace contextRef="#ctx0" brushRef="#br0" timeOffset="38733.4">17489 7885 0,'-27'39'31,"14"-25"-31,13-1 0,-13 13 0,0-13 15,13 14-15,-13-14 0,13 14 0,0-14 16,0 13-16,0-13 0,0 1 0,0 12 16,13-13-16,-13 1 0,13-14 15,0 13-15,0-13 0,1 13 16,-1-13-16,0-13 16,-26-14 15,0 27-31,-1 0 15,1 0 1,0 0-16,0 0 16,13 14-16</inkml:trace>
  <inkml:trace contextRef="#ctx0" brushRef="#br0" timeOffset="38973.21">17806 8176 0,'0'0'0,"14"0"16,-14 13-16,0 0 16,0 0-16,0 1 0,0-1 15,-14 13-15,1-13 0,0 1 0,0 12 16,0-13-16,-1 1 0,1-1 15,0 0-15,0 0 0,-1-13 16,14 14-16,-13-1 16</inkml:trace>
  <inkml:trace contextRef="#ctx0" brushRef="#br0" timeOffset="39301.48">18124 7951 0,'-13'26'15,"0"-26"1,13 13-16,-14 14 0,14-14 16,-13 0-16,13 14 0,0-14 0,0 0 15,0 14-15,0-14 0,0 0 16,13 14-16,-13-14 15,14-13-15,-1 13 0,0-13 0,0 13 16,0-13-16,1-13 16,-14 0-1,-14 0-15,1-1 16,0 14-16,13-13 16,-13 13-16,0 0 0,-1 0 15</inkml:trace>
  <inkml:trace contextRef="#ctx0" brushRef="#br0" timeOffset="39581.44">18574 8123 0,'26'53'15,"-26"-40"-15,0 0 16,0 0-16,0 1 0,0 12 0,-13-13 16,13 14-16,0-14 0,-13 0 0,13 0 15,0 1-15,-13-1 0,13 0 16,0 0-16,0 1 0</inkml:trace>
  <inkml:trace contextRef="#ctx0" brushRef="#br0" timeOffset="39913.36">19090 7845 0,'92'13'31,"-65"0"-15,-27 1-16,13-1 0,-13 0 15,13 0-15,-13 1 0,0-1 16,0 13-16,0-13 0,-13 1 0,13 12 16,0-13-16,-13 14 0,13-14 0,-13 0 15,13 0-15,-14 1 0,14-1 16,-13 0-16,13 0 0,0 1 16,-13-14-16,13 13 15</inkml:trace>
  <inkml:trace contextRef="#ctx0" brushRef="#br0" timeOffset="40104.55">19010 8083 0,'40'0'0,"-80"0"0,106 0 0,-39 0 16,-14-13-16,14 13 0,-1 0 15,1 0-15,-1 0 0,0 0 0,1-13 0,-1 13 16,14 0-16,-27 0 0,14 0 16,-1-14-16</inkml:trace>
  <inkml:trace contextRef="#ctx0" brushRef="#br0" timeOffset="45337.05">14327 8612 0,'40'0'16,"-27"0"-16,14 0 0,12 0 16,14 0-16,0-13 0,-13 13 15,13 0-15,0 0 0,-14-13 16,1 13-16,-14 0 0,14 0 0,-13 0 15,-1 0-15,0 0 0,-12 0 16,12-14-16,1 14 0</inkml:trace>
  <inkml:trace contextRef="#ctx0" brushRef="#br0" timeOffset="46912.63">13864 9578 0,'-26'-13'0,"39"-1"15,13 14 1,-12 14-16,-1-14 0,0 13 16,0-13-16,-13 13 15,0 0-15,0 1 16,0-1-16,-13-13 0,13 13 16,0 0-1,0 1-15,13-14 16,-13 13-16,0 0 0,0 0 15,0 14 1,-13-27-16,13 13 0,-13 0 0,0 0 16,-1-13-16,1 14 0,0-1 0,0 0 15,-1-13-15,1 13 0,0-13 16,0 13-16,0-13 0,-1 14 16,1-14-16,0 0 0,0 0 15</inkml:trace>
  <inkml:trace contextRef="#ctx0" brushRef="#br0" timeOffset="47108.24">14195 9710 0,'13'0'16,"40"-13"-1,-40 13 1,1 0-16,-1 0 0,0-13 16,0 13-16,0 0 0,1 0 0,-1-13 15</inkml:trace>
  <inkml:trace contextRef="#ctx0" brushRef="#br0" timeOffset="47334.58">14684 9485 0,'14'14'16,"-28"52"0,14-53-16,-13 0 15,13 0-15,0 14 0,-13-14 16,13 0-16,-13 1 0,13-1 0,0 0 15,0 0-15,0 0 0,-14-13 0,14 14 16</inkml:trace>
  <inkml:trace contextRef="#ctx0" brushRef="#br0" timeOffset="48740.71">13838 10398 0,'-40'0'31,"27"13"-31,-14 1 16,14-1-16,0 0 16,0 0-16,-1-13 0,1 14 0,0-1 15,0-13-15,13 13 16,0 0-16,-14 0 0,28 1 16,-1-1-1,0 0-15,0 0 16,1-13-16,12 14 0,-13-14 0,14 0 15,-14 0-15,0 0 0,14 0 16,-14 0-16,0 0 0,0 0 0,14-14 16,-14 14-16,0 0 0,1-13 0</inkml:trace>
  <inkml:trace contextRef="#ctx0" brushRef="#br0" timeOffset="48944.25">13983 10411 0,'-13'14'0,"-13"25"32,26-25-32,0-1 0,0 13 15,-14-13-15,14 14 0,0-14 0,-13 0 16,13 14-16,0-14 0,0 13 16,0-12-16,-13-1 0,13 0 0,0 0 15,0 1-15,13-1 0,-13 0 16,13-13-16,-13 13 0,14-13 15</inkml:trace>
  <inkml:trace contextRef="#ctx0" brushRef="#br0" timeOffset="49228.59">14301 10544 0,'39'0'31,"-25"0"-16,-1 0-15,0 0 0,0 0 16,1 0-16,12-14 16</inkml:trace>
  <inkml:trace contextRef="#ctx0" brushRef="#br0" timeOffset="49603.57">14684 10372 0,'0'0'16,"53"0"-1,-53 13-15,14-13 0,-14 13 16,0 0-16,13-13 15,-26 14-15,13-1 0,0 0 0,-14 0 16,1 1-16,13-1 0,-13-13 0,0 13 0,13 0 16,-14 0-16,1 1 15,13-1-15,-13-13 16,13 13-16,0 0 16,13-13-1,-13 14-15,27-14 0,-14 0 16,0-14-16,0 14 0,1 0 15,-1 0-15,0 0 0,0 0 16,14 0-16,-14-13 16,0 13-16</inkml:trace>
  <inkml:trace contextRef="#ctx0" brushRef="#br0" timeOffset="50933.05">13957 11271 0,'13'0'16,"0"0"-16,0 0 16,1 0-1,-1 0-15,-26 13 47,-1-13-31,1 0-16,0 14 0,0-14 0,0 13 15,-1-13-15,1 0 16,13 13-16,-13-13 16,13 13-1,13 1-15,0-14 16,-13 13-16,14-13 0,-14 13 0,13 0 15,0 1-15,-13-1 16,13-13-16,-13 13 16,0 0-16,-13-13 0,13 13 0,-13-13 15,13 14-15,-13-1 0,-14-13 0,14 13 16,0-13-16,-1 13 0,1-13 16,0 14-16,0-14 0,-1 0 0,1 0 15,0 0-15</inkml:trace>
  <inkml:trace contextRef="#ctx0" brushRef="#br0" timeOffset="51149.46">14354 11417 0,'13'0'16,"13"0"-1,-12 0-15,-1 0 0,0 0 0,0-13 0,0 13 16,1 0-16,-1 0 16,13-14-16,-12 14 0</inkml:trace>
  <inkml:trace contextRef="#ctx0" brushRef="#br0" timeOffset="51349.78">14751 11245 0,'-27'39'31,"27"-25"-31,-13-1 0,13 0 0,0 0 16,0 1-16,0-1 0,0 0 0,0 0 15,-13 1-15,13 12 0,0-13 16,0 0-16,0 1 0,0-1 16,-14 0-16,14 0 0</inkml:trace>
  <inkml:trace contextRef="#ctx0" brushRef="#br0" timeOffset="53395.53">13983 11919 0,'-13'0'15,"0"14"-15,13-1 0,-13 0 16,13 0-16,0 1 0,-14-1 0,14 0 16,0 0-16,0 1 0,0-1 0,0 13 15,14-13-15,-1 14 16,-13-14-16,13 0 0,0 1 0,0-14 16,1 13-16,-1-13 15,0 0 1,0-13-16,-13-1 15,-13 1 1,0 0 0,0 13-1,-1 0 1</inkml:trace>
  <inkml:trace contextRef="#ctx0" brushRef="#br0" timeOffset="53591.65">14354 12078 0,'13'-13'0,"0"13"31,-13-13-31,13 13 15,1 0 1,-1 0-16,0 0 0</inkml:trace>
  <inkml:trace contextRef="#ctx0" brushRef="#br0" timeOffset="54211.65">14790 11959 0,'0'-13'0,"0"26"0,13-26 16,1 26-1,-1-13-15,-13 13 0,0 1 16,-13-1-16,13 0 15,-14-13-15,14 13 0,-13 1 16,0-1-16,13 0 0,0 0 0,-13-13 16,13 13-16,0 1 0,0-1 31,13-13-31,0 13 16,0-13-16,1-13 0,-1 13 15,0 0-15,14 0 0,-14 0 16,13-13-16,-13 13 0,1 0 0,12 0 15,-13 0-15,1 0 0,-1 0 0,0 0 16</inkml:trace>
  <inkml:trace contextRef="#ctx0" brushRef="#br0" timeOffset="54884.53">13944 12687 0,'66'-27'31,"-53"27"-31,0 0 16,0 0-16,1 0 0,-1 0 15,0 0-15,0 0 0,1 14 16,-1-1-16,0 0 16,-13 0-1,0 0-15,13 1 0,-13-1 0,0 0 16,0 0-16,0 1 0,0-1 0,0 0 15,0 0-15,0 1 16,0-1-16,0 0 0,0 0 16,0 0-16,0 1 31</inkml:trace>
  <inkml:trace contextRef="#ctx0" brushRef="#br0" timeOffset="55091.9">13970 12872 0,'0'0'0,"26"-13"32,-12 13-32,-1 0 0,0 0 15,0 0-15,1 0 0,12-13 0,-13 13 16,14 0-16,-1-14 15,1 14-15,-1 0 0,1-13 16,-14 13-16,0 0 0,14 0 0</inkml:trace>
  <inkml:trace contextRef="#ctx0" brushRef="#br0" timeOffset="55448.88">14486 12766 0,'13'0'16,"0"0"0,1 0-16,-1-13 15,0 13 1,0 0-16,1 0 0,-1-13 15,0 13-15</inkml:trace>
  <inkml:trace contextRef="#ctx0" brushRef="#br0" timeOffset="56177.34">14922 12581 0,'14'26'32,"-14"-12"-32,0-1 0,0 0 0,0 14 15,0-14-15,0 13 0,0 1 0,-14-1 0,14 1 16,0-14-16,0 13 0,-13-12 16,13 12-16,0-13 0,0 0 15,0 1-15,0-1 0,13-13 16</inkml:trace>
  <inkml:trace contextRef="#ctx0" brushRef="#br0" timeOffset="57104.78">15478 10517 0,'27'-13'0,"-54"26"0,67-26 15,-27 13-15,0-13 16,1 13 0,-1 13-16,0-13 15,-13 13-15,13-13 0,-13 13 0,27 27 16,-14 0-16,0-1 15,-13 1-15,13 0 0,-13 0 0,14 52 16,-14-39-16,13 0 0,-13 0 16,13 13-16,0-13 0,-13 0 15,13 13-15,1-26 0,-14 13 0,13 0 16,0-1-16,0-12 0,1 13 0,-14-13 16,26 39-16,-13-39 15,1 0-15,-1-14 0,0 0 0,0 1 16,-13-1-16,13-12 0,-13-1 0,14 13 15,-14-13-15,0 1 16,0-1-16,13 0 16,-26-13-16,13 13 0,0 1 0,-14-14 0,1 13 15,0-13-15,0 13 0,-14-13 16,14 0-16,-13 13 0,12-13 16,-12 0-16,-1 0 0,1 0 0,0 0 15,-14-13-15,13 13 0,1 0 0,0 0 16,12-13-16,-12 13 0,13 0 15,-1-13-15,1 13 0,13-14 16,-13 14-16,13-13 0,13 0 16,-13 0-16,13-1 0</inkml:trace>
  <inkml:trace contextRef="#ctx0" brushRef="#br0" timeOffset="57505.42">15901 11311 0,'0'0'0,"40"0"16,-13 0-16,12 0 15,14 0-15,13 0 0,14 0 0,-1 0 16,14 0-16,-1 0 0,-12 0 0,12-13 16,1 13-16,0 0 0,-1 0 15,-13 0-15,1 0 0,-14-14 0,0 14 16,-13 0-16,0 0 0,0 0 0,-13 0 16,-14-13-16,0 13 0,1 0 15,-1 0-15,-12 0 0,-1 0 0,0 0 16,0 0-16,1 0 0,-1 0 15,0 0 1</inkml:trace>
  <inkml:trace contextRef="#ctx0" brushRef="#br0" timeOffset="57908.46">17502 10993 0,'66'40'31,"-52"-27"-31,12-13 0,-13 14 0,0-1 16,1-13-16,-1 13 0,13 0 15,-12 14-15,-1-14 0,0 0 0,-13 14 16,13-14-16,-13 13 0,0 1 0,0-1 16,-13 1-16,-13 12 0,-1 1 15,-13 0-15,1-1 0,-14 1 0,0-13 16,0 12-16,-13 1 0,26 0 0,-13-1 16,0-12-16,14-1 0,-14 1 15</inkml:trace>
</inkml:ink>
</file>

<file path=ppt/ink/ink2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5:35.779"/>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1759 3175 0,'0'13'0,"80"-13"31,-27 0-31,0 0 0,0 0 16,26-13-16,0 13 0,-13-13 0,14 13 16,-14-13-16,0 13 0,40-14 15,-53 14-15,-13-13 0,13 13 16,-40 0-16,13-13 0,-13 13 16,1 0-16,-1 0 0,0 0 15,0 0-15,1 0 16</inkml:trace>
  <inkml:trace contextRef="#ctx0" brushRef="#br0" timeOffset="1476.38">1958 3056 0,'40'0'32,"-14"0"-32,1 0 0,39 0 15,-27 0-15,14 0 0,0-13 16,0 13-16,-13-14 0,66 1 16,-53 13-16,-14-13 0,54 0 15,-53 0-15,-14 13 0,0-14 16</inkml:trace>
  <inkml:trace contextRef="#ctx0" brushRef="#br0" timeOffset="1668.57">2394 3082 0,'80'-13'32,"-54"0"-32,1 13 0,-1-13 0,40-1 15,-39 1-15</inkml:trace>
  <inkml:trace contextRef="#ctx0" brushRef="#br0" timeOffset="3053.68">15782 3096 0,'53'0'16,"27"0"-1,-14 0-15,13 0 0,106-14 16,-79 14-16,13 0 0,27 0 16,-1 0-16,-12 0 0,144 0 15,-131 0-15,-14 0 0,1 14 0,-1-14 16,-26 13-16,-14-13 0,14 13 0,-13-13 16,-1 0-16,-12 13 0,65 1 15,-92-14-15,0 0 0,-26 0 16,12 0-16,-26 13 0,14-13 0,-14 0 15,0 0-15,1 0 0,-1 0 16,0 0-16,-66 0 47,40 0-47</inkml:trace>
  <inkml:trace contextRef="#ctx0" brushRef="#br0" timeOffset="3406.27">16907 3268 0,'0'0'0,"40"0"0,-14 0 16,27 0-16,0 0 0,13 0 0,93-14 15,-67 14-15,1 0 16,0 0-16,12 0 0,-12 0 0,0 0 16,92 14-16,-93-14 0,-12 0 15,52 0-15,-79 0 0,-13 0 16,-1 0-16,-12 0 0,-1 0 16,1 13-16,-14-13 0,0 0 0,0 0 15,14 0-15,-14 0 16,0 0-1</inkml:trace>
  <inkml:trace contextRef="#ctx0" brushRef="#br0" timeOffset="4157.74">20677 3003 0,'159'0'15,"-106"0"1,92 13-16,-65-13 16,12 13-16,80-13 0,-79 0 15,0 14-15,92-14 0,-93 0 16,1 0-16,79 0 15,-93-14-15,1 14 0,-14 0 16,-13 0-16,0 0 0,0-13 0,-1 13 16,-38 0-16,-1-13 15</inkml:trace>
  <inkml:trace contextRef="#ctx0" brushRef="#br0" timeOffset="4356.34">21180 3056 0,'40'26'0,"-14"-26"0,358 27 31,-292-27-31,14 0 0,0 13 16,39-26-16,80 13 0,-119-13 15,66-1-15,-79 1 16,-27 0-16</inkml:trace>
  <inkml:trace contextRef="#ctx0" brushRef="#br0" timeOffset="5197.84">1376 3916 0,'26'0'16,"14"0"-16,13-13 15,0 13-15,92-27 0,-52 14 16,-14 0-16,159-14 15,-119 14-15,1-13 0,131-1 16,-145 14-16,0 0 0,66-14 16,-93 14-16,0 13 0,40-13 15,-66-1-15,0 14 0,-13 0 16,0-13-16,-14 13 0,14 0 16,-27 0-16</inkml:trace>
  <inkml:trace contextRef="#ctx0" brushRef="#br0" timeOffset="6280.52">5146 3704 0,'53'0'0,"13"0"0,-13 13 16,-13-13-16,66 0 16,224-13-1,-250 13-15,-1 0 0,93-13 16,-93 13-16,54-13 16,-80 13-16,0 0 0,39 0 15,-65 0-15,-1-14 0,14 14 16,-27 0-16,0 0 0,1 0 15,-1 0-15,0 0 16,0 0-16,0 0 16,1 0-16</inkml:trace>
  <inkml:trace contextRef="#ctx0" brushRef="#br0" timeOffset="7569.61">8149 3638 0,'93'0'0,"-186"0"0,252 0 16,13 0-16,-80 0 16,14 0-16,27 0 0,-1 0 15,278 13-15,-278-13 16,14 0-16,-40 0 0,-14 0 0,14 0 15,0 13-15,0-13 0,-14 0 16,1 0-16,79 0 0,-106 0 16,0 0-16,40 0 0,-53 14 15,-13-14-15,13 0 16,-27 0-16,1 0 0,-1 0 16,-13 0-16,0 0 0,1 0 15,-1 0-15,0 0 0,0 0 16,-13 13-1,14-13 17</inkml:trace>
  <inkml:trace contextRef="#ctx0" brushRef="#br0" timeOffset="8828.32">11893 3149 0,'40'0'16,"-27"13"-16,0-13 16,0 0-16,1 0 15,-1 0 1,0 13-1,0-13 17,1 0-17,-14 13 1,13 0 0,-13 1-16,13-1 0,-13 0 0,13 0 15,-13 1-15,13-1 0,1 27 16,-14-27-16,13 13 0,-13 14 15,13-27-15,-13 14 0,0-14 16,13 0-16,-13 0 0,-13 40 16,0-40-1,0 1-15,-14-1 0,1 13 0,-14-12 0,0-1 16,1 0-16,-14 13 16,-40 1-16,54-14 0,-14 0 15</inkml:trace>
  <inkml:trace contextRef="#ctx0" brushRef="#br0" timeOffset="15666.66">7885 4299 0,'105'-39'0</inkml:trace>
  <inkml:trace contextRef="#ctx0" brushRef="#br0" timeOffset="18241.49">10451 5080 0,'13'0'32,"-13"-13"-17,0 0 17,-13-1-17,0 14 1,0 0-16,-1 14 15,1-14-15,13 13 16,0 0-16,-13 0 0,13 0 0,0 14 16,-13-14-16,13 0 0,0 14 15,-14-14-15,14 14 0,-13-14 0,13 13 16,-13-13-16,13 14 0,-13-14 16,13 0-16,-13 1 0,-1-1 15,14 0-15,-13-13 16,13 13-1,0 1 1,0-1-16,0 0 16,0 0-16,0 14 15,-13-14-15,13 0 0,-13 14 0,13-14 16,-14 0-16,14 13 0,-13-12 16,13-1-16,0 0 0,-13 0 0,13 1 15,0-1-15,0 0 16,0 0-16,13-13 15</inkml:trace>
  <inkml:trace contextRef="#ctx0" brushRef="#br0" timeOffset="18588.52">10861 5212 0,'13'-13'0,"-52"26"31,25 1-31,1-14 16,0 13-16,-13 0 0,12 0 0,1 0 16,-13 1-16,12-1 0,1 0 15,0 0-15,0-13 0,13 14 0,-14-1 16,1 0-16,13 0 0,0 1 15,0-1 1,13-13-16,1 13 0,-1 0 16,0-13-16,0 0 0,14 0 15,-14 0-15,0 0 0,1 0 0,-1 0 16,13 0-16,-13 0 0,1 0 16,-1 0-16,0-13 0,0 13 15,1 0-15</inkml:trace>
  <inkml:trace contextRef="#ctx0" brushRef="#br0" timeOffset="18793.89">10888 5199 0,'-14'0'0,"14"13"16,-13-13-16,13 14 0,0-1 15,-13 13-15,13-13 0,0 14 0,-13-14 16,13 14-16,0-1 0,-14 14 0,1-14 15,13 1-15,0-1 0,-13 1 16,13-14-16,-13 13 0,13-13 0,0 14 16,0-14-16,0 0 0,-13 1 15</inkml:trace>
  <inkml:trace contextRef="#ctx0" brushRef="#br0" timeOffset="19044.21">11126 5424 0,'26'13'16,"-13"0"0,-13 1-16,14-1 0,-14 0 15,0 14-15,0-14 0,0 0 0,0 0 16,-14 0-16,14 14 0,0-14 0,0 0 15,-13-13-15,13 14 16,0-1-16,-13 0 0,13 0 16,-13-13-16</inkml:trace>
  <inkml:trace contextRef="#ctx0" brushRef="#br0" timeOffset="19490.5">11509 5226 0,'27'0'32,"-1"0"-32,-12 0 15,-1 0-15,0 13 0,0-13 16,0 0-16,1 13 15,-1-13-15,0 13 0,0 0 16,-13 1-16,14-1 0,-14 0 0,0 14 16,0-14-16,0 0 0,0 0 15,0 14-15,0-14 0,0 0 0,-14 14 16,14-14-16,0 0 0,-13-13 16,13 13-16,0 1 0,-13-1 15,13 0 1</inkml:trace>
  <inkml:trace contextRef="#ctx0" brushRef="#br0" timeOffset="19660.64">11523 5411 0,'-14'0'15,"54"0"16,-27 0-31,1 0 0,12 0 16,-13 0-16,0 0 0,14 0 16,-14-13-16,14 13 0,-1 0 15,-13 0-15</inkml:trace>
  <inkml:trace contextRef="#ctx0" brushRef="#br0" timeOffset="19828.3">11972 5371 0,'14'13'0,"-1"-13"16,-13 14-16,13-14 0,-13 13 15,13 0-15,-13 0 0,0 0 0,0 1 16,14-1-16,-28 0 0,14 0 16,0 14-16,-13-14 0,13 13 0,-13-12 15,0 12-15,-1-13 0,1 14 0,13-14 16,-13 0-16,0 1 0,13-1 16,-14 0-16,14 0 0</inkml:trace>
  <inkml:trace contextRef="#ctx0" brushRef="#br0" timeOffset="20242.21">12515 5239 0,'0'13'16,"0"0"-16,0 0 16,-13 1-16,13-1 0,0 0 0,0 0 15,-14 14-15,14-14 0,-13 0 16,13 1-16,0-1 0,0 0 0,0 0 15</inkml:trace>
  <inkml:trace contextRef="#ctx0" brushRef="#br0" timeOffset="20416.62">12726 5252 0,'14'0'15,"-28"0"-15,28 13 31,-14 0-31,0 1 0,0-1 0,-14 13 16,14-12-16,-13-1 0,0 53 16,0-26-1,13-27-15,0 0 0</inkml:trace>
  <inkml:trace contextRef="#ctx0" brushRef="#br0" timeOffset="20608.55">12951 5490 0,'0'66'31,"0"-53"-31,0 14 0,-13-14 16,0 14-16,13-14 0,-27 27 15,14-14-15,0 0 0,13-12 0,-13-1 16,13 13-16,-13-12 0</inkml:trace>
  <inkml:trace contextRef="#ctx0" brushRef="#br0" timeOffset="21360.74">13613 5186 0,'0'-13'0,"0"39"16,0-13-1,0 27-15,-13 0 16,13-14-16,-27 40 0,27-39 16,-40 105 15,40-119-31,14 0 15</inkml:trace>
  <inkml:trace contextRef="#ctx0" brushRef="#br0" timeOffset="21638.37">13864 5265 0,'0'0'0,"-26"27"31,12-14-31,1 0 0,0 0 0,13 14 15,-13-1-15,13-12 0,-13 12 0,13-13 16,0 0-16,0 1 0,0 12 16,0-13-16,13-13 0,-13 14 0,0-1 15,13-13-15,-13 13 0,13-13 0,-26-13 47,0 13-47,0-13 16,-1-1 15</inkml:trace>
  <inkml:trace contextRef="#ctx0" brushRef="#br0" timeOffset="21798.54">13944 5477 0,'26'13'0,"0"14"16,14 39-1,-27-53 1,-13 0-16,0 14 0,0-14 0,0 0 15,0 0-15,0 1 0,-13-1 16,13 0-16,0 0 0,0 0 0,-13 1 16,26-1-1</inkml:trace>
  <inkml:trace contextRef="#ctx0" brushRef="#br0" timeOffset="22377.44">14552 5265 0,'13'0'0,"1"0"16,-1 0-16,-13 13 0,13 14 16,0-14-16,-13 0 15,0 1-15,-13-1 0,13 0 0,-13 0 16,0 1-16,13-1 0,-14 0 0,1 0 16,0 0-16,13 1 0,-13-1 15,-1 0-15,1 0 16,13 1-16,13-14 15,1 0 1,-1 0-16,0 0 16,14-14-16,-1 14 0,-13-13 0,14 13 15,12-13-15,-12 0 0,-14 13 0,14-14 0,-14 14 16,0-13-16,0 13 16,0 0-16,1 0 15,-1 0 1,0 13-16,0-13 15,1 0-15,-14 14 16,13-28-16,0 14 16,0 0-16,-13-13 15,0 0 1,0 0-16,-13 13 0,13-13 16,-13 13-16,13-14 0,-13 14 15,-1 0-15,1 0 0,0 0 0,0 0 16,-1 14-16,1-14 15,0 0-15,13 13 0</inkml:trace>
  <inkml:trace contextRef="#ctx0" brushRef="#br0" timeOffset="22576.89">15200 5477 0,'14'26'0,"-1"14"32,-13-27-32,0 0 0,-13 1 15,-1-1-15,1 0 0,0 0 0,0 1 16,-1 12-16,1-13 0,0 1 0,0-1 16,-1-13-16,1 13 0</inkml:trace>
  <inkml:trace contextRef="#ctx0" brushRef="#br0" timeOffset="23121.04">15650 5292 0,'40'0'0,"-80"0"0,93 0 0,-40 0 16,0 0-16,1 13 0,-1-13 0,-13 13 16,13-13-16,-13 13 0,-13 14 15,13-14-15,-13-13 16,-1 13-16,1 1 0,0-1 0,13 0 15,-13 0-15,0 0 0,-1 1 16,14-1-16,-13 0 16,13 0-1,13 1-15,1-14 16,-1 0-16,0 0 0,0 0 16,14 0-16,-14 0 0,13 0 0,-12-14 15,12 14-15,-13 0 0,14-13 16,-14 13-16,0 0 0,-13-13 0,13 13 15,1 0-15,-14-13 0</inkml:trace>
  <inkml:trace contextRef="#ctx0" brushRef="#br0" timeOffset="23481.82">16007 5318 0,'14'-13'0,"-1"0"16,0 13-16,0-14 16,14 14-16,-14 0 15,-13 14-15,13-14 0,0 13 16,1 0-16,-28 14 15,1-14-15,13 0 16,-13 0-16,0 1 0,-1-1 0,14 0 16,-13 0-16,0 0 0,13 1 15,0-1-15,13-13 32,0 0-32,1 0 0,-1 0 15,0 0-15,0-13 0,1 13 0,12-14 16,-13 14-16,0-13 0,14 13 15,-14 0-15,0-13 0,1 13 0,-1 0 16,0 0-16,0 0 16,1 0-16,12 13 15,-26 0-15,13 1 0,-13-1 16,0 0-16,-13 0 0,13 1 0,0-1 16,-13 0-16,13 0 0,-13 0 15,-1 1-15,14-1 0,-13 0 16,13 0-16,-13-13 0</inkml:trace>
  <inkml:trace contextRef="#ctx0" brushRef="#br0" timeOffset="23970.41">16999 5226 0,'27'0'0,"26"13"32,-40 0-32,0 0 0,-13 0 15,0 1-15,0-1 0,0 0 0,0 0 16,-13 1-16,13 12 0,-13-13 0,0 1 16,-1 12-16,1-13 0,0 0 15,0 1-15,-1-14 0,14 13 0,-13 0 16,0 0-16,13 1 15,13-1 17,0-26-32,1 13 0,-1 0 0,0 0 15,14 0-15,-14 0 0,13 0 0,-12-14 16,12 14-16,-13 0 0,0-13 16,14 13-16,-14 0 0,0-13 0,1 13 15,-1 0-15,0-13 0</inkml:trace>
  <inkml:trace contextRef="#ctx0" brushRef="#br0" timeOffset="24287.75">17515 5305 0,'-53'0'31,"40"0"-15,0 0-16,0 13 16,0-13-16,13 13 0,0 1 15,13-1-15,-13 0 16,13 0-16,-13 1 16,13-14-16,-13 13 0,0 0 15,13 0-15,-13 0 0,-13 1 16,0-1-1,0-13-15,13 13 0,-13-13 0,-1 13 16,1-13-16,0 0 0,0 14 0,-1-14 16</inkml:trace>
  <inkml:trace contextRef="#ctx0" brushRef="#br0" timeOffset="24456.57">17595 5437 0,'39'13'0,"-78"-26"0,92 40 16,-40-14-16,-13 0 0,13 0 16,-13 1-16,-13-1 0,13 0 0,0 13 15,-13-12-15,-1 12 0,1-13 16,0 14-16,-13-14 0,12 0 16,1 14-16,13-14 0,-13 0 0,0-13 15,13 13-15</inkml:trace>
  <inkml:trace contextRef="#ctx0" brushRef="#br0" timeOffset="24936.68">18217 5265 0,'26'0'16,"-52"0"-16,65 0 0,-26 13 0,1-13 0,-1 0 0,0 14 15,0-14-15,1 13 0,-1 0 16,-13 0-16,0 1 0,0-1 16,-13 0-16,-1 0 0,-12 14 0,13-14 15,-14 13-15,-12-12 0,12-1 0,14 0 16,-14 0-16,14 1 0,0-1 16,0-13-16,13 13 0,-13-13 0,-1 0 15,14 13-15,0 0 16,14 1-1,-1-14-15,0 0 0,0 0 16,14 0-16,-14 0 0,13 0 0,1 0 16,-1 0-16,1 0 0,12-14 0,1 1 15,0 0-15,-14 0 16,14 0-16,0-1 0,-14-12 0,14 13 16</inkml:trace>
  <inkml:trace contextRef="#ctx0" brushRef="#br0" timeOffset="25189.53">18812 5226 0,'13'-27'0,"-26"54"0,26-67 15,-53 53 1,27-13 0,0 13-16,0 1 0,-14 12 15,1 0-15,13-12 0,-1 12 0,14-13 16,-13 14-16,13-14 0,-13 0 16,13 1-16,0-1 0,13 0 0,-13 0 15,13 0-15,-13 1 0,14-14 16,-1 13-1,0-13-15,-13-13 16,13 13-16,-13-14 16,0 1-16,-13 0 15,13 0 17</inkml:trace>
  <inkml:trace contextRef="#ctx0" brushRef="#br0" timeOffset="25353.42">18918 5450 0,'26'27'0,"-13"26"31,-26-40-31,13 0 0,-13 0 0,0 1 0,-1-1 16,-12 0-16,13 0 16,0 1-16,-14-1 0,14 0 0,0 0 15,-1 1-15,1-1 0,0-13 0,13 13 0</inkml:trace>
  <inkml:trace contextRef="#ctx0" brushRef="#br0" timeOffset="26050.74">19539 5226 0,'27'-14'15,"-54"28"-15,67-28 16,-27 28-16,-13-1 15,-13 0 1,13 0-16,-13-13 0,0 13 0,-1 1 16,1-1-16,13 0 15,-13 0-15,13 1 0,13-1 16,-13 0-16,13 0 16,-13 1-16,14-1 0,-1 0 0,-13 0 15,13-13-15,0 13 0,-13 1 0,14-1 16,-14 0-16,-14 0 15,14 1-15,-13-14 16,13 13-16,-13-13 0,0 0 0,-1 13 16,1-13-16,0 0 15,0 0-15</inkml:trace>
  <inkml:trace contextRef="#ctx0" brushRef="#br0" timeOffset="26361.48">19817 5292 0,'0'13'16,"-13"0"-1,13 0 1,0 1-16,13-1 0,-13 0 0,14-13 15,-14 13-15,13 1 0,-13-1 0,13-13 16,-13 13-16,13 0 0,-13 0 16,0 1-16,0-1 0,0 0 15,-13 0-15,13 1 0,-13-1 16,0-13-16,-1 13 0,1 0 16,0 0-16,0-13 0,-14 14 15,14-14-15,13 13 0,-13-13 0,-1 0 0,14 13 16,-13-13-1</inkml:trace>
  <inkml:trace contextRef="#ctx0" brushRef="#br0" timeOffset="27424.64">20042 4921 0,'93'66'32,"-80"-39"-17,27 39-15,-40-26 0,13 39 16,0-39-16,-26-1 15,13 1-15,-13 0 0,-14 13 0,1-14 16,-1 14-16,-12-13 0,-1 0 0,-13-14 16,13 14-16,1-14 0,-1 1 0,0-1 15,1 1-15,12-14 0,-13 0 16</inkml:trace>
  <inkml:trace contextRef="#ctx0" brushRef="#br1" timeOffset="58893.49">9432 6601 0,'0'-13'15,"0"0"17,-26 26-1,13-13-31,13 13 15,-14-13-15,1 14 0,0-1 0,0 13 16,0 14 0,-1-27-16,14 0 0,-13 1 0,13-1 15,0 0-15,0 0 0,0 1 16,0-1-16,13 0 0,-13 0 0,14 0 0,-1-13 16,0 14-16,0-14 15,0 0-15,1 0 0,12 0 0,-13 0 16,1 0-16,12-14 0,-13 14 0,1-13 15,-1 13-15,0-13 0,0 0 16,0 0-16,1-1 0,-14 1 0,13 0 16,-13 0-16,0-1 0,0 1 0,0 0 15,0 0-15,-13-14 0,13 14 0,0 0 16,-14-14 0,1 27-16,0-13 0,13 0 0,-13 13 15,0 0-15,-1 0 0,-12 0 16,13 0-16,-1 13 15,1 0-15,13 1 16,0-1-16</inkml:trace>
  <inkml:trace contextRef="#ctx0" brushRef="#br1" timeOffset="59232.94">9671 6787 0,'26'-14'0,"-13"14"0,-13-13 16,13 13-16,1 0 0,-1 0 0,0 0 15,0-13-15,1 13 16,-1 0-16,0 0 0,0 0 16,0 0-16,1-13 15,-1 13-15,0 0 0,0 0 16</inkml:trace>
  <inkml:trace contextRef="#ctx0" brushRef="#br1" timeOffset="59909.41">10292 6668 0,'0'-14'16,"0"1"-1,-13 0 16,13 0-15,-13-1 0,0 14-16,-1-13 15,1 26 1,0-13-16,0 0 0,13 14 16,-14-14-16,1 13 0,0-13 0,0 13 15,0 0-15,-1 1 16,1-1-16,13 0 0,0 0 15,13 0 1,1-13 0,-1 0-16,0-13 0,0 13 0,0 0 15,1-13-15,-1 13 0,0 0 0,0-13 16,1 13-16,-1 0 16,0 0-16,0 0 0,1 0 0,-14 13 15,0 0-15,0 0 16,0 1-16,0-1 0,0 0 15,0 0-15,-14 1 16,14-1-16,0 0 0,0 0 0,-13 0 16,13 1-16</inkml:trace>
  <inkml:trace contextRef="#ctx0" brushRef="#br1" timeOffset="62620.56">20413 10676 0,'0'-13'0,"0"26"0,-14-40 15,1 27 1,-13 14-1,12-14-15,1 13 0,0 0 16,0 0-16,-14 1 0,14-1 0,0 0 16,0 0-16,-1 1 0,1-1 0,13 0 15,-13 0-15,0 0 16,13 1-16,0-1 0,0 0 16,0 0-16,13-13 0,0 14 15,0-14-15,14 0 16,-14 0-16,0 0 0,1 0 0,-1 0 15,13 0-15,-13 0 0,1-14 0,-1 14 16,0 0-16,0 0 16,1 0-16,-1-13 0,0 13 15,0 0-15,-13-13 0,14 13 16,-1 0-16,0-13 16,0 13-1,0 0 1,1-14-16,-1 14 15,-13-13 1,13 13-16,-13-13 0,13 13 16,-13-13-16,14 0 15,-1-1-15,-13 1 0,0 0 16,13 0-16,-13-1 0,0 1 16,13 0-16,-13 0 0,0-1 15,0 1-15,14 13 0,-41 27 31,14-14-15,13 0-16,-13 0 0,-1 14 0,1-14 16,13 0-16,0 1 0,-13-1 15,13 0-15,0 0 0,0 0 0,0 1 16,0-1-16,13 0 0,-13 0 16,13-13-16,1 0 15,-1 0-15,0 0 0,14 0 0,-14 0 16,13 0-16,-13-13 0,1 13 0,12-13 15,-13 13-15,1-13 0,-1 13 16,0-14-16,0 1 0,-13 0 16,-26 26 15,13 0-15,-1 1-1,14-1 1,14-13-1,-1 0-15,0 0 16,0 0-16,0 0 0,1 0 16,-1 0-16,0 13 15,0-13-15,1 13 16,-14 1 0,0-1-1,0 0 1,-14-13-16,14 13 15</inkml:trace>
  <inkml:trace contextRef="#ctx0" brushRef="#br1" timeOffset="63292.4">22278 10702 0,'40'-13'31,"-67"13"1,14 0-32,0 13 15,-1-13-15,1 0 0,13 14 0,-13-14 16,0 0-16,13 13 0,-13-13 0,13 13 15,0 0 1,0 1-16,0-1 16,13 0-16,-13 0 0,13 0 15,-13 1-15,13-14 16,-13 13-16,0 0 0,0 0 16,-13 1-16,0-1 15,0-13-15,-1 13 16,1-13-16,0 13 0,0-13 0,-1 0 15,1 14-15,0-14 0,0 13 16,39-40 15,-13 27-31,14-13 0</inkml:trace>
  <inkml:trace contextRef="#ctx0" brushRef="#br1" timeOffset="63547.62">22463 10782 0,'13'0'16,"1"13"-1,-28 0-15,14 0 16,0 1-16,0-1 16,0 0-1,14-13-15,-14 13 0,13-13 0,-13 14 0,13-14 16,0 0-16,0 0 0,1 0 16,-1 0-1,-13-14-15,13 1 0,-26-13 16,13 12-16,-13 14 15,-1-13-15,14 0 0,-13 0 16,0 13-16,0 0 0,13-13 0,-13 13 16,-1 0-16,1 13 15</inkml:trace>
  <inkml:trace contextRef="#ctx0" brushRef="#br1" timeOffset="63713.58">22966 10914 0,'-27'-13'0</inkml:trace>
  <inkml:trace contextRef="#ctx0" brushRef="#br1" timeOffset="66243.47">23720 10808 0,'13'-13'0,"14"26"16,-14-13-16,-13 13 15,13-13-15,-13 14 16,0-1-16,-13-13 0,13 13 16,-13 0-16,-1 1 0,1-1 15,0 0-15,0-13 0,-1 13 16,1 1-16,0-14 0,0 13 15,0 0 1,26 0 15,0-13-31,13 0 16,-12 0 0,-1 0-16,0 0 0,0-13 15,1 13-15,12 0 16,-13-13-1</inkml:trace>
  <inkml:trace contextRef="#ctx0" brushRef="#br1" timeOffset="66565.59">24077 10821 0,'-13'0'16,"0"14"15,13-1-31,13 0 16,-13 0-16,0 1 15,0-1-15,0 13 16,-13-12-1,13-1-15,-14-13 0,1 13 16,0 0-16,0-13 16,-1 13-16,1-13 0,0 0 15,0 0-15,0 14 0,-14-28 16</inkml:trace>
  <inkml:trace contextRef="#ctx0" brushRef="#br1" timeOffset="66804.63">23680 10623 0,'-39'13'0,"78"-26"0,-92 39 15,40-12-15,0-14 0,0 26 0,-1-13 16,1 14-16,0-1 0,0-12 0,-1 12 15,14 0-15,-13 1 0,13-1 16,0-12-16,0 12 0,0 1 0,13-14 16,-13 13-16,14-13 0,-1 14 0,13-14 15,-12 0-15,12 1 0,14-1 16,-14 0-16</inkml:trace>
  <inkml:trace contextRef="#ctx0" brushRef="#br1" timeOffset="67089.59">24355 10649 0,'40'40'0,"-80"-80"0,93 93 0,-40-39 15,0-1-15,-13 13 0,27 1 16,-27-1-16,13-13 0,0 14 0,-13-1 16,0 1-16,0-14 0,0 14 15,-13-1-15,0 0 0,0 1 16,-1-1-16,1-12 0,-13 12 0,-14-13 16,13 14-16,14-14 0,-13 0 0,13 0 15,-14 1-15</inkml:trace>
  <inkml:trace contextRef="#ctx0" brushRef="#br1" timeOffset="69530.58">22582 11165 0,'13'0'32,"1"0"-32</inkml:trace>
  <inkml:trace contextRef="#ctx0" brushRef="#br1" timeOffset="69680.7">22820 11218 0,'14'0'32,"-14"-13"-17</inkml:trace>
  <inkml:trace contextRef="#ctx0" brushRef="#br1" timeOffset="69810.34">22992 11258 0,'14'-13'31</inkml:trace>
  <inkml:trace contextRef="#ctx0" brushRef="#br1" timeOffset="69953.57">23442 11337 0,'0'0'16,"0"-13"-16,13 13 16,1 0-16</inkml:trace>
  <inkml:trace contextRef="#ctx0" brushRef="#br1" timeOffset="72005.77">22423 11192 0,'-26'0'62,"13"13"-62,0-13 16</inkml:trace>
  <inkml:trace contextRef="#ctx0" brushRef="#br1" timeOffset="72132.42">22357 11284 0,'-26'14'15,"13"-14"1</inkml:trace>
  <inkml:trace contextRef="#ctx0" brushRef="#br1" timeOffset="72272.83">22304 11337 0</inkml:trace>
  <inkml:trace contextRef="#ctx0" brushRef="#br1" timeOffset="72685.56">22714 11404 0,'14'0'31,"-1"0"-15</inkml:trace>
  <inkml:trace contextRef="#ctx0" brushRef="#br1" timeOffset="76649.53">20108 11721 0,'0'-13'31,"-13"26"1,13 0-32,-13-13 0,13 14 15,0-1-15,0 0 0,0 0 0,0 0 16,0 1-16,0-1 0,0 0 16,0 0-16,13-13 0,-13 14 15,13-1-15,1 0 0,-1-13 16,0 13-16,0-13 15,0 0-15,1-13 16,-1 13-16,-13-13 16,13 13-16,-13-13 0,0-1 15,13 14-15,-13-13 16,0 0-16,-13 0 0,13-1 16,-13 1-16,13 0 15,-13 0-15,-1 0 16,1-1-1</inkml:trace>
  <inkml:trace contextRef="#ctx0" brushRef="#br1" timeOffset="76977.39">20492 11787 0,'13'13'31,"0"-13"-15,1 0 0,-1 0-1</inkml:trace>
  <inkml:trace contextRef="#ctx0" brushRef="#br1" timeOffset="77945.56">20876 11681 0,'13'0'0,"0"0"32,0 0-32,-39 14 62,13-14-62,-1 13 16,1-13-1,0 0-15,0 13 32,26 0-17,0-13 1,-13 14-16,13-14 0,1 13 16,-14 0-16,13-13 15,0 13-15,0 0 16,-13 1-1,0-1 1,-13-13-16,13 13 16,-13-13-16,0 13 0,-1-13 15,1 0-15,0 0 0,13 14 16,-13-14-16,-1 0 0,1 13 0,0-13 16</inkml:trace>
  <inkml:trace contextRef="#ctx0" brushRef="#br1" timeOffset="79721.58">20174 12224 0,'14'-13'0,"-28"26"47,1 0-31,13 0-16,-13 0 0,13 1 15,-13-1-15,13 0 0,0 0 16,0 1-16,-13-14 0,13 13 0,0 0 16,0 0-16,0 0 15,13 1-15,-13-1 16,13-13-16,-13 13 0,13-13 16,0 0-16,1 0 15,-1 0-15,0 0 0,-13-13 16,13 13-16,1-13 15,-14-1 1,0 1 0,-14 0-16,1 13 31,13-13-31,-13 13 16</inkml:trace>
  <inkml:trace contextRef="#ctx0" brushRef="#br1" timeOffset="80271.45">20479 12356 0,'13'0'31,"0"0"-31,0 0 16,1 0-16,-1 0 16,0 0-16,0 0 15,1 0-15,-1 0 16,0 0 15</inkml:trace>
  <inkml:trace contextRef="#ctx0" brushRef="#br1" timeOffset="80677.5">20862 12263 0,'0'14'31,"0"-1"-31,0 0 16,0 0-16,0 1 0,0-1 16,0 0-16,0 0 0,0 0 15,0 1-15</inkml:trace>
  <inkml:trace contextRef="#ctx0" brushRef="#br1" timeOffset="81073.82">21074 12290 0,'-26'13'16,"26"0"-16,0 1 15,0-1-15,-14-13 16,14 13-16,14 0 16,-14 0-16,0 1 15,13-14-15,0 0 16,0 0 0,1 0-16,-1 0 0,-13-14 15,13 14-15,0 0 0,-13-13 16,13 0-16,-13 0 15,0 0-15,0-1 16,-13 1-16,13 0 16,-13 13-16,0-13 0,0 13 0,-1 0 15,-12 0-15,13 0 16,-1 13-16,1-13 0,0 0 16,0 13-16,-14-13 0</inkml:trace>
  <inkml:trace contextRef="#ctx0" brushRef="#br1" timeOffset="81737.7">20174 12779 0,'-13'27'47,"13"-14"-47,-13 0 15,13 1-15,0-1 16,0 0-16,0 0 16,0 0-1,0 1-15</inkml:trace>
  <inkml:trace contextRef="#ctx0" brushRef="#br1" timeOffset="81982.69">20360 12740 0,'0'13'47,"-14"0"-32,14 0-15,0 1 0,0-1 0,0 0 16,0 0-16,-13-13 0,13 14 16,0-1-16,0 0 15,0 0-15,0 0 16</inkml:trace>
  <inkml:trace contextRef="#ctx0" brushRef="#br1" timeOffset="82237.72">20532 12872 0,'13'0'0,"0"0"16,0 0-16,1 0 16,-1 0-1,0 0-15,0 0 16,1 0-16,-1 0 15</inkml:trace>
  <inkml:trace contextRef="#ctx0" brushRef="#br1" timeOffset="82736.95">20942 12713 0,'-13'27'16,"13"-14"0,0 0-16,-14-13 15,14 13-15,0 1 16,0-1-16,0 0 0,-13-13 16,13 13-16,0 1 15,0-1 1</inkml:trace>
  <inkml:trace contextRef="#ctx0" brushRef="#br1" timeOffset="84659.68">21206 12766 0,'14'-13'0,"-1"13"32,0 0-32,0 0 15,-13-13-15,13 13 0,1 0 16,-1 0-1,-13-14 1,-27 28 15,14-14-31,0 0 16,0 13-16,0-13 0,-1 0 16,1 0-16,13 13 15,-13-13-15,0 0 0,-1 13 16,28 1 15,-1-14-31,-13 13 16,13-13-16,0 0 15,-13 13-15,14-13 0,-14 13 16,13-13-16,0 14 0,-13-1 16,13-13-1,-26 13-15,13 0 16,-13-13-16,13 13 0,-13-13 15,-1 14-15,1-14 16,0 0-16,0 0 0,13 13 0,-14-13 16,1 0-16,0 0 0,0 0 15</inkml:trace>
  <inkml:trace contextRef="#ctx0" brushRef="#br1" timeOffset="86136.62">20188 13282 0,'0'27'16,"0"-14"-16,0 0 0,-14 0 16,14 0-16,0 1 15,0-1-15,-13 0 0,13 0 16,0 1-16,0-1 15,-13 0-15,13 0 16,0 1-16</inkml:trace>
  <inkml:trace contextRef="#ctx0" brushRef="#br1" timeOffset="86493.52">20399 13256 0,'-26'26'16,"26"-13"-16,-13 1 0,13-1 16,0 0-16,0 0 15,0 0-15,0 1 0,13-1 0,-13 0 16,0 0-16,13-13 15,-13 14-15,13-14 0,1 0 16,-1 13-16,0-26 31,0 13-15,-39-14 15,13 14 0</inkml:trace>
  <inkml:trace contextRef="#ctx0" brushRef="#br1" timeOffset="86683.49">20690 13361 0,'14'-13'16,"12"13"15,-26-13-31,13 13 0,1 0 16,-1 0-16,0 0 0</inkml:trace>
  <inkml:trace contextRef="#ctx0" brushRef="#br1" timeOffset="87607.49">21048 13295 0,'13'0'16,"0"0"0,0 14-16,-13-1 31,0 0-31,-13 0 16,13 0-16,-13 1 15,13-1 1,-13 0-16,13 0 15,0 1 32,13-14-31,0 0 0,0 0-16,1 0 15,-1 0-15,0-14 0,0 14 0,0 0 16,1-13-16,12 13 0</inkml:trace>
  <inkml:trace contextRef="#ctx0" brushRef="#br1" timeOffset="87891.69">21378 13282 0,'-26'13'47,"26"1"-47,0-1 16,0 0-16,0 0 15,0 0-15,13-13 16,0 14-16,1-14 16,-1 0-1,0-14 1,-13 1-16,0 0 16,0 0-16,0 0 0,-13 13 15,13-14-15,-13 1 0,-1 0 16,1 13-1,0 0-15,-14 0 16,14 13-16,0-13 0,-14 0 0,14 13 16</inkml:trace>
  <inkml:trace contextRef="#ctx0" brushRef="#br1" timeOffset="88583.64">20227 13864 0,'14'0'16,"-1"0"-16,0 0 15,0 0 1,-13 13-16,-13 1 16,13-1-1,-13-13-15,13 13 16,-13 0-16,13 1 0,-14-1 15,14 0 1,0 0 0,0 0-1,14-13 1,12 0-16,-13 0 16,1-13-16,12 13 0,-13-13 15</inkml:trace>
  <inkml:trace contextRef="#ctx0" brushRef="#br1" timeOffset="88752.3">20492 13824 0,'-53'53'0,"106"-119"0,-53 79 0,13-26 0,-13 40 31,0-14-15,-13 0 0,13 0-16,0 1 0,0-1 0,0 0 15,0 0-15,0 1 16,0-1-16,0 0 0,0 0 15,0 0-15,13-13 0,-13 14 16</inkml:trace>
  <inkml:trace contextRef="#ctx0" brushRef="#br1" timeOffset="88969.32">20757 13957 0,'13'0'0,"13"-13"16,-13 13 0,1 0-16,-1-14 0,13 14 15,-12 0 1</inkml:trace>
  <inkml:trace contextRef="#ctx0" brushRef="#br1" timeOffset="89468.78">21286 13811 0,'13'0'15,"13"13"1,-26 1 0,0-1-16,-13 0 15,13 0-15,-13 1 0,0-1 16,13 0-16,-14-13 16,14 13-16,-13 1 0,0-14 15,13 13-15,-13 0 16,26-13 31,0 0-47,0 0 15,1 0-15,-1 0 16,0 0 0,0 0-16,1 0 15,-1-13-15,0 13 16</inkml:trace>
  <inkml:trace contextRef="#ctx0" brushRef="#br1" timeOffset="89820.33">21643 13838 0,'-13'0'0,"-1"0"31,14 13-31,0 0 16,0 0 15,14 1-31,-14-1 15,-14 0-15,14 0 16,-13 1 0,0-1-16,0-13 0,0 13 15,-1-13-15,1 0 0,0 13 0,0-13 16,-1 0-16,1 0 0,-13 0 16,12 0-16</inkml:trace>
  <inkml:trace contextRef="#ctx0" brushRef="#br1" timeOffset="100027.63">21709 12832 0,'0'-13'0,"13"13"31,1 0-15,12 0-16,-13 0 15,0 0-15,1 0 0,-1 0 16,0 13-16,0-13 16,1 0-16,-1 0 15,0 0 1,0 0-1,1 14 1</inkml:trace>
  <inkml:trace contextRef="#ctx0" brushRef="#br1" timeOffset="100340.19">21894 12740 0,'14'13'31,"-1"-13"-15,-13 13-16,13-13 0,0 13 15,0-13-15,-13 14 0,0-1 16,14-13-16,-14 13 0,13 0 16,-13 1-16,-13-1 15,13 0-15,0 0 0,-14 0 0,1-13 16,0 14-16,13-1 0,-13 0 16,0-13-16,-1 13 0,1 1 15,0-14-15,0 13 0</inkml:trace>
  <inkml:trace contextRef="#ctx0" brushRef="#br1" timeOffset="103782.48">22595 12687 0,'0'-13'0,"14"13"0,-1 13 31,0-13-31,-13 13 0,13-13 16,-13 13-16,0 0 16,0 1-16,-13-1 0,0 0 15,13 0-15,-13 1 16,-1-1-16,1-13 0,13 13 0,-13-13 15,0 13-15,-1 1 0,1-14 16,13 13 0,-13-13-16,13 13 15,13-13 1,0 13 0,1-13-16,-1 0 15,13 0 1,-12 0-16,-14-13 15,13 13-15,0 0 16,0 0-16,1 0 16</inkml:trace>
  <inkml:trace contextRef="#ctx0" brushRef="#br1" timeOffset="104955.8">22926 12687 0,'13'0'0,"1"-13"15,-1 13 1,0 0-16,0-14 16,1 14-16,-28 14 47,1-14-32,0 0-15,13 13 0,-13-13 0,-1 0 16,1 13-16,0-13 15,0 0-15,13 13 0,-14-13 16,1 0-16,13 13 31,13 1-15,1-1 0,-1-13-16,-13 13 15,13-13-15,-13 13 0,0 1 16,0-1-1,0 0-15,-13 0 16,0 1-16,-1-14 0,1 13 16,0-13-16,0 13 0,0-13 0,-1 13 15,1-13-15,0 0 0,0 13 16,-1-13-16,1 0 0,0 0 0,0 0 16,-1 14-16</inkml:trace>
  <inkml:trace contextRef="#ctx0" brushRef="#br1" timeOffset="106532.97">21418 11814 0,'26'13'16,"-12"-13"0,-1 0-16,0 0 15,0 0 1,1 0-16,-1 0 15,0 0-15,0 0 16,1 0-16,-1-13 16,0 13-1</inkml:trace>
  <inkml:trace contextRef="#ctx0" brushRef="#br1" timeOffset="106893.45">21590 11695 0,'26'13'31,"-12"-13"-31,-1 0 15,0 13-15,0-13 0,1 13 16,-1-13-16,0 0 0,-13 14 16,13-1-16,1-13 0,-1 13 0,-13 0 15,13-13-15,-13 13 0,0 1 16,0-1 0,0 0-16,-13-13 0,13 13 0,-13 1 15,-1-14-15,14 13 0,-13-13 16,0 13-16,0-13 0,13 13 0,-14-13 15,14 13-15,-13-13 0,13 14 16</inkml:trace>
  <inkml:trace contextRef="#ctx0" brushRef="#br1" timeOffset="108952.51">22410 11708 0,'13'0'16,"1"0"-1,12 0-15,-13-13 16,1 13-16,-1 0 16,0 0-16,0 0 15,0 0-15,-39 13 32,13 0-17,0-13-15,-1 0 0,1 13 0,0-13 16,0 0-16,-1 14 0,1-14 15,0 13-15,0-13 0,0 0 16,-1 13 0,14 0-1,14-13-15,-14 13 0,13-13 16,0 14-16,0-1 16,0-13-16,1 13 0,-1-13 0,0 13 15,0 1-15,1-1 16,-14 0-1,0 0-15,-14-13 16,1 13-16,0-13 0,0 0 16,-14 14-16,14-14 0,-13 0 15,12 0-15,1 13 0,-13-13 0,12 0 16,1 0-16,0 13 0,0-13 0,-1 0 16,1 13-16</inkml:trace>
  <inkml:trace contextRef="#ctx0" brushRef="#br1" timeOffset="109593.19">21683 12409 0,'53'-27'31,"-40"27"-31,0 0 0,0 0 16,0 0-1,1 0-15,12 0 16,-13 0 0</inkml:trace>
  <inkml:trace contextRef="#ctx0" brushRef="#br1" timeOffset="109997.27">21802 12290 0,'13'-13'15,"40"26"16,-40 0-31,0-13 0,1 0 16,-1 13-16,0-13 0,-13 14 0,13-14 16,0 0-16,-13 13 0,14-13 15,-14 13-15,13-13 0,-13 13 0,0 0 16,0 1 0,-13-14-16,13 13 0,-14 0 0,1 0 15,0 1-15,0-1 16,0 0-16</inkml:trace>
  <inkml:trace contextRef="#ctx0" brushRef="#br1" timeOffset="110680.69">22635 12356 0,'27'-13'0,"-14"13"31,-40 0 16,14 13-47,0-13 15,0 0-15,-1 0 0,1 13 16,0-13-16,0 0 16,-1 0-16,14 13 0,-13-13 0,0 14 31,26-14-15,0 13-16,1-13 15,-14 13-15,13-13 0,0 0 16,0 13-16,-13 1 15,-13-14 1,13 13-16,-13-13 16,0 0-16,-1 13 0,1-13 0,0 0 15,-13 13-15,12-13 0,-12 14 16,13-14-16</inkml:trace>
  <inkml:trace contextRef="#ctx0" brushRef="#br1" timeOffset="111776.33">21815 13348 0,'13'0'0,"40"0"31,-40-13-31,1 13 16,-1 0-1,0 0-15,0 0 16,0 0-16</inkml:trace>
  <inkml:trace contextRef="#ctx0" brushRef="#br1" timeOffset="112181.47">21987 13256 0,'13'0'31,"0"0"-31,1 0 16,-1 0-16,0 0 16,-13 13-16,13-13 0,0 0 15,1 13-15,-1 0 16,-13 1-1,0-1 1,0 0-16,-13-13 0,13 13 16,-14 0-16,1-13 15,13 14-15,-13-1 16</inkml:trace>
  <inkml:trace contextRef="#ctx0" brushRef="#br1" timeOffset="113035.56">22847 13295 0,'13'-13'16,"0"13"-16,0-13 0,1 13 16,-28 13 46,14 0-62,-13-13 0,0 0 16,0 14-1,13-1 17,13 0-17,0 0 1,0 0-16,-13 1 16,14-14-1,-28 13 1,14 0-16,-13-13 15,0 0-15,0 0 0,0 13 16,-1-13-16,1 0 16,0 0-16,0 0 0,-1 0 15</inkml:trace>
  <inkml:trace contextRef="#ctx0" brushRef="#br1" timeOffset="119429.09">22569 12369 0,'26'-13'16,"14"-13"-1,-27 12-15,1 14 0,12-13 16,-13 0-16,0 13 0,1-13 0,-1 13 15,0-14 1,0 14-16,1-13 0,-1 13 0,0 0 16,-13-13-16,13 13 15,1-13-15,-1 13 16,-40 0 62,14 13-78,0-13 16,0 13-16,-1-13 15,1 0-15,13 13 16,-13-13-16,0 0 0,13 14 0,-14-14 16,1 0-16,13 13 0,-13-13 15,0 0-15,0 13 0,-1 0 16,1-13-16,13 14 0,-13-14 0,0 0 15,13 13-15,-14-13 0,1 13 16,0 0-16,0 0 16,-1-13-16,14 14 0,-26-1 15,26 0-15,-13-13 0,13 13 16,-13 1-16,13-1 16,-14 0-16,14 0 15,0 1 1,14-1-16,-14 0 15,13-13-15,0 0 0,0 13 16,0-13-16,1 0 0,-1 0 16,0 0-16,0 0 0,1-13 0,-1 13 15,0 0-15,0 0 0,1 0 0,-1-13 16,0 13-16,0 0 0,-13-13 16,13 13-16,-13-14 15,-13 1 1,0 13-16,0 0 15,0 0-15,-1-13 16,1 13-16,0 0 0,-14 0 0,14 0 16,0 13-16,0-13 0,-14 0 15,14 13-15,0-13 0,13 14 0,-13-14 16,13 13-16</inkml:trace>
  <inkml:trace contextRef="#ctx0" brushRef="#br1" timeOffset="120515.49">22873 13242 0,'0'-13'0,"13"0"16,1 13 0,-14-13-16,13 13 0,0-14 15,0 1-15,1 13 16,-1 0-16,0-13 0,0 13 0,1-13 16,-1 13-16,0-13 15,0 13-15,0 0 16,-13-14-16,14 14 15,-41 14 32,14-14-47,0 0 0,0 13 16,-1 0-16,1 0 0,0-13 16,0 13-16,-1-13 0,14 14 15,-13-1-15,0-13 0,0 13 16,-1 0-16,1 1 0,13-1 15,-13-13-15,0 13 0,13 0 16,-13-13-16,13 14 0,0-1 0,-14-13 16,14 13-16,0 0 0,-13-13 0,13 13 15,0 1 1,0-1-16,0 0 0,0 0 16,0 1-1,13-14-15,1 0 16,-1 0-16,13 0 15,-13 0-15,1 0 16,-1-14-16,0 14 16,0 0-16,1-13 15,-14 0-15,-14 0 32,1-1-17,0 14-15,0 0 0,-1 0 16,1 0-16,0 0 15,0 0-15,0 14 0,-1-14 16,1 0-16,13 13 0</inkml:trace>
  <inkml:trace contextRef="#ctx0" brushRef="#br1" timeOffset="121123.66">21987 13957 0,'26'-13'15,"-12"13"1,-1 0-16,0 0 0,0-14 16,0 14-16,1 0 0,-1 0 0,0 0 15,0 0-15,1 0 16,-1 0-16,0 0 0,0-13 0,1 13 15</inkml:trace>
  <inkml:trace contextRef="#ctx0" brushRef="#br1" timeOffset="121393.31">22132 13838 0,'27'13'31,"-14"-13"-31,-13 13 16,13-13-16,1 13 0,-1-13 0,0 14 16,0-1-16,0 0 0,-13 0 15,14 1-15,-14-1 16,0 0-16,-14 0 0,14 0 0,0 1 15,0-1-15,-13 0 0,13 0 16</inkml:trace>
  <inkml:trace contextRef="#ctx0" brushRef="#br1" timeOffset="122295.58">23098 13851 0,'0'26'94,"13"-12"-94,-13-1 0,0 0 0,14 0 15,-14 1-15,0-1 0,0 13 16,0-13-16,0 1 0,0-1 16,0 0-16,0 0 0,-14-13 0,14 14 15,0-1-15,-13-13 0,13 13 16,-13 0-16,0-13 15,-1-13 1,14 0 0,14 0-16,-1-1 15,0 1-15,0 0 16,-13 0-16,14 13 0,-14-14 16,13 1-16,-13 0 0,0 0 0,13 13 15,-13-13-15,0-1 0,0 1 16,0 0-1,-13 0-15,13-1 0,0 1 16,-13 13-16,-1-13 16,1 13-16,0 0 15</inkml:trace>
  <inkml:trace contextRef="#ctx0" brushRef="#br1" timeOffset="124109.6">22939 11642 0,'40'13'31,"-27"-13"-31,14 0 16,-1 0-16,-13 0 0,14 0 0,-1 0 15,1 13-15,-14-13 0,14 0 0,-1 0 16,-13 0-16,0 13 0,14-13 15,-14 14-15,0-14 0,1 13 0,-1 0 16,0 0-16,0 1 0,-13 12 16,13-13-16,1 14 0,-14-1 0,0 1 15,13-14-15,-13 26 0,13 1 16,-13 0-16,13 0 0,-13-1 16,0 1-16,14 0 0,-14-1 0,13 14 15,0 0-15,0-13 0,1 13 0,-1 0 16,0 0-16,13-1 0,-12 1 15,12 0-15,1 0 0,-14 0 0,27 40 16,-27-54-16,13 1 0,-13 0 16,1 0-16,-1-1 0,-13 1 15,13-14-15,0 14 0,1 0 0,-1-14 16,-13 1-16,13-1 0,-13 1 0,13-1 16,-13-13-16,13 14 0,-13-1 15,0 1-15,14-1 0,-14 1 16,13-1-16,-13-13 0,13 14 0,0-14 15,-13 13-15,0-12 0,14-1 0,-14 0 16,13 0-16,-13 0 0,13 1 16,-13-1-16,13 0 0,-13 0 0,14 1 15,-14-1-15,13 0 16,0 0-16,0 1 16,-13-1-16,13-13 15,1 13-15,-14 0 16,13-13-1,-13 13-15,0 1 32,0-1-32,-13-13 15,13 13-15,-14-13 0,1 13 0,0 1 16,-13-1-16,-1 0 0,1 0 0,-1 1 16,-13 12-16,14-26 0,0 13 15,-1 0-15,1-13 0,12 14 0,-12-14 16,13 0-16,-14 13 0,14-26 0</inkml:trace>
  <inkml:trace contextRef="#ctx0" brushRef="#br1" timeOffset="125167.6">19870 11642 0,'0'-14'0,"0"28"0,-13-41 0,0 14 16,0 0-16,-1 13 16,1 0-16,13-13 0,-26 13 15,12 0-15,1 0 0,0 0 0,0 0 16,-1 0-16,1 13 0,0-13 0,0 13 15,-14 13-15,14 1 16,-13 13-16,12-1 0,1 1 0,0 13 16,0 0-16,-1 13 0,1-13 0,13 0 15,-13 13-15,0-13 0,0 0 16,-1 0-16,1 0 0,0-14 0,0 1 16,-14 0-16,14-1 0,-13-12 0,12-1 15,-12 1-15,13-1 0,-1-13 16,1 1-16,0-14 0,0 13 0,-1-13 15,1-13-15,13-1 16,0 1-16,13 0 16,-13 0-16,14-1 0,-1 14 15,13 0-15,-12 27 16,-1-1-16,0 14 0,-13 13 0,13 13 16,-13 0-16,0 0 0,-13 14 15,13-1-15,0 14 0,-13-14 0,13 14 16,-13-14-16,13 1 0,0-1 0,-14 0 15,14 1-15,0-14 0,0 0 16,14 0-16,-14 0 0,0-13 0,13 13 16,0-26-16,0 0 0,1-14 0,-14 14 15,26-14-15</inkml:trace>
  <inkml:trace contextRef="#ctx0" brushRef="#br1" timeOffset="126305.55">20294 12052 0,'0'0'16,"26"13"-1,-13-13-15,14 0 16,-14 0-16,13 0 0,1 0 16,-1 0-16,1 0 0,-1 0 0,-13 0 15,14 0-15,-1 0 0,-12 0 0,-1 0 16</inkml:trace>
  <inkml:trace contextRef="#ctx0" brushRef="#br1" timeOffset="126476.53">20280 12158 0,'40'-14'16,"-27"14"-16,14 0 0,-1 0 15,1 0-15,12 0 0,-12 14 0,26-14 16</inkml:trace>
  <inkml:trace contextRef="#ctx0" brushRef="#br1" timeOffset="127003.57">20294 12502 0,'13'0'0,"93"-14"32,-80 14-32,14 0 15,-14 0-15,14 0 0,-14 0 0,1 0 0,13 0 16,-14 0-16,-13 14 0,14-14 15,-14 13-15,0-13 0,0 13 0,1-13 16</inkml:trace>
  <inkml:trace contextRef="#ctx0" brushRef="#br1" timeOffset="127167.2">20532 12674 0,'39'-14'0,"-25"14"16,-1 0-16,13-13 0,-12 13 16,12 0-16,0 0 0,1-13 0,-1 13 15,-12 0-15</inkml:trace>
  <inkml:trace contextRef="#ctx0" brushRef="#br1" timeOffset="127515.52">20426 13150 0,'53'0'0,"-106"0"16,119-13-16,-40 13 0,-12 0 0,12 0 15,-13 0-15,14 0 0,-14-14 0,14 14 16,-14 0-16,13 0 0</inkml:trace>
  <inkml:trace contextRef="#ctx0" brushRef="#br1" timeOffset="127717.4">20479 13203 0,'53'0'32,"-40"0"-32,0-14 0,14 14 0,-1 0 15,-13 0-15,14 0 0</inkml:trace>
  <inkml:trace contextRef="#ctx0" brushRef="#br1" timeOffset="128200.6">20664 13626 0,'13'-13'15,"0"13"-15,1 0 0,-1-13 0,0 13 16,0 0-16,14-14 0,-1 14 0,1-13 16,-1 13-16,1-13 0,-1 13 15,1-13-15,-1 13 0,-13 0 0,14-14 16,-14 14-16,13 0 0,-12 0 0,-1 0 16,0 0-16</inkml:trace>
  <inkml:trace contextRef="#ctx0" brushRef="#br1" timeOffset="128420.66">20717 13732 0,'40'0'16,"-27"0"-1,0-13-15,0 13 0,14 0 16,-14-14-16,13 14 0,1 0 0,-1-13 16,-12 13-16,12 0 0,-13 0 0,14-13 15,-14 13-15,0 0 0</inkml:trace>
  <inkml:trace contextRef="#ctx0" brushRef="#br1" timeOffset="129164.4">21101 14248 0,'13'-13'16,"0"13"-16,0-14 15,0 14-15,1 0 0,-1-13 16,0 13-16,0 0 0,14-13 0,-14 13 15,13-13-15,-12 13 0,-1 0 0,13-14 16,-12 14-16,-1 0 0,0-13 16,0 13-16,1 0 0,-1-13 0</inkml:trace>
  <inkml:trace contextRef="#ctx0" brushRef="#br1" timeOffset="129417.17">21180 14261 0,'26'-13'31,"-12"13"-31,-1 0 0,0 0 16,0 0-16,0-13 0,1 13 15,-1 0-15,0 0 0,0-14 16,1 14-16,-1 0 0,0 0 16,0 0-16,1 0 15</inkml:trace>
  <inkml:trace contextRef="#ctx0" brushRef="#br1" timeOffset="133413.74">23270 12766 0,'0'-13'31,"13"0"-31,-13-1 31,0 1-31,0 0 31,0 0-31,0 0 0,-13 13 16,13-14-16,0 1 16,0 0-16,-13 0 15,0-1-15,13 1 16,-14 0-1,1 13-15,0-13 16,0 13 0,0 0-16,-1-14 0,1 14 15,0 0 1,13-13-16,-27 13 16,14 0-16,13-13 0,-13 13 15,0 0-15,-1 0 0,1-13 16,0 13-16,0 0 15,0 0-15,-1 0 0,1-13 16,0 13-16,0 0 16,-1 0-16,1 0 0,0 0 0,0 0 15,13-14-15,-14 14 0,1 0 16,0 0-16,0 0 0,0 0 0,-1 0 16,1 0-16,0 0 15,0 0-15,-1 0 16,1 0-16,0 0 0,0 0 15,-1 0-15,1 0 0,0 0 16,0 0-16,0 0 0,-1 0 16,1 0-16,0 0 0,0 0 15,-1 0-15,1 0 0,0 0 0,0 0 16,-1 0-16,1 0 0,0 0 16,-13 0-16,12 0 0,1 0 0,0 0 15,-14 0-15,1-13 0,13 13 0,-14 0 16,14 0-16,-13 0 15,12 0-15,-12 0 0,13-13 0,-14 13 16,14 0-16,-13 0 0,12 0 0,-12 0 16,13 0-16,-14-13 0,1 13 15,12 0-15,-12 0 0,13 0 0,-14 0 16,1 0-16,13 0 0,-14-14 0,14 14 16,-13 0-16,12 0 0,1 0 15,-13 0-15,12 0 0,1 0 0,0 0 16,0 0-16,-1 0 0,1 0 15,0-13-15,-13 13 0,12 0 16,1 0-16,0 0 0,0 0 16,-1 0-16,1 0 0,0 0 15,0 0-15,-1 0 0,1 0 16,0 0-16,0 0 0,0 0 0,-1 13 16,-12-13-16,13 0 0,-1 0 15,1 0-15,0 0 0,0 0 0,-14 0 16,14 0-16,0 0 0,-14 0 0,14 0 15,0 0-15,-14 0 0,14 0 16,0 0-16,-14 0 0,14 0 0,-13 0 16,13 0-16,-1 0 0,-12 0 15,13 0-15,-1 0 0,-12 0 16,13 0-16,0 0 0,-1 0 0,-12 0 0,13 0 16,-1 14-16,-12-14 0,13 0 15,-1 0-15,1 0 0,0 0 16,0 0-16,0 0 0,-1 0 0,1 0 15,0 0-15,0 0 0,-1 0 16,1 0-16,0 0 0,0 0 16,-1 13-16,1-13 0,0 0 15,0 0-15,0 0 0,-1 0 16,1 0-16,0 13 16,0-13-16,-1 0 0,1 0 15,0 0-15,0 0 16,0 0-16,-1 13 0,1-13 15,0 0-15,0 0 0,-1 0 16,1 0-16,0 0 16,0 0-16,-1 0 0,-12 0 15,13 0-15,-14 0 16,14 0-16,0 0 16,0 0-16,-1 0 0,1 0 15,0 0-15,0 14 16,-1-14-16,1 0 0,0 0 15,0 0-15,0 0 0,-1 0 16,1 0-16,0 13 0,0-13 16,-1 0-16,1 0 0,0 0 15,0 13-15,-1-13 0,1 0 0,0 0 16,0 13-16,0-13 0,-1 0 16,1 0-16,13 13 0,-13-13 0,-14 14 15,14-14-15,0 13 0,0-13 16,13 13-16,-14-13 0,1 13 15,0-13-15,0 14 0,0-1 0,13 0 16,-14-13-16,1 13 0,0 1 16,13-1-16,-13 0 0,13 0 15,-14 14-15,14-14 0,-13 0 0,13 0 16,0 1-16,-13 12 0,13-13 0,0 1 16,0-1-16,0 0 0,0 0 15,0 0-15,0 1 0,0-1 16,0 0-16,13 0 0,-13 1 15,13-1-15,1 0 16,-1-13-16,0 13 0,0 1 16,14-14-16,-14 0 0,0 13 0,14-13 15,-14 13-15,13-13 0,-12 0 16,12 13-16,-13-13 0,14 0 0,-1 0 16,1 13-16,-1-13 0,14 0 0,-14 0 15,1 0-15,-1 14 16,1-14-16,-1 0 0,14 0 0,-27 0 15,14 0-15,-1 0 0,0 13 0,1-13 16,-1 0-16,1 0 0,-1 0 16,-12 0-16,12 0 0,0 0 0,1 0 15,-1 0-15,1 13 0,-1-13 16,-13 0-16,14 0 0,-1 0 0,1 0 16,-14 0-16,14 0 0,-1 13 0,-13-13 15,14 0-15,-1 0 0,1 0 0,-1 14 16,-13-14-16,14 0 0,-1 0 15,1 13-15,-14-13 0,13 0 16,1 0-16,-1 0 0,1 13 0,-14-13 16,13 0-16,1 0 0,-1 0 15,1 0-15,-1 0 0,-13 0 0,40 13 16,-26-13-16,-14 0 0,14 0 16,-1 0-16,-13 0 0,14 13 15,-14-13-15,13 0 0,-12 0 0,25 14 16,-25-14-16,12 0 0,-13 13 15,14-13-15,-14 0 0,13 0 16,-12 13-16,-1-13 0,0 0 0,14 0 16,-14 13-16,0-13 0,0 0 15,0 0-15,14 0 0,-14 14 16,14-14-16,-14 0 16,13 0-16,-13 0 15,1 0-15,-1 0 0,0 0 0,0 0 16,14 0-1,-14 13-15,0-13 0,1 0 16,-1 0-16,0 0 0,0 0 0,0 0 16,1 0-16,-1 0 0,0 0 15,0 0-15,1 0 0,12 0 16,-13 0-16,1 0 0,-1 0 16,0 0-16,0-13 15,0 26-15,1-13 0,-1-13 0,0 13 16,0 0-16,1 0 0,-1 0 0,0 0 15,0 0-15,0 0 16,1 0-16,-1 0 0,0 0 16,0 0-16,1 0 0,-1 0 15,0-14-15,0 14 16,1 0-16,-1 0 0,0 0 16,13 0-1,-12-13 1,-1 13-16,0 0 15,0 0-15,1-13 0,-1 13 16,0 0 0,0-13-16,1 13 15,-1-14 1,0 14-16,0 0 0,0 0 16,1-13-1,-1 13 1,0 0-16,-13-13 15,13 13-15,1 0 16,-14-13-16,13 13 16,0 0-16,-13-13 0,13 13 15,1-14 1,-1 14-16,0-13 16,0 13-16,0-13 15,1 13 1,-1-13-16,0 13 15,0 0-15,-13-14 0,14 14 16,-1-13-16,0 13 16,0-13-16,1 0 15,-1 0-15,0 13 0,0-14 16,0 1-16,1 13 16,-1-13-16,0 0 15,0 13-15,1-14 0,-1 1 0,0 0 16,0 0-16,0-1 0,1 1 15,-1 0 1,-13 0-16,0 0 16,13 13-16</inkml:trace>
  <inkml:trace contextRef="#ctx0" brushRef="#br1" timeOffset="137592.34">10200 5530 0,'-53'-13'31,"40"13"-15,-1 0-16,-25 0 0,12 0 15,14 0-15,-14 0 0,14 0 16,-13 0-16,13 0 0,-14 0 16,14 0-16,0 0 0,-1 0 0,1-14 15,0 14-15,0 0 16,-1 0-16,1 0 15,0 0-15,0 14 16,13-1 0,-13-13-16,13 13 0,-14 0 0,14 14 15,-13-14-15,13 13 0,-13 1 16,13-1-16,0 1 0,-13-1 16,13 14-16,-14-14 0,14 14 0,0-13 15,-13-1-15,13 0 0,0 1 0,-13-14 16,13 0-16,0 14 0,0-14 15,0 0-15,0 0 0,0 1 16,-13-1-16,13 0 16,0 0-16,0 1 15</inkml:trace>
  <inkml:trace contextRef="#ctx0" brushRef="#br1" timeOffset="137918.72">9618 5913 0,'0'27'47,"0"-14"-47,0 0 0,0 1 16,13-1-16,-13 0 0,0 0 16,0 0-16,0 1 0,13-14 15,-13 13-15,0 0 0,13 0 16,1-13-16,-1 0 15,0 0-15,0 0 0,0-13 0,27 0 16,-13 0-16,-1-1 0,40-25 16,-26 26-16,-14-14 15,14 14-15,-14 0 0</inkml:trace>
  <inkml:trace contextRef="#ctx0" brushRef="#br1" timeOffset="139665.54">9274 7369 0,'0'13'0,"-14"13"16,14-12-1,0 12-15,-13-13 0,13 14 16,-13-14-16,13 13 0,-13-12 0,13 12 0,-13-13 15,13 14-15,0-14 0,-14 0 0,14 0 16,0 1-16,0-1 0,-13 0 16,26 0-16</inkml:trace>
  <inkml:trace contextRef="#ctx0" brushRef="#br1" timeOffset="139976.63">9446 7461 0,'0'-13'16,"-14"39"0,1-26-16,13 14 0,0-1 15,0 0-15,13 0 0,-13 1 0,0-1 16,14 0-16,-14 0 0,13-13 16,-13 14-16,13-14 0,0 13 0,1-13 15,-1 0-15,0 0 0,0 0 16,0 0-16,1-13 0,-1 13 15,-13-14-15,0 1 16,0 0-16,0 0 0,0-1 0,-13 1 16,-1 0-16,1 0 0,0-1 15,0 1-15,0 13 0,-1-13 16,1 13-16,0 0 0,-14 0 16,14 13-16,0-13 0,13 13 15,-13 1-15,13-1 16</inkml:trace>
  <inkml:trace contextRef="#ctx0" brushRef="#br1" timeOffset="140440.57">9750 7527 0,'53'0'16,"-40"0"-16,0 0 15,0 0-15,1 14 16,-1-14-16,0 0 0,0 0 16,1 0-16,-1 0 0,0 0 15,0 0-15,1 0 0,-1 0 16,0 0-16,0 0 0</inkml:trace>
  <inkml:trace contextRef="#ctx0" brushRef="#br1" timeOffset="141254.76">10306 7395 0,'13'13'15,"-13"1"1,-13-1-16,13 0 0,0 0 0,0 0 16,-14 14-16,14-14 0,0 0 15,-13 14-15,13-14 0,-13 0 0,13 1 16,0-1-16,-13 0 0,13 0 15,13 0-15</inkml:trace>
  <inkml:trace contextRef="#ctx0" brushRef="#br1" timeOffset="141548.91">10570 7461 0,'-40'-13'31,"27"26"-31,0-13 16,0 13-16,0-13 0,-1 14 0,1-14 15,0 13-15,13 0 0,-13-13 16,13 13-16,0 1 16,13-14-16,0 0 0,0 13 15,1-13-15,-1 0 16,0 13-16,0-13 0,-13 13 0,13-13 15,-13 14-15,0-1 0,0 0 0,0 0 16,0 0-16,0 1 0,-13-1 0,13 0 16,-13 14-16,0-14 0,13 0 15,-13 0-15,13 14 0,-14-27 0</inkml:trace>
  <inkml:trace contextRef="#ctx0" brushRef="#br1" timeOffset="143337.13">9036 8123 0,'13'0'15,"0"-14"-15,0 28 0,0-14 16,14 0-16,-27 13 16,13-13-16,-13 13 15,0 0-15,-13-13 0,13 14 16,0-1-16,-13 0 0,-1 0 0,1 1 15,0-1-15,0 0 16,13 0-16,-13-13 0,13 13 0,-14-13 16,14 14-16,-13-1 15,40-13 17,-14-13-32,0 13 0,13-14 15,-12 1-15,12 0 0,1 13 16,-1-13-16,1 0 0,-14-1 0,13 14 15,-13-13-15,1 13 0,-1 0 0,0-13 16,0 26 0,-13 0-1,0 1 1,14-1-16,-1 0 16,13-26 15,-26 0-16,0-1-15,0 1 16,-13 0-16,0 13 16,13-13-16,-13 13 15,-1-14-15,1 28 16,13-1 0,0 0-1,13-13-15</inkml:trace>
  <inkml:trace contextRef="#ctx0" brushRef="#br1" timeOffset="143537.47">9631 8229 0,'13'0'31,"0"0"-31,1-14 0,-1 14 15,0 0 1,0 0-16,0 0 16,1 0-16,-1-13 0</inkml:trace>
  <inkml:trace contextRef="#ctx0" brushRef="#br1" timeOffset="144151.6">10028 8136 0,'26'-13'0,"-13"26"16,1-13-16,-1 13 15,0-13-15,0 13 16,-13 1 0,0-1-16,0 0 15,0 0-15,-13-13 0,13 14 0,-13-1 16,0-13-16,13 13 0,-14-13 15,14 13-15,-13-13 0,0 13 16,0 1 0,39-14 15,-13 0-31,1 0 16,-1 0-16,0 0 15,0 0-15,1 0 16,-14-14-16,13 14 0,0 0 0,0 0 15,0 0-15,-13-13 0,14 13 16,-1 0-16,0 0 16,0 0-16</inkml:trace>
  <inkml:trace contextRef="#ctx0" brushRef="#br1" timeOffset="144492.47">10451 8109 0,'0'0'0,"-13"0"0,-14 14 16,14-14-16,0 0 0,0 13 0,-53 13 31,52-12-31,28-1 31,-1-13-15,0 13-16,0 0 15,-13 1-15,0-1 0,0 0 16,0 0-16,0 0 0,0 1 16,-13-1-16,13 0 0,0 0 15,-13 1-15,13-1 0,-13 0 0,13 0 16,-14-13-16,14 14 0,0-1 0,-13-13 15</inkml:trace>
  <inkml:trace contextRef="#ctx0" brushRef="#br1" timeOffset="145536.37">8996 8824 0,'-13'0'16,"39"13"31,-26 0-47,0 1 15,0-1-15,0 0 16,0 0-16,-13-13 15,13 13-15,0 1 16,0-1 0,13 0-1,0 0-15,1 1 16,-14-1 0,0 0-1,-14 0-15,14 1 16,-13-14-16,13 13 0,-13-13 0,0 13 15,13-26 17,13-14-32,-13 14 15</inkml:trace>
  <inkml:trace contextRef="#ctx0" brushRef="#br1" timeOffset="145796.4">9194 8850 0,'14'0'0,"-14"14"31,0-1-31,0 0 0,0 0 16,0 0 0,13 1-16,0-1 0,0 0 15,0-13-15,1 0 16,-1 0-16,0 0 16,0 0-16,1-13 15,-14 0-15,0-14 16,0 14-1,-14 13-15,1-13 0,0 0 16,0 13-16,-1 13 16,1 0-1</inkml:trace>
  <inkml:trace contextRef="#ctx0" brushRef="#br1" timeOffset="145977.31">9551 8943 0,'0'0'0,"14"-13"0,-1 13 0,0 0 0,0 0 16,-13-14-16,27 14 16,-14 0-16,0-13 15,1 13-15,-1 0 0,0 0 16</inkml:trace>
  <inkml:trace contextRef="#ctx0" brushRef="#br1" timeOffset="146389.37">10094 8797 0,'0'0'0,"40"0"31,-27 14-31,-13-1 16,0 0-1,-13 0-15,13 1 16,0-1 0,0 0-16,0 0 15,0 0-15,0 1 16,0-1 0,0 0-16,-14-13 15,14 13-15,-13-13 0,13 14 0,-13-1 16,0-13-16,-1 13 0,1-13 15,0 13-15</inkml:trace>
  <inkml:trace contextRef="#ctx0" brushRef="#br1" timeOffset="146677.47">10345 8824 0,'-26'0'32,"13"13"-32,-1-13 15,41 0 17,-14 13-32,0-13 15,-13 14-15,0-1 16,0 0-16,0 0 15,0 0-15,-13 1 0,13-1 16,0 0-16,0 0 0,-13 1 0,13-1 16,0 0-16,-13-13 0,13 13 15,13 1 1</inkml:trace>
  <inkml:trace contextRef="#ctx0" brushRef="#br1" timeOffset="148098.57">11298 6694 0,'0'0'0,"26"-13"16,-13 13-16,1 0 15,-1 0-15,13 0 0,-12 0 16,-1 0-16,13 0 0,-13 0 0,14 0 0,-14 0 16,0 0-16,14 0 0,-14 0 15,0 0-15,1 13 0,-1-13 16</inkml:trace>
  <inkml:trace contextRef="#ctx0" brushRef="#br1" timeOffset="148281.41">11364 6813 0,'-13'0'0,"26"0"0,-13 13 31,13-13-31,-13 13 0,13-13 15,1 0-15,-1 0 0,13-13 0,-13 13 16,14 0-16,-1 0 0,1 0 16,-14-13-16,14 13 0,-1 0 0</inkml:trace>
  <inkml:trace contextRef="#ctx0" brushRef="#br1" timeOffset="148627.51">11576 6522 0,'26'13'15,"-13"-13"1,-13 13-16,13 1 0,1-1 16,-1-13-16,0 13 0,0 0 0,1 1 15,-14-1-15,13 0 0,-13 0 16,0 1-16,0-1 0,0 0 16,0 0-16,-13 0 0,-1 1 0,1-1 15,0 0-15,0 0 0,-1 1 0,1-1 16,0 13-16,0-13 0,0 1 15,-14 12-15,14 1 0,0-14 0,-1 13 16</inkml:trace>
  <inkml:trace contextRef="#ctx0" brushRef="#br1" timeOffset="148953.5">11351 7474 0,'26'0'0,"-52"0"0,65 0 15,-12 0-15,-14 0 16,0 0-16,0 0 0,1 0 16,-1 0-16</inkml:trace>
  <inkml:trace contextRef="#ctx0" brushRef="#br1" timeOffset="149132.69">11192 7660 0,'26'0'31,"-12"0"-31,-1 0 16,0 0-16,13 0 0,-12 0 0,-1-14 15,13 14-15,-12 0 0,12 0 0,1-13 16</inkml:trace>
  <inkml:trace contextRef="#ctx0" brushRef="#br1" timeOffset="149415.75">11337 7302 0,'14'14'16,"-1"-1"-16,0 0 0,0-13 0,1 13 16,-1 1-16,0 12 0,0-13 15,0 1-15,-13-1 0,14 0 0,-1 0 16,-13 0-16,0 1 0,13-1 15,-13 0-15,-13 0 0,13 1 16,0-1-16,-13 13 0,-1-12 0,1-1 16,0 0-16,-13 13 0,12-12 0,1-1 15,0 0-15</inkml:trace>
  <inkml:trace contextRef="#ctx0" brushRef="#br1" timeOffset="149852.53">10927 8414 0,'27'0'16,"-14"0"-16,66 0 31,-65 0-31</inkml:trace>
  <inkml:trace contextRef="#ctx0" brushRef="#br1" timeOffset="150055.44">10848 8546 0,'13'13'31,"0"-13"-31,1 0 0,-1 0 0,0 0 16,0 0-16,1 0 0,12 0 15,-13 0-15,14-13 0,-14 13 0,13 0 16,-12 0-16,-1-13 0</inkml:trace>
  <inkml:trace contextRef="#ctx0" brushRef="#br1" timeOffset="150347.76">11046 8281 0,'0'14'0,"14"-1"0,25 13 31,-26-26-31,-13 14 0,14-1 0,-1 0 16,0 0-16,0-13 0,-13 14 0,14-1 16,-14 0-16,13-13 0,-13 13 15,0 0-15,-13 1 0,13-1 0,0 0 16,-14 0-16,1 1 0,0-1 0,0 0 16,-1 0-16,1 0 0,0 1 15,0-1-15,13 0 0,-13 0 0</inkml:trace>
  <inkml:trace contextRef="#ctx0" brushRef="#br1" timeOffset="150712.78">10848 9036 0,'13'0'15,"27"0"1,-27 0-16,0 13 0,1-13 16,-1 0-16,0 0 0,0 0 15,0 13-15,1-13 0</inkml:trace>
  <inkml:trace contextRef="#ctx0" brushRef="#br1" timeOffset="150930.31">10729 9208 0,'26'0'16,"-12"-14"-1,-1 14-15,0 0 0,0 0 16,0 0-16,14-13 0,-14 13 16,0 0-16,1 0 0,-1-13 0,0 13 15,0 0-15,1-13 0,-1 13 16,0-14-16</inkml:trace>
  <inkml:trace contextRef="#ctx0" brushRef="#br1" timeOffset="151246.62">10967 8916 0,'13'0'0,"0"0"15,1 0-15,-1 14 0,0-14 16,0 0-16,-13 13 0,14-13 15,12 26-15,-13-26 0,0 14 16,1-1-16,-1 0 0,-13 0 0,13-13 16,-13 14-16,0-1 0,13 0 15,-13 0-15,0 0 0,-13-13 0,13 14 16,0-1-16,-13 0 0,0 0 0,-1 14 16,-12-14-16,0 0 15,12 1-15,-12-1 0,-1 0 0,14 0 16,-13 0-16,13 1 0,-14-1 0,14-13 15,0 13-15</inkml:trace>
  <inkml:trace contextRef="#ctx0" brushRef="#br1" timeOffset="154744.34">10782 5794 0,'39'0'15,"-25"0"-15,12 0 0,-13 0 0,14 0 16,13 0-16,-14 0 0,14 0 15,13-13-15,-1 13 0,-12 0 16,13-13-16,-13 13 0,13-13 0,-14 13 16,-12 0-16,13-14 0,-27 14 15,13 0-15,-13 0 0,1 0 0,-1-13 16,0 13-16,0 0 0,-52 13 31,25-13-31,-12 14 0,-14-14 16,1 0-16,-1 13 0,-13-13 0,13 13 15,1-13-15,-14 13 0,13-13 16,0 0-16,1 14 0,12-14 0,1 13 16,-1-13-16,1 0 0,13 0 0,-1 13 15,1-13-15,0 0 0,26 13 32,0-13-32,14 0 0,-1 0 15,1 0-15,-1 0 0,14 0 0,0 0 16,-1-13-16,1 13 0,0 0 15,-14 0-15,14 0 0,-14-13 0,1 13 16,-1 0-16,1 0 0,-14-13 0,13 13 16,-12 0-16,-1 0 0,0 0 15,0 0-15,0 0 0,1 0 16,-1-14-16,0 14 47</inkml:trace>
  <inkml:trace contextRef="#ctx0" brushRef="#br1" timeOffset="155419.23">12316 6509 0,'40'0'16,"13"13"-1,-40 0-15,-13 0 16,0 1-16,0-1 0,-13 0 16,0 0-16,-1 1 0,1 12 15,-13 1-15,-1-1 0,1-13 0,-1 14 16,1-14-16,13 0 0,0 0 0,-1 1 16,14-1-1,0 0-15,14-13 16,-1 0-16,0 0 0,0 0 0,0 0 15,14 0-15,-1-13 0,-12 13 16,25 0-16,-12 0 0,-1 0 16,14-13-16,-27 13 0,27 0 0,-27 0 15,13 0-15,1 0 0,-14 0 0</inkml:trace>
  <inkml:trace contextRef="#ctx0" brushRef="#br1" timeOffset="158669.57">12422 5755 0,'27'13'15,"12"-13"-15,1 0 16,13 0-16,0 0 0,13 13 0,0-13 16,14 0-16,-1 0 0,14 0 15,-14 0-15,13 0 0,-12 0 16,-1 0-16,-13 0 0,14 0 0,-1 13 15,-26-13-15,13 0 0,-26 0 16,13 0-16,-14 14 0,-12-14 0,-1 0 16,-12 0-16,12 0 0,-13 0 15,1 0-15,-54 13 16,13-26 0,1 13-16,-1 0 0,-12 0 15,-14 0-15,0 0 0,-13 0 16,-14 0-16,14 0 0,-13 0 0,0 0 15,12-14-15,-12 14 0,13 0 0,0 14 16,0-14-16,13 0 0,0 0 16,0 0-16,13 0 0,14 0 0,12 0 15,1 0-15,0 0 0,0 0 0,52 13 32,1-13-32,-13 0 0,26 0 15,13 0-15,0 0 0,13 0 0,-13 0 16,14 0-16,-1 0 0,0 13 15,-26-13-15,14 0 0,-15 0 0,15 0 16,-15 0-16,1 0 0,0 0 0,-26 0 16,12 0-16,-12 0 0,-14 13 15,14-13-15,-14 0 0,0 0 16,0-13-16,1 13 0,-1 0 0,0 0 16,-39-13 30,-1 13-30,14 0-16,0 0 0,-1 0 0,1 0 16,0 0-16,13 13 0,-13-13 15</inkml:trace>
  <inkml:trace contextRef="#ctx0" brushRef="#br1" timeOffset="159761.93">12091 7422 0,'27'-14'15,"-54"28"-15,67-28 0,-27 14 0,14 0 0,-14 0 16,0 14-16,1-14 0,-1 0 0,0 13 16,0-13-16,0 13 0,1 0 15,-14 0-15,0 1 16,0-1-16,-14 0 0,1 0 0,0 1 15,-13 12-15,-1-13 0,1 14 0,-14-14 16,13 0-16,1 0 0,0 1 16,12-14-16,1 13 0,0-13 0,0 0 15,-1 13-15,28 0 32,-1-13-32,0 0 15,14 0-15,-14 0 0,13 0 0,1 0 16,-14 0-16,13 0 0,1 0 15,-14 0-15,14 0 0,-14 0 0,13 0 16,-13 0-16,1 0 0,-1 0 0,0 0 16,0 0-16,14 0 15,-14 0 1</inkml:trace>
  <inkml:trace contextRef="#ctx0" brushRef="#br1" timeOffset="161960.57">14618 5821 0,'40'13'31,"-14"-13"-31,1 0 0,26 0 15,13 0-15,13 0 0,1 0 0,12 13 16,-12-13-16,12 0 0,14 14 16,0-14-16,13 0 0,13 13 15,-26-13-15,26 13 0,-13-13 0,14 13 16,-41 0-16,94 1 0,-94-14 16,-12 13-16,-1-13 0,0 0 15,-13 13-15,-13-13 0,0 0 0,0 0 16,-13 13-16,-14-13 0,1 0 0,-14 0 15,0 0-15,0 0 0,1 0 16,-54-13 0,14 13-16,-1 0 15,-26-13-15,0 13 16,-26 0-16,-93-13 0,79 13 16,1-14-16,-1 14 0,-13 0 0,0-13 15,1 13-15,-1 0 0,0-13 16,13 13-16,-13 0 0,14 0 0,-1 0 15,14 0-15,0 0 0,26-13 0,0 13 16,13 0-16,14 0 0,-1 0 0,14 0 16,0 0-16,-1 0 0,54 0 15,0 0 1,13 0-16,0-13 0,26 13 0,14 0 16,-1 0-16,14 0 15,0 0-15,0 0 0,39 0 0,-13 0 16,80 0-16,-106 0 0,-13 0 15,-1 0-15,1 13 0,-1-13 16,-12 0-16,-1 13 0,-13-13 0,-13 0 16,0 13-16,-13-13 0,0 0 0,-14 0 15,0 13-15,-12-13 0,-1 0 16,0 0-16,0 0 0,-52 0 16,12 0-1,-26-13-15,-13 13 0,-13 0 16,-1 0-16,-12-13 0,-14 13 0,13 0 15,-12 0-15,-28 0 0,14 0 16,-13 0-16,26 0 0,0 0 0,0 0 16,14 0-16,12 0 0,1 0 15,26 13-15,0-13 0,14 0 0,12 0 16,1 0-16,12 0 0,1 0 0,0 13 16</inkml:trace>
  <inkml:trace contextRef="#ctx0" brushRef="#br1" timeOffset="165234.51">12039 8295 0,'-14'0'16,"1"13"31,0-13 62,13 13-78,-13-13 141,13-13 1250</inkml:trace>
  <inkml:trace contextRef="#ctx0" brushRef="#br1" timeOffset="168556.25">10451 8123 0,'0'-27'16,"-13"27"-1,13-13-15,-13 13 16,-1 0-16,1 0 16,0 0-16,0 13 15,-1-13-15,1 13 0,0-13 16,13 14-16,-13-14 0,0 13 0,-1 0 15,1-13-15,13 13 16,-13-13-16,13 14 16,0-1-1,13-13-15,14-13 16,-14 13-16,0-14 16,0 14-16,0-13 0,1 13 0,-1 0 15,0-13-15,0 26 16,-13 0-16,0 1 15,-13-1-15,0 27 0,0-1 0,-14-12 16,14 12-16,-13 14 0,-1-26 0,14 12 16,-14-12-16,14 13 0,0-27 15,0 13-15,-1-13 0,14 14 16,0-14-16,-13-13 0</inkml:trace>
  <inkml:trace contextRef="#ctx0" brushRef="#br1" timeOffset="169830.73">17158 5900 0,'0'0'0,"27"13"32,-14-13-32,0 0 0,14 14 0,12-14 15,1 0-15,0 0 0,13 13 16,-1-13-16,15 0 0,52 0 15,-53 0-15,13 0 0,-26 0 0,13 0 16,-13 0-16,0 0 16,0 0-16,40 13 0,-67-13 0,1 0 15,-14 0-15,0 0 0,0 0 16,-52 0 0,25 0-1,-25 0-15,-14 0 0,13 0 0,-26-13 16,13 13-16,-26 0 0,-1 0 0,14 0 15,-13 0-15,-1 0 0,14 0 16,-13 0-16,26 0 0,0 0 0,0 0 16,13 0-16,14 0 0,-1 0 0,1 0 15,13 0-15,39 13 16,1-13 0,-1 0-16,27 0 0,0 13 0,0-13 15,26 14-15,-13-14 16,14 0-16,-1 13 0,-13-13 0,0 13 15,1-13-15,-14 0 0,-1 0 0,1 0 16,-13 13-16,13-13 0,-27 0 16,1 0-16,-1 0 0,1 0 0,-14 0 15,0 0-15,0 0 0,1 0 0,-41-13 32</inkml:trace>
  <inkml:trace contextRef="#ctx0" brushRef="#br1" timeOffset="171168.34">12171 8295 0,'-27'13'31,"14"-13"-31,-13 13 0,12 0 0,-12 1 16,0-1-16,-1 13 0,1-12 0,-1 12 15,1-13-15,-1 0 0,1 1 16,13-1-16,-1 0 0,1 0 15,0-13-15,0 27 0,-1-27 16,28 13 0,-14 0-16,13-13 0,0 0 0,0 0 15,1 0-15,12 0 0,0 13 16,1-13-16,-1 0 0,1 0 16,-1 0-16,1 0 0,-1-13 0,14 13 15,-27 0-15,14 0 0,-1 0 0,1 0 16,-14 0-16,13-13 0,-13 13 15,1 0-15,-1 0 0,0 0 0,0 0 16,1-13 0</inkml:trace>
  <inkml:trace contextRef="#ctx0" brushRef="#br1" timeOffset="171396.37">12144 8334 0,'-26'80'31,"13"-54"-31,13-13 0,-14 27 0,1 0 16,0-1-16,0 1 0,0-13 0,-1 12 15,1 1-15,0-14 0,0 1 16,-1-1-16,14 1 0,-13-14 0,13 14 15,0-14-15,-13 0 0,13 0 16,0 0-16,0 1 0</inkml:trace>
  <inkml:trace contextRef="#ctx0" brushRef="#br1" timeOffset="172736.06">19711 5887 0,'0'0'16,"53"13"-16,14 0 15,-41-13-15,-13 0 0,14 0 0,-14 14 0,0-14 16,0 0-16,1 0 0,-54 13 31,13-13-31,1 0 0,-27 13 0,13-13 16,-13 0-16,14 0 0,-1 13 15,0-13-15,14 0 16,-14 0-16,14-13 0,13 13 16,52 0-1,-26 0-15,27-13 16,0 13-16,13 0 0,0 0 0,-14 0 15</inkml:trace>
  <inkml:trace contextRef="#ctx0" brushRef="#br1" timeOffset="173967.84">12105 9168 0,'13'-13'94,"0"13"-78,14 0-1,-14 0-15,0 0 16,0 0-16,1 13 16,-14 0-16,-14 0 15,14 1 1,-13-14-16,13 13 0,-13 0 16,26 0-1,0-13 1,-13 13-16,14-13 15,-14 14-15,13-14 0,-13 13 16,13 0-16,-13 0 0,0 1 16,-13-1-16,13 0 0,-27 0 15,14 0-15,-40 27 16,27-27-16,-14 1 0,14-1 16,-1-13-16,-13 26 0,27-26 0,-13 0 15,-1 14-15,14-14 0</inkml:trace>
  <inkml:trace contextRef="#ctx0" brushRef="#br1" timeOffset="175579.61">12211 9208 0,'0'0'15,"0"-14"-15,0 41 16,0-14-16,0 13 15,0-12-15,-14 12 0,14-13 16,-13 14-16,0 12 0,13-12 0,-13-1 16,13-12-16,-14 12 0,14-13 0,-13 1 15,13-1-15,-13 13 16,13-13-16,0 1 16,13-54-1,-13 27 1,13-14-16,1 1 0,-1-14 0,0 14 15,0-14-15,-13 14 0,14-1 0,-1 1 16,-13 12-16,13 1 0,-13 0 16,0 0-16,13 13 0,-13 26 31,0-13-31,-13 14 0,0-1 16,13 14-16,-13-14 0,-1 14 0,1 0 15,13-14-15,-13-12 0,0 12 16,13-13-16,0 0 0,-14 1 0,14-1 15,0 0-15,0 0 16,14-39 0,-14-1-16,13-12 15,0-1-15,0 0 0,14 1 16,-14-14-16,0 0 0,0 26 0,1-12 16,-1 12-16,-13 14 0,0 0 0,13 0 15,-39 39 1,12 14-1,1-14-15,0 14 0,-13-14 0,12 14 16,-12 0-16,13-14 0,-14 14 16,14-14-16,0-12 0,13 12 15,-14-13-15,1 0 0,26-39 32,-13 0-32,14-14 0,-1 0 15,13-13-15,-12 0 0,12 0 0,-13 1 16,1 12-16,-1 0 0,0 14 0,-13 12 15,13 1-15,-13 0 0,-13 53 16,-13-1 0,-1 1-16,1 13 0,-1-13 0,-13 26 15,14-13-15,-14-14 0,14 14 16,-1 0-16,14 0 0,0-26 16,0 12-16,-1-12 0,1-1 0,13-13 15</inkml:trace>
  <inkml:trace contextRef="#ctx0" brushRef="#br1" timeOffset="176791.69">12131 9419 0,'-26'66'15,"12"-52"-15,1 12 0,13-13 16,-13 0-16,13 1 0,-13 12 16,13-13-16,-13 1 0,13-1 15,13-40 1,0 14 0,0-27-16,14 1 0,-14-1 15,0 0-15,0 14 0,14-14 0,-27 14 16,13 13-16,-13-1 0,13 1 15,-39 40 1,13 12-16,-1 1 0,-12 13 0,-1 0 16,1 13-16,0 0 0,-1-13 15,1 13-15</inkml:trace>
  <inkml:trace contextRef="#ctx0" brushRef="#br1" timeOffset="180499.69">3135 10888 0,'53'13'0,"-106"-26"15,146 26-15,-40-13 0,0 13 0,39-13 0,-12 0 16,26 0-16,26 0 15,0 13-15,0-13 0,14 0 0,-1 0 16,14 0-16,0 0 0,0 0 0,-1 0 16,1 0-16,0 0 0,-13 0 15,12-13-15,-12 13 0,-1 0 0,1 0 16,-14 0-16,-26 0 0,0 0 0,0 0 16,-14 0-16,1 0 0,-14 0 15,14 0-15,-27 0 0,-13 13 0,0-13 16,-14 0-16,-12 14 0,-1-14 0,-12 0 15,-14 13-15</inkml:trace>
  <inkml:trace contextRef="#ctx0" brushRef="#br1" timeOffset="180871.45">4273 11337 0,'225'27'16,"-450"-54"-16,543 54 0,-226-27 0,14-13 0,39 13 15,-12 0-15,12 0 0,1-14 0,13 14 16,13 0-16,-14 0 0,14 0 15,-13-13-15,0 13 0,0 0 16,-1 0-16,14 0 0,-26 0 0,-1 0 16,1-13-16,-1 13 0,-12 0 0,-1 0 15,-26 0-15,-14 0 0,1-13 0,0 26 16,-14-13-16,53 0 16,-92 0-16,0 0 0,-14 0 15,1 0-15,-14 0 0,0 13 0,0-13 16,-13 13-1</inkml:trace>
  <inkml:trace contextRef="#ctx0" brushRef="#br1" timeOffset="181875.42">12594 10941 0,'93'0'0,"-54"0"0,1 0 16,13 0-16,0 0 0,0 0 0,0 0 15,0 0-15,0-14 0,0 14 0,13 0 16,-13 0-16,0 0 0,-1 0 16,-12-13-16,0 13 0,0 0 0,-14 0 15,0 0-15,-12 0 0,12-13 0,-13 13 16,1 0-16</inkml:trace>
  <inkml:trace contextRef="#ctx0" brushRef="#br1" timeOffset="182121.3">12660 11046 0,'40'14'15,"-80"-28"-15,106 41 0,-39-27 0,13 13 16,13-13-16,-14 13 0,14-13 0,-13 0 16,13 0-16,0 0 0,0 13 0,-14-13 15,1 0-15,0-13 16,-14 13-16,-13 0 0,14 0 0,-14 0 16,13 0-16,-12 0 0,-1 0 0,0 0 15,0 0 1</inkml:trace>
  <inkml:trace contextRef="#ctx0" brushRef="#br1" timeOffset="183736.07">9208 6522 0,'13'0'0,"-26"0"0,39-13 15,-13 0 1,-13-1 0,-13 1-16,0 13 15,0-13-15,-1 13 16,1 0-16,0 0 0,-14 0 0,14 0 15,-13 0-15,12 13 0,-12 0 16,13 1-16,0-1 0,-1 0 0,1 0 16,0 14-16,13-1 0,0 1 15,-13-1-15,13 1 0,0-1 0,0 0 16,13 14-16,-13 0 0,0-14 0,0 14 16,-13 0-16,13 13 0,-27 13 15,-13 13-15,1-26 16,12-27-16,1 1 15,-27 13-15,26-27 0,1 0 16,13-13-16,0 0 0,-1 0 0,1 0 16,13-13-16,0 0 0,0-1 15,13 14-15,-13-13 16,14 0-16,-1 13 0,0 0 16,0 0-16,0 13 0,1 0 15,-1 1-15,-13 12 0,0 14 0,0 13 16,-13 0-16,-1 13 0,-12 0 15,0 0-15,-1 13 0,-13 14 0,1-14 16,-14 1-16,13 12 0,0-12 16,1-1-16,12-13 0,1 0 0,-1 1 15,1-1-15,13-13 0,-14-1 0,14 1 16,0-13-16,13 0 0,0-1 0,-13-12 16,13-14-16,0 14 0,13-14 0,-13 13 15,0-12 1,13-1-16,-13 0 0,13-13 0,-13 13 15</inkml:trace>
  <inkml:trace contextRef="#ctx0" brushRef="#br1" timeOffset="186317.48">2699 6165 0,'0'0'16,"-13"0"-16,-14 39 31,27-25-31,0-1 0,0 0 0,0 0 16,0 1-16,0-1 0,0 0 0,13 14 15,-13-14-15,14 0 0,-14 0 16,13 0-16,0 1 0,0-14 0,0 13 16,14-13-16,-14 0 0,0 0 0,1 0 15,-1 0-15,13 0 0,-12-13 16,-1 13-16,0-14 0,0 1 16,0 0-16,-13 0 0,14 0 0,-14-1 15,0 1-15,0 0 0,0 0 16,0-1-16,-14 1 0,14 0 0,-13-14 15,0 27-15,0-13 0,0 0 0,-1 0 16,1 13-16,13-13 0,-13 13 0,0 0 16,-1-14-16,1 28 15</inkml:trace>
  <inkml:trace contextRef="#ctx0" brushRef="#br1" timeOffset="186628.66">3281 6244 0,'13'-13'0,"0"0"16,14 13 0,-14 0-16,0 0 15,-13-14-15,13 14 0,1 0 0,-1 0 16,0 0-1,0 0-15</inkml:trace>
  <inkml:trace contextRef="#ctx0" brushRef="#br1" timeOffset="187044.45">3942 6032 0,'0'0'0,"-26"0"31,13 14-31,-1-1 0,-12-13 16,13 13-16,-1 0 0,-12-13 0,13 14 15,13-1-15,-13-13 0,-1 13 16,1 0 0,26 1-1,-13-1-15,14-13 0,-1 0 16,-13 13-16,13-13 0,0 0 0,-13 13 16,13-13-16,1 13 0,-1-13 15,-13 14-15,0-1 16,0 0-16,-13 0 0,-1-13 15,1 14-15,0-1 0,0 0 0,-14 0 16,14 1-16,-13-14 0,-1 26 0,-13-13 16,14-13-16,0 13 0,-1 1 15,14-14-15,-14 0 0</inkml:trace>
  <inkml:trace contextRef="#ctx0" brushRef="#br1" timeOffset="187941.08">2778 6866 0,'80'-40'16,"-67"40"-16,0 0 15,0 0 1,0 0-16,-52 13 31,26-13-15,-1 0-16,1 14 16,0-14-16,0 0 0,13 13 15,-14-13-15,1 13 16,13 0-1,13-13-15,-13 14 16,14-14-16,-14 13 0,13-13 0,0 13 16,0-13-16,1 13 15,-1-13-15,0 14 16,0-14-16,-13 13 16,0 0-1,0 0-15,-13-13 0,0 13 16,0 1-16,-1-14 0,1 13 15,-13-13-15,12 13 0,1 0 0,0-13 16,0 14-16,-1-14 16,1 0-16,13 13 0,-13-13 15</inkml:trace>
  <inkml:trace contextRef="#ctx0" brushRef="#br1" timeOffset="188148.99">3228 6972 0,'26'0'15,"-52"0"-15,79-13 0,-40 13 16,0 0-16,1 0 0,-1 0 15,-13-14-15,13 14 0,0 0 0,0 0 16,1 0-16,-1-13 0</inkml:trace>
  <inkml:trace contextRef="#ctx0" brushRef="#br1" timeOffset="188355.73">3598 6760 0,'-26'27'15,"26"-14"1,-13 0-16,13 0 0,0 14 16,0-14-16,-14 0 0,14 0 0,0 1 15,0-1-15,0 0 16,0 0-16</inkml:trace>
  <inkml:trace contextRef="#ctx0" brushRef="#br1" timeOffset="188640.18">3704 6853 0,'0'0'15,"13"39"1,-13-25-16,0-1 15,14 0-15,-14 0 16,13-13 0,0 0-16,0-13 0,1 13 15,-1-13-15,0 0 0,-13-1 16,13 14-16,-13-13 0,0 0 16,0 0-16,0-1 0,0 1 15,-13 0-15,13 0 0,-13 0 0,13-1 16,-13 14-16,-1-13 0,1 13 0,0 0 15,0 0-15,-1 13 0,-12-13 16,-14 14-16,14-1 0,-14 13 0</inkml:trace>
  <inkml:trace contextRef="#ctx0" brushRef="#br1" timeOffset="189076.58">2686 7607 0,'13'53'16,"-13"-40"-1,-13 0-15,13 0 0,0 1 16,0-1-16,0 0 0,-14 14 16,14-14-16,0 0 0</inkml:trace>
  <inkml:trace contextRef="#ctx0" brushRef="#br1" timeOffset="189276.45">2884 7567 0,'0'0'0,"13"27"31,-13-14-31,0 0 16,0 0-16,0 14 0,-13-14 0,13 0 15,0 0-15,0 1 0,0-1 16,0 0-16,0 0 0,0 1 0,0-1 16,0 0-16</inkml:trace>
  <inkml:trace contextRef="#ctx0" brushRef="#br1" timeOffset="189551.54">3201 7660 0,'27'0'31,"-14"0"-15,0 0-16,1 0 15,-1 0-15,0 0 0,14-14 0,-14 14 0,0 0 16</inkml:trace>
  <inkml:trace contextRef="#ctx0" brushRef="#br1" timeOffset="189792.54">3638 7461 0,'-26'27'15,"26"-14"1,0 0-16,0 0 0,-14 1 15,14-1-15,0 0 0,0 0 0,-13 1 16,13-1-16,0 0 0,0 0 16,0 0-16,0 1 0,0-1 15</inkml:trace>
  <inkml:trace contextRef="#ctx0" brushRef="#br1" timeOffset="190352.55">3916 7488 0,'13'0'31,"-53"13"-15,27-13 0,0 0-16,13 13 15,-13 0-15,26 1 31,-13-1-31,13-13 0,-13 13 16,13 0-16,1 1 16,-1-14-16,-13 13 15,-13 0-15,13 0 16,-14-13-16,1 13 0,0-13 0,0 14 16,-1-1-16,1-13 0,0 13 0,0-13 15,0 13-15,-1-13 0,-12 0 16,13 0-16</inkml:trace>
  <inkml:trace contextRef="#ctx0" brushRef="#br1" timeOffset="190936.31">2619 8361 0,'0'40'15,"0"-27"-15,-13 0 0,13 0 16,0 14-16,0-14 16,-13 0-16,13 14 0,-13-14 0,13 0 0,-14 0 15,14 0-15,0 1 0,0-1 16</inkml:trace>
  <inkml:trace contextRef="#ctx0" brushRef="#br1" timeOffset="191246.49">2818 8348 0,'-13'39'16,"13"-25"-16,-14-1 0,14 0 16,0 0-16,-13 14 0,13-14 15,0 0-15,0 0 0,0 1 0,0-1 16,0 0-16,0 0 0,13 0 15,-13 1-15,14-14 0,-14 13 16,13-13-16,0 13 16,-26-39 15,0 26-15,-1 0-16,1 0 15,0 0 1,0 0-16,13 13 15,-14-13-15</inkml:trace>
  <inkml:trace contextRef="#ctx0" brushRef="#br1" timeOffset="191480.52">3149 8480 0,'13'0'31,"0"0"-15,0 0-16,-13-13 15,13 13-15,1 0 0,-1 0 16,0 0-16</inkml:trace>
  <inkml:trace contextRef="#ctx0" brushRef="#br1" timeOffset="192400.67">3744 8229 0,'53'13'0,"-40"26"31,-13-25-31,-26 25 16,12-25-16,1-1 0,0 13 15,0 1-15,-14-14 0,14 0 0,0 0 16,-1 1-16,14-1 0,-13 0 16,0 0-16,0 1 0,13-1 15,-13 0 1,39-13-1,0-13-15,-12 13 16,-1-13-16,13-1 0,14 1 16,-13-13-16,-1 12 0,14-12 0,-14 13 15,1-14-15,-1 14 0,1 0 0,-14 0 16,0 13-16,0-14 0,0 14 0,-13-13 16,0 40 15,0-14-16,0 0 1,0 0-16,14-13 0,-1 0 16,-13 14-16,26-28 15,-12 14-15,-1 0 0,0-13 16,0 0-16,1 13 0,-14-13 16,13-1-16,-13 1 0,0 0 15,-13 0-15,13-1 0,-14 1 0,1 13 16,0-13-16,0 13 15,-1-13-15,1 13 0,0 0 0,0 0 0,-14 13 16,1 0-16,13-13 0,-27 13 16,13 14-16</inkml:trace>
  <inkml:trace contextRef="#ctx0" brushRef="#br1" timeOffset="193695.54">2566 9247 0,'14'-13'0,"-1"13"15,0 0 1,0 13-16,1-13 16,-14 13-16,0 1 15,0-1-15,-14 0 0,14 0 16,0 1-16,-13-1 16,13 13-16,-13-13 0,13 1 15,-13-1-15,13 0 0,0 0 16,0 1-1,13-14 1,0 0-16,0-14 0,1 1 16,12 0-16,1 0 0,-1-1 15,0-12-15,1 13 0,-1-14 16,-12 14-16,12 0 0,-13 0 0,1-1 16,-1 1-16,0 13 15,-13-13-15,13 26 16,-13 0-1,0 1-15,0-1 16,0 0-16,0 0 0,0 1 16,0-1-16,-13-13 0,13 13 0,0 0 15,13 0-15,-13 1 0,13-1 16,1-13 0</inkml:trace>
  <inkml:trace contextRef="#ctx0" brushRef="#br1" timeOffset="193912.41">3321 9274 0,'39'0'15,"-26"0"1,-13-14-16,14 14 0,-1 0 0,0-13 16,0 13-16,1 0 0,-1-13 15,0 13-15</inkml:trace>
  <inkml:trace contextRef="#ctx0" brushRef="#br1" timeOffset="194581.47">3810 9049 0,'66'-13'31,"-39"13"-31,-14 0 16,-13 13-16,13-13 0,-13 13 16,0 0-16,0 0 0,0 1 15,-13-1-15,13 0 0,-13 0 0,-1 1 16,14-1-16,-13 0 0,13 0 0,-13 1 16,13-1-16,-13-13 0,13 13 0,-14 0 15,14 0 1,-13-13-16,13 14 15,13-14 1,1 0 0,-1 0-16,0 0 15,0-14-15,1 14 0,12-13 16,1 13 0,-14-13-16,0 13 0,0-13 0,0 13 15</inkml:trace>
  <inkml:trace contextRef="#ctx0" brushRef="#br1" timeOffset="194864.3">4207 8983 0,'-27'13'0,"14"0"15,0 0-15,0 1 16,13-1-16,0 0 0,0 0 15,13 0-15,-13 1 16,13-1-16,-13 0 0,13 0 16,-13 1-16,0-1 0,14 0 15,-28 0-15,14 1 16,-13-1-16,0 0 0,0-13 16,13 13-16,-13-13 0,-14 0 0,14 13 15,0-13-15,-1 14 0,1-14 16,0 0-16,-14 13 0,14-13 0,-13 13 15</inkml:trace>
  <inkml:trace contextRef="#ctx0" brushRef="#br1" timeOffset="195596.91">2791 9842 0,'14'-13'16,"-1"0"-16,0 13 0,0 0 15,1 0-15,-1 0 0,0 0 16,0 0-16,0 13 16,1 0-16,-14 1 15,0-1-15,-14 0 0,14 0 16,-13 1-16,0-1 0,13 13 16,-13-12-16,0-1 0,-1 0 0,1 0 15,13 0-15,-13 1 0,0-1 16,-1 0-16,14 0 15,0 1 1,14-14 0,-14 13-16,13-13 15,0 0-15,0 0 0,1 0 16,-1-13-16,13 13 0,-13 0 16,1-14-16,-1 14 0,0-13 0,14 0 15,-14 0-15,13-1 0,1-12 16</inkml:trace>
  <inkml:trace contextRef="#ctx0" brushRef="#br1" timeOffset="195891.81">3215 9737 0,'0'0'0,"-14"26"16,1-13 0,0 1-16,13-1 0,0 0 15,-13 0-15,13 14 0,-13-14 0,13 0 16,0 0-16,0 1 0,0-1 15,0 0-15,13 0 0,-13 1 16,13-1-16,0 0 31,-26-39 16,0 26-47,0 0 16,-1 13-1</inkml:trace>
  <inkml:trace contextRef="#ctx0" brushRef="#br1" timeOffset="196092.46">3373 9922 0,'14'0'16,"-28"0"-16,41 0 0,-14 0 15,0 0-15,14 0 16,-14 0 0,0 0-16,0-13 15,1 13-15</inkml:trace>
  <inkml:trace contextRef="#ctx0" brushRef="#br1" timeOffset="196543.48">4008 9684 0,'0'0'15,"27"0"1,-27 13-16,13 0 0,-26 0 16,13 1-16,0-1 15,-13 0-15,-1 0 16,14 1-16,-13-1 16,13 0-16,0 0 15,13-13-15,-13 13 16,0 1-16,0-1 0,0 0 15,-13 0 1,13 1 0</inkml:trace>
  <inkml:trace contextRef="#ctx0" brushRef="#br1" timeOffset="196796.16">4141 9803 0,'0'0'0,"13"13"0,0-13 16,0 13-16,14-13 15,-27-13-15,13 13 0,0 0 16,1 0-16,-1-13 0,0 13 16,-13-13-16,13-1 0,0 14 15,-13-13-15,0 0 0,14 0 0,-14-1 16,-14 1-16,14 0 15,-13 0-15,0 0 16,0 13-16,0 0 16,-14 13-16,14-13 0,-14 13 0,1 0 15,-14 0-15,14 1 0,-14 12 0</inkml:trace>
  <inkml:trace contextRef="#ctx0" brushRef="#br1" timeOffset="197577.73">2738 10888 0,'14'-14'0,"12"1"15,1 26 1,-27 1 15,0-1-31,0 0 0,0 0 16,0 1-16,0-1 16,0 0-16,0 0 15,13-13-15,-13 13 0,0 1 0,13-14 16,-13 13-16,13-13 0,-13 13 0,0 0 15,0 14 1,0-14-16,-13-13 16,13 13-16,-13 0 0,0 1 0,-1-1 15,1-13-15,13 13 0,-13-13 16,0 13 0</inkml:trace>
  <inkml:trace contextRef="#ctx0" brushRef="#br1" timeOffset="198565.72">2977 10888 0,'0'0'0,"13"26"47,-13-13-47,0 1 0,0-1 16,0 0-16,0 0 0,0 0 0,0 1 15,0-1-15,13 0 0,-13 0 16,0 1-16,0-1 0</inkml:trace>
  <inkml:trace contextRef="#ctx0" brushRef="#br1" timeOffset="198844.63">3413 11073 0,'40'0'47,"-27"-13"-47,0 13 16,0 0-16,14 0 0,-14-14 15,0 14-15,14 0 0,-1-13 0,1 13 0</inkml:trace>
  <inkml:trace contextRef="#ctx0" brushRef="#br1" timeOffset="199223.44">4128 10755 0,'13'0'15,"-26"0"-15,39 0 0,-13 0 0,-13 14 16,13-1-16,-13 0 16,0 0-16,0 0 15,0 1-15,0-1 0,0 0 16,0 0-16,0 1 15,14-1-15,-14 0 0,13 0 16,-13 1-16,0-1 0,0 0 16,0 0-16,0 0 15,0 1-15,0-1 0,-13-13 16,13 13-16,-14 0 0,1-13 0,13 14 16,-13-1-16,0-13 0,13 13 15,-13-13-15</inkml:trace>
  <inkml:trace contextRef="#ctx0" brushRef="#br1" timeOffset="199475.47">4352 10702 0,'0'0'0,"0"27"31,0-14-31,0 0 0,14 1 15,-14-1-15,0 0 0,0 0 0,13 0 16,-13 1-16,0-1 16,0 13-16,13-12 0,-13-1 0,0 0 15,0 0-15,0 1 0,-13-1 0,13 0 16,-13 0-16,13 0 16,-14 1-16,14-1 0,-13 0 0,0 0 15,0 1-15,-1-1 0,1-13 16,0 13-16</inkml:trace>
  <inkml:trace contextRef="#ctx0" brushRef="#br1" timeOffset="200732.73">2897 11906 0,'0'0'16,"27"0"-16,-14 0 15,0 0-15,0 13 0,-13 1 16,14-14 0,-14 13-16,13 0 0,0 0 15,0 1-15,0-1 16,1-13-16,-1 13 15,0 0-15,0 1 0,1-1 16,-1 0-16,-13 0 16,0 0-16,0 1 15,0-1-15,0 0 0,0 0 0,-13-13 16,13 14-16,-14-1 0,14 0 0,-13-13 16,13 13-16,-13-13 0,0 0 15,13-13 1</inkml:trace>
  <inkml:trace contextRef="#ctx0" brushRef="#br1" timeOffset="201005.44">3228 11853 0,'0'27'15,"0"-14"-15,0 0 0,0 0 16,0 1-16,13-1 0,-13 0 0,0 0 15,0 1-15,13-1 0,-13 0 0,14-13 16,-14 13-16,13-13 0,-13 14 16,13-14-16,0 0 0,1 0 31,-14-14-15,0 1-1,-14 13-15,1-13 16</inkml:trace>
  <inkml:trace contextRef="#ctx0" brushRef="#br1" timeOffset="201216.5">3678 11919 0,'26'-13'0,"14"13"32,-40-13-32,13 13 0,0 0 15,1-13-15,-1 13 0</inkml:trace>
  <inkml:trace contextRef="#ctx0" brushRef="#br1" timeOffset="201759.49">4379 11668 0,'0'13'15,"-40"40"1,40-39-16,-26 12 15,26-13-15,-14 0 0,14 1 16,-13-1-16,13 0 0,0 0 0,0 1 16,0-1-1,13 0 1,1-13-16,-1 0 16,0 0-16,0 0 15,1-13-15,-1 13 16,0-13-16,0 13 0,-13-14 15,14 14-15,-1 0 0,-13-13 16,13 0-16</inkml:trace>
  <inkml:trace contextRef="#ctx0" brushRef="#br1" timeOffset="202156.55">4458 11615 0,'-13'27'15,"13"-14"-15,0 0 16,0 0 0,0 1-16,0-1 0,13 0 15,-13 0-15,0 1 0,0-1 0,13-13 16,-13 13-16,14-13 0,-1 13 16,0-26-16,0 13 15,1-13-15,-1 0 0,0 13 16,-13-14-16,13 14 0,1-13 15,-1 13-15,0 0 16,0 0 0,0 0-16,1 0 15,-1 0-15,-13-13 0,13 13 16,0-13-16,1 13 0,-1-14 0,0 14 16,0-13-16,0 0 15,-13 0-15,14 13 0,-14-14 16,0 1-16,-14 0 15,1 0-15,0 0 16,0-1-16,0 1 16,13 0-16,-14 0 0,1-1 0</inkml:trace>
  <inkml:trace contextRef="#ctx0" brushRef="#br1" timeOffset="203433.2">4286 5913 0,'27'-26'15,"-14"13"-15,40 0 16,-27 13-16,-12 13 15,12 0-15,0 13 0,1 1 16,-14 13-16,14-1 0,-14 14 16,0 0-16,0 0 0,-13 13 0,0 0 0,0 0 15,0 1-15,0 12 16,0-13-16,-13 14 0,13-1 0,-13 13 16,0-12-16,-1 26 0,1-14 0,0-12 15,0-1-15,13 0 0,-14 1 16,14-14-16,0 0 0,0 0 0,0 0 15,14 1-15,-1-15 0,0 1 16,0-13-16,1 13 0,12-27 0,-13 14 16,14-13-16,-1-1 0,1-13 0,12 14 15,-12-14-15,-1-13 0,1 0 16,-1 0-16,1 0 0,-1 0 0,14-13 16,-14-1-16,14 1 0,-14-13 15,-12 13-15,12-1 0,-13 14 0,1-13 16,-1 0-16,0 26 15,0 0 1,-13 14-16,0 26 0,13 0 0,-13 13 16,14 13-16,-14 1 0,13 25 0,13-12 15,-12 13-15,12 13 0,1-13 16,12 0-16,-12 13 0,12 0 0,1 0 16,0 13-16,-14-13 0,14 0 0,0 13 15,-14-13-15,0 14 0,14-14 16,-13 0-16,-14 0 0,13-13 0,-12 13 15,-1-13-15,-13-27 0,0 14 0,13-14 16,-26 0-16,13 1 0,-13-1 16,13-13-16,-14 0 0,1 1 15,-13-14-15,12-14 0,1-12 0,0 12 16,0-25-16,-1 12 0</inkml:trace>
  <inkml:trace contextRef="#ctx0" brushRef="#br1" timeOffset="204827.66">13322 6231 0,'66'-13'16,"-132"26"-16,158-40 0,-65 27 0,13-13 0,-14 13 15,0 0-15,1 0 0,-1 0 0,1 0 16,-1 0-16,1 13 0,-1 1 15,1-1-15,-1 13 0,-13 1 0,14 13 16,-27-1-16,13 1 0,0 13 0,-13 13 16,0 0-16,13 0 0,-13 14 15,0-1-15,14 0 0,-1 14 0,0 13 16,14 0-16,-14-14 0,27 107 16,-14-107-16,-13-12 0,0 12 15,1-12-15,-1-1 0,0 0 16,0 14-16,1-14 0,-1 1 0,-13-14 15,13 13-15,0-13 0,1 14 0,-14-27 16,13 13-16,-13 0 0,0-26 16,0 13-16,0-14 0,0 1 0,-13 0 15,13-1-15,-27 1 0,14-13 0,-27-1 16,14 0-16,-14 1 0,0-14 16,1 0-16,-14 1 0,13-14 0</inkml:trace>
  <inkml:trace contextRef="#ctx0" brushRef="#br1" timeOffset="205640.48">8956 6006 0,'-79'0'16,"158"0"-16,-198 0 0,66 0 0,13 13 0,-12-13 16,-1 13-16,-14-13 0,15 14 0,-1-1 15,13 0-15,-13-13 0,13 27 0,1-14 16,-1 0-16,14 0 0,-1 1 15,1 12-15,-1 0 0,1 1 16,12-1-16,1 1 0,0 13 0,0 12 16,0 1-16,-1 0 0,-12 13 0,13 14 15,-1-14-15,1 13 0,-13 14 16,-1 13-16,1-14 0,-1 1 0,1 0 16,-1-1-16,1-26 0,0 27 0,-14-14 15,27 1-15,-14-14 0,1 13 16,-1-13-16,1 14 0,-1-1 0,1-13 15,-1 27-15,1-27 0,-1 0 0,1 0 16,0-13-16,12 13 16,-12-13-16,13 0 0,-1-13 0,14 0 0,0-14 15,0 0-15,14 14 0,-1-13 16,0 12-16,14-12 0,12-1 16,1 14-16,0-14 0,13 1 0,13-1 15,0-12-15,0 12 0,13 0 0,-12-12 16,12-1-16,0 13 0,1-12 15,-1-1-15,14 0 0,-14 0 0,0 14 16,-13-14-16,80 13 0</inkml:trace>
</inkml:ink>
</file>

<file path=ppt/ink/ink2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49:05.66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2328 1283 0,'238'-26'15,"-171"13"-15,12-1 0,0 1 0,14 0 16,608-106 15,-582 106-31,-39-1 0,12 1 0,-12 0 16,-14 13-16,0-13 15,-26-1-15,12 14 0,-25 0 0,13 0 16,-27 0-16</inkml:trace>
  <inkml:trace contextRef="#ctx0" brushRef="#br0" timeOffset="239.02">3056 1310 0,'119'13'32,"-53"-26"-32,0-1 0,0 14 15,14-13-15,-1 0 0,14 0 16,-14 0-16,14 13 0,-14-14 0,1 1 16,-1 13-16,-13-13 0,0 13 0,-13-13 15,0 13-15,0 0 0,-27 0 16,14 0-16,-13 0 0,-14 0 0,0 0 15,0 0-15,0 0 0</inkml:trace>
  <inkml:trace contextRef="#ctx0" brushRef="#br0" timeOffset="7178.81">2222 3149 0,'0'-14'16,"0"28"-16,-13-28 0,40 14 31,-1 0-31,1 0 15,26 0-15,13 0 0,13 0 16,0 0-16,14 0 0,13 0 16,0-13-16,26 13 0,0 0 0,-13-13 15,14 0-15,-1 13 0,-13-14 0,-13 14 16,13-13-16,-13 0 0,-14 13 16,1-13-16,-14 13 0,14-14 0,-14 14 15,-26 0-15,0 0 0,0-13 0,-13 13 16,-14 0-16,1 0 0,-14 0 15,13 0-15,-12 0 0,-54 13 32,0-13-17,14 0-15,-27 14 0,0-14 0,0 0 16,-13 13-16,-14-13 0</inkml:trace>
  <inkml:trace contextRef="#ctx0" brushRef="#br0" timeOffset="7442.91">2871 3347 0,'-40'13'0,"67"14"31,-1-27-31,27 0 0,13-14 0,13 14 16,14-13-16,0 13 0,12-13 15,14 0-15,14 0 0,-14-1 16,-27 14-16,14-13 0,-13 0 0,0 0 15,-1 13-15,-13-14 0,1 14 16,-1-13-16,-26 13 0,0-13 0,0 13 16,-27 0-16,1 0 0,-1 0 0,-12 0 15,-1 0-15,0 0 0,0 0 16,-13-13-16,-13 13 16,-13-14-16</inkml:trace>
  <inkml:trace contextRef="#ctx0" brushRef="#br0" timeOffset="8019.29">3479 2461 0,'80'-14'0,"-27"14"0,26-13 0,556-27 31,-503 40-15,1-13-16,-1 13 0,0 0 0,0-13 16,-26 13-16,-13 0 0,13 0 15,-14 0-15,1 0 0,-1 0 0,1 0 16,-14-13-16,1 13 0,-1 0 16,-26 0-16,0 0 0,0 0 15,-13 0-15,-1 0 0,-12-13 0,12 13 16,-25 0-16,-1 0 0,-40 0 31,1 0-31,0 0 16,-27 0-16,0 0 0</inkml:trace>
  <inkml:trace contextRef="#ctx0" brushRef="#br0" timeOffset="8310.94">4723 2474 0,'-53'13'15,"40"-13"-15,13 13 0,92-13 32,-39 0-17,13 0-15,14 0 0,12 0 0,-12-13 16,12 13-16,-12 0 0,12 0 16,-12-13-16,12 13 0,-12 0 0,12 0 15,-12 0-15,-14-13 0,13 13 16,-26 0-16,0 0 0,-13 0 0,-1 0 15,1-14-15,-14 14 0,-12 0 0,25 0 16,-12 0-16,-14 0 16,0 0-16,1 0 0,-1 0 0,0 0 15,0 0-15,0 0 0,14 0 0,-14 0 16,0 0-16,1 0 16,12 0-16</inkml:trace>
  <inkml:trace contextRef="#ctx0" brushRef="#br0" timeOffset="8862.99">6998 2249 0,'27'-13'0,"-1"13"16,-13 0-16,14 0 0,-1 0 16,1 0-16,12 0 0,-12 0 0,13 0 15,-14 0-15,0 0 0,1 0 0,-1 0 16,1 0-16,-14 0 0,0 0 0,14 0 15,-14 0-15,0 13 0,0-13 16,1 0-16,-1 13 16,-13 0-16,13-13 0,-13 14 0,0-1 15,13 13-15,-13 1 0,14-14 0,-1 27 16,-13-1-16,13 1 0,0 0 16,14-1-16,-14 1 0,0 0 0,-13 0 15,13-1-15,1 1 0,-1 0 16,0-14-16,0 14 0,1-1 0,-14-12 15,0-1-15,13 1 0,-13-1 0,0-13 16,0 14-16,13-14 0,-13 0 16,0 1-16,-13-1 0,13 0 0,0 0 15,0 1-15,-13-1 0,-1 0 16,1 0-16,0-13 0,-14 13 0,-12 1 16,12-1-16,-26 0 0,-13 0 15,0 1-15,0-1 0,0 0 0,-14 0 16,1 1-16,0 12 0,-1-13 0,1 0 15,0 14-15</inkml:trace>
  <inkml:trace contextRef="#ctx0" brushRef="#br0" timeOffset="9891.75">22953 4630 0,'13'40'0,"-26"-80"0,39 93 0,-26-26 0,0-1 16,-13 14-16,0 26 0,-1 0 16,-12 0-16,-1 0 0,14 0 0,-13 14 15,-1-14-15,14-13 0,0 13 0,0-13 16,-1 0-16,14-13 0,-13-1 15,13 1-15,0 0 0,0-14 16,0-13-16,-13 14 0,13-14 0,0 0 16,0 0-16</inkml:trace>
  <inkml:trace contextRef="#ctx0" brushRef="#br0" timeOffset="10224.6">22569 5411 0,'26'106'32,"-12"-80"-32,-14 14 0,13-14 15,0 1-15,-13-1 0,13 1 0,-13-14 16,14 13-16,-1-13 0,0 14 0,0-14 15,0 0-15,1 1 0,-1-1 16,0-13-16,14 13 0,-14-13 0,13 0 16,1 0-16,12-13 0,1 13 0,0-13 15,13-14-15,0 14 0,0-14 16,0 1-16,-14 13 0,1 0 16,-14-1-16,1 1 0,-14 0 0,13 13 15,-12 0-15,-1-13 0,0 13 16</inkml:trace>
  <inkml:trace contextRef="#ctx0" brushRef="#br0" timeOffset="13891.28">807 4061 0,'-26'0'15,"52"0"-15,-52-13 0,52 13 32,-13 0-32,14 0 0,-1 0 15,14 0-15,13 0 0,0 0 16,0 0-16,13 0 0,0 0 0,13-13 16,-26 13-16,0 0 0,0 0 0,0 0 15,0 0-15,-13 0 0,-14-13 16,0 13-16,1 0 0,-14 0 0,14 0 15,-14 0-15,0 0 16,0 0-16</inkml:trace>
  <inkml:trace contextRef="#ctx0" brushRef="#br0" timeOffset="14131.83">701 4220 0,'-13'13'0,"26"-26"0,14 26 16,-14-13-16,13 0 16,14 0-16,0 0 0,13 0 15,-1 0-15,15 0 0,-1 0 0,13 0 16,-13-13-16,0 13 0,-13 0 0,0 0 16,0 0-16,0-13 0,-13 13 15,-14 0-15,14 0 0,-14 0 0,14 0 16,-27 0-16,1 0 0,-1 13 15,0-13-15,0 0 0,0 13 16,1-13-16</inkml:trace>
  <inkml:trace contextRef="#ctx0" brushRef="#br0" timeOffset="15214.72">19103 9009 0,'-40'291'31,"27"-225"-31,0 0 0,0-13 0,-14 13 16,14-13-16,-14 0 0,14 13 15,0-26-15,-14 0 0,14-1 0,0 1 16</inkml:trace>
  <inkml:trace contextRef="#ctx0" brushRef="#br0" timeOffset="15439.05">19156 9075 0,'-27'40'0,"1"-14"16,-1 1-16,-12 26 0,-14 0 16,-66 92-16,66-79 0,-146 159 15,133-145-15,13-1 16,-13-13-16,40-13 0,-14 0 0,14-13 16,-1 13-16</inkml:trace>
  <inkml:trace contextRef="#ctx0" brushRef="#br0" timeOffset="15669.98">18799 9088 0,'26'27'0,"-52"-54"0,65 67 0,-25-27 16,-1 27-16,0 0 0,13-1 0,-12 14 15,-1 0-15,13 13 0,-12-13 16,-1 0-16,0 0 0,0 0 0,1-13 16,12-1-16,-13 1 0,-13 0 0,13-1 15,1-12-15,-1-1 0,0 14 16</inkml:trace>
  <inkml:trace contextRef="#ctx0" brushRef="#br0" timeOffset="27915.67">12065 4061 0,'40'0'31,"-27"0"-31,13 0 16,1 0-16,13 0 0,12 0 16,1 0-16,0 0 0,0 0 15,-13 0-15,13 0 0,0 0 0,-14 0 16,1 0-16,-13 14 0,-1-14 0,0 0 16,1 0-16,-14 0 0,0 0 15,1 0-15,-1 0 0,0 0 0,-39 13 31,-1-13-31,14 0 16,-27 0-16,14 0 0,-14 0 0,0 13 16,-13-13-16,1 0 0,12 0 0,0 0 15,14 0-15,-14 0 0,14 0 16,-1 13-16,14-13 0,0 0 16,-1 0-16,1 0 0,26 14 31,14-14-31,-14 0 0,14 0 15,-1 0-15,14 0 0,-14 13 0,14-13 16,-14 0-16,14 0 0,-14 0 0,14-13 16,-13 13-16,-1 0 0,1 0 15,-1 0-15,-13 0 0,14 0 0,-14 0 16,0 0-16,0 13 0,1-13 16,-1 0-16,0 0 15,0 0-15,-39 0 78,13 0-78</inkml:trace>
  <inkml:trace contextRef="#ctx0" brushRef="#br0" timeOffset="29419.99">2805 4762 0,'13'14'32,"-13"-1"-32,0 0 15,0 0-15,0 1 0,0-1 16,-13 0-16,13 0 0,0 1 15,0-1-15,0 0 0,-14 0 0,14 0 16,0 1-16,0-1 0,-13 0 16,13 0-16,0 1 15,-13-1 1,13-40 31,13 14-47,-13 0 15,0 0-15,0-1 0,13-12 16,-13 13-16,0 0 0,0-1 16,14 14-16,-14-13 0,0 0 15,0 0-15,13 39 47,-26-26-31,13 27-16,0-14 15,0 0-15,-14 0 0,1 40 32</inkml:trace>
  <inkml:trace contextRef="#ctx0" brushRef="#br0" timeOffset="29666.79">2871 4776 0,'-40'26'15,"27"-13"1,0 1-16,-14 12 16,14 1-16,-14-1 15,14-13-15,13 0 16</inkml:trace>
  <inkml:trace contextRef="#ctx0" brushRef="#br0" timeOffset="29872.6">2818 4762 0,'13'14'16,"14"-1"-1,-14 0-15,0 0 0,0 1 16,0-1-16,1-13 15,-14 13-15,13 0 0,0-13 16</inkml:trace>
  <inkml:trace contextRef="#ctx0" brushRef="#br0" timeOffset="30555.59">3704 4842 0,'0'26'15,"0"-12"1,0-1-16,0 0 15,0 0-15,0 14 0,-13-14 16,13 0-16,0 0 0,-13 1 0,13 12 16,0-13-16,-14 1 0,14-1 15,0 0-15,0 0 16</inkml:trace>
  <inkml:trace contextRef="#ctx0" brushRef="#br0" timeOffset="31091.94">3731 4815 0,'-27'27'15,"27"-14"1,-13-13-16,13 13 0,-13 1 16,-1-1-16,14 0 0,-13 0 0,0 0 15,13 1-15,-13-1 0</inkml:trace>
  <inkml:trace contextRef="#ctx0" brushRef="#br0" timeOffset="31581.09">3717 4815 0,'14'14'16,"-1"-1"0,0-13-16,0 13 0,-13 0 15,14-13-15,-1 14 0,0-1 16,0-13-16,-13 13 0,13-13 15,1 13-15,-14 0 0,13-13 16,0 14-16,0-1 16,1-13-16,-14 13 15,13-13-15,0 13 16,0-13 0,-13 14 30,14-28 48</inkml:trace>
  <inkml:trace contextRef="#ctx0" brushRef="#br0" timeOffset="33454.61">6906 4855 0,'0'27'47,"0"-14"-47,0 0 16,13 0-16,-13 14 0,0-14 15,0 13-15,0-12 0,0-1 0,0 13 16,0-12-16,0 12 0,0-13 16,-13 0-16,13 14 0,0-14 0,0 0 15,0 1-15,0-1 0,0 0 16,-14-13-16,14 13 16,0 1-16</inkml:trace>
  <inkml:trace contextRef="#ctx0" brushRef="#br0" timeOffset="33711.65">6972 4855 0,'-13'0'31,"13"13"-31,-14 1 0,14-1 0,-13 0 16,0 0-16,0 0 0,-1 14 15,14-14-15,-13 14 0,0-14 16,0 0-16,-1 27 0,1-27 16,0 0-16,13 0 0,-13 1 15,13-1-15</inkml:trace>
  <inkml:trace contextRef="#ctx0" brushRef="#br0" timeOffset="33951">6906 4855 0,'13'0'0,"0"13"15,0 1-15,-13-1 0,14-13 16,-1 13-16,0 0 0,0 0 16,14 14-16,-14-27 0,-13 13 15,13 0-15,0-13 0,-13 14 0,14-1 16,-1-13-16,-13 13 0,0 0 16,13-13-16,-13 14 0</inkml:trace>
  <inkml:trace contextRef="#ctx0" brushRef="#br0" timeOffset="34719.21">6244 4908 0,'13'40'31,"-13"-27"-31,0 0 16,14 0-16,-14 27 0,0-27 15,-14 186 32,14-186-47,0 0 16,0 0-16</inkml:trace>
  <inkml:trace contextRef="#ctx0" brushRef="#br0" timeOffset="36138.65">6244 4948 0,'13'-14'16,"-39"28"15,13-1-15,-1 0-16,14 0 15,-13 1-15,0-1 0,0 0 16,-14 27-16,14-27 0,-13 13 15,26-12-15,-14-14 0,14 13 16,-13 0-16,13 0 0</inkml:trace>
  <inkml:trace contextRef="#ctx0" brushRef="#br0" timeOffset="36991.41">6271 4921 0,'13'0'15,"0"0"-15,0 13 0,1-13 16,-1 0-16,0 14 0,27-1 15,-27-13-15,0 13 0,0-13 16,1 13-16,-1-13 0,0 0 0,0 14 16,1-14-16,-14 13 0,13-13 15,0 0-15,0 13 0,0-13 16,-13 13-16,14-13 16,-1 0-1,-13 14 1,13-14-1,0 13 64,-13-26 342</inkml:trace>
  <inkml:trace contextRef="#ctx0" brushRef="#br0" timeOffset="39792.86">7051 4233 0,'0'-13'31,"-13"13"-15,0 0-16,13-13 16,-14 13-16,1 0 15,0-13-15,0 13 0,0 0 0,-27-14 16,27 1-16,-14 0 0,1 13 15,-14-13-15,14 0 0,-14-1 16,0 14-16,-26-26 0,26 26 16,14-13-16,-14-1 0,-26 14 15,26-13-15,14 13 0,-1 0 16,-12 0-16,12 0 0,-39 0 16,40 0-16,-1 13 0,-39-13 15,40 14-15,-27-1 16,26-13-16,1 13 0,-1-13 0,1 13 15,13-13-15,-14 14 0,14-1 16,-13-13-16,12 13 0,1 0 0,-13 0 16,12 1-16,1-1 0,0 0 15,0 14-15,-1-14 0,1 26 16,0-25-16,0 12 0,0 1 16,13-14-16,-14 13 0,14-12 0,-13 25 15,13-12-15,-13-14 0,13 0 16,0 14-16,0-14 15,0 0-15,13 40 0,-13-27 16,13-12-16,1 12 0,-1 14 16,0-27-1,0 0-15,14 14 0,145 65 47,-106-78-31,-13-14-16,277 26 62,-303-13-62,39-13 16,-13 0 0,0 0-16,-27 0 0,54 0 15,-41 0 1,28 0-16,-41-13 15,0 13-15,41 0 0,-41-13 16,27 13-16,-27-13 16,1 13-16,-1 0 0,14-14 15,-13 14-15,-1-13 0,14 0 16,-27 13-16,27-13 16,-1-1-16,-12 1 15,-1 13-15,-13-13 0,14 0 16,-14-1-16,14-12 15,-14 26-15,0-13 0,13-27 16,-12 27 0,-1 0-16,-13-14 0,0 1 15,0-1 1,-13-12-16,-14-14 16,-12 0-16,12 40 15,1-14-15,-1 1 0,-39-14 16,-40-26-16,27 39 15,39 14 1,-52 0-16,65 13 16,1-13-16,-54 26 0,67-13 15,-27 13-15</inkml:trace>
  <inkml:trace contextRef="#ctx0" brushRef="#br0" timeOffset="41762.51">10557 4313 0,'0'-14'0,"-13"-12"32,-1 13-32,1 0 15,0 13-15,13-14 0,-13 1 0,0 13 16,-1-13-16,-12 0 16,-1-1-16,14 14 0,0 0 15,0-13-15,-1 13 0,-25-13 16,26 13-16,-1 0 0,-25 0 15,12 13-15,1-13 0,-1 13 16,-12 1-16,12-1 0,-13 0 0,-26 27 16,40-27-16,-1 13 15,-26 27-15,27-39 0,13 12 16,-14 14-16,1 13 0,-1 13 16,14-40-16,0 14 0,13-14 15,0 1-15,-13-14 0,13 14 16,13 12-16,-13-12 15,13-1-15,0-13 0,1 14 0,-1-14 16,13 14-16,1-14 0,-1 0 0,80 13 31,-80-26-31,41 0 0,-41 0 16,1 0-16,12-13 0,1 13 16,0-13-16,-1 0 0,1 0 15,-14-14-15,14 14 0,53-40 16,-67 40-16,54-53 15,-41 13-15,-26 39 16,-13-12-16,27-14 16,-27 27-16,0-40 0,0 40 15,0-14-15,-13 1 0,-1 0 16,-12-1-16,13 14 0,0 0 0,-27-27 16,0 13-1,14 27-15,-14-13 0,14 0 16,-1 13-16,-26 13 15</inkml:trace>
  <inkml:trace contextRef="#ctx0" brushRef="#br0" timeOffset="42628.02">7131 5120 0,'105'26'0,"-78"-13"16,-1-13-16,54 14 16,-41-1-16,1 0 0,0-13 0,13 13 15,-14-13-15,14 14 16,27-1-16,-14-13 0,0 0 0,13 13 0,-13-13 15,93 0-15,13 0 16,-92 0-16,-1 0 0,93 0 16,-93-13-16,1 13 0,-1 0 15,0 0-15,1-13 0,-14 13 0,66-14 16,-66 14-16,-13 0 16,53-13-16,-53 13 15,-13-13-15,13 13 0,-14-13 0,27-1 16,-39 1-16,-1 13 15,1-13-15,-1 0 0,1-1 0,-14 14 16,0-13-16,0 0 0,14 0 0,-27 0 16,13-1-16,0 1 0,1 0 15,-1 0-15,-13-1 16,0 1 0,13 0-16</inkml:trace>
  <inkml:trace contextRef="#ctx0" brushRef="#br0" timeOffset="43172.46">9803 5001 0,'0'-14'0,"66"1"31,-53 0-31,0 13 0,1 0 0,-1 0 16,0 0-16,0 0 0,1 0 15,-1 0-15,0 13 0,0-13 0,0 13 16,1 1-16,-1-1 15,-13 0 1,0 0-16,0 1 16,0-1-16,13-13 0,-13 13 15,0 0-15</inkml:trace>
  <inkml:trace contextRef="#ctx0" brushRef="#br0" timeOffset="44000.82">9816 5067 0,'79'26'31,"-52"-26"-31,26 0 0,0 0 0,0 0 16,13 0-16,0 0 0,13 0 0,14 0 16,-14 0-16,14 0 0,-1 0 0,1-13 15,106 13-15,-67 0 16,0 0-16,14 0 0,-1 0 0,1 0 15,12 0-15,1 0 0,13 0 16,0 0-16,-13 0 0,26 0 0,0 0 16,-13 0-16,0 0 0,172 0 15,-185 0-15,0 0 0,132 0 16,-159 13-16,-26-13 16,0 0-16,-27 13 0,14-13 0,-27 0 0,-13 14 15,-27-14-15,14 0 0,-27 0 0,14 0 16,-14 0-16,0 13 0,0-13 15,0 0-15</inkml:trace>
  <inkml:trace contextRef="#ctx0" brushRef="#br0" timeOffset="44354.68">14565 4987 0,'14'0'15,"12"0"-15,-13 0 0,0 14 0,1-14 16,12 0-16,1 13 15,-1-13-15,1 13 0,-1-13 0,14 13 16,26 27-16,-40-27 0,1 14 16,12-1-16,-25 1 0,-1-14 15,-13 27-15,0-27 16,0 13-16,-53 27 0,26-26 16,-12-1-16,-14 1 0,13-1 15,-13 0-15,14-12 0,-41 25 16,54-25-16,-40 12 0,26-13 15</inkml:trace>
  <inkml:trace contextRef="#ctx0" brushRef="#br0" timeOffset="67361.73">1296 7197 0,'450'13'16,"-357"-13"-16,-1 0 16,14 0-16,0 0 0,0 0 15,26 0-15,-26 13 0,26-13 0,1 0 0,-1 0 16,0 0-16,-26 0 0,26 13 0,1-13 15,-1 0-15,543 14 32,-543-1-32,0-13 0,1 0 0,12 0 15,-13 13-15,14-13 0,-14 0 0,-26 0 16,26 0-16,1 0 0,-28 0 16,14 0-16,-13 0 0,0 0 0,0 0 15,-13 0-15,-1 0 0,1-13 0,-14 13 16,1 0-16,-14-13 0,0 13 0,-13-14 15,-14 14-15,14-13 0,-13 13 16,0-13-16,-1 0 0,-25 13 16,12-14-16,1 1 0,-14 13 0,0-13 15,13 0-15,-12 0 0,-14-1 0,13 1 16,-13 0-16,13-14 0,-13 14 16,0-13-16,0 12 0,-13-12 0,13 13 15,-13-27-15,-1 14 0,-12-1 0,-14-26 16,27 27-16,-13-1 15,-1 1-15,1-1 0,-1 1 0,-12 0 16,12-1-16,1 1 0,-14-1 0,-39-39 16,39 40-16,-13-1 15,13 1-15,-13-1 0,0 1 0,1-1 16,-1 1-16,0 13 0,-13-14 0,-1 1 16,1-1-16,0 14 0,-13-14 0,13 14 15,-14-13-15,1 13 0,-1-14 16,-12 14-16,13-14 0,-1 14 15,-12 0-15,-80-14 0,79 1 16,0 13-16,-92-14 0,93 14 16,-28-13-16,28 12 0,-14 1 15,0 0-15,0 0 0,14 0 16,-27-1-16,26 1 0,-13 0 0,14 0 0,-41 13 16,41-14-16,-27 1 0,13 13 15,13-13-15,1 13 0,-107-13 16,107-1-16,-14 14 0,13 0 15,1 0-15,12 0 0,-12-13 0,12 13 16,1 0-16,-1 0 0,1 0 0,0 0 16,-1 0-16,14 0 0,13 0 15,-26 13-15,26-13 0,0 0 0,0 0 16,-53 14-16,53-14 0,0 13 16,-39 0-16,39 0 0,13-13 15,1 14-15,-1-1 0,0 0 16,1 0-16,12-13 0,-13 14 0,14-1 15,13 0-15,-27 0 0,14 0 16,12 1-16,-12-1 0,13 0 0,-1 0 16,-12 1-16,13-1 0,-1 0 15,1 0-15,0 0 0,-13 27 0,-1-27 16,14 14-16,-27 26 16,27-27-16,0 1 0,0-1 15,-1 1-15,1 12 0,0-12 0,0 12 16,-1 1-16,1 0 0,0-14 0,13 14 15,0 0-15,0-1 0,0 1 0,0 0 16,13-1-16,0 1 0,1 0 16,12-14-16,1 14 0,52 39 15,-39-39-15,12-14 0,1 1 0,14-1 16,-1 1-16,-13-14 0,13 0 16,13 14-16,-13-14 0,0 0 0,14-13 15,79 27-15,-80-27 16,0 0-16,1 0 0,12 0 0,-12 0 15,12 0-15</inkml:trace>
  <inkml:trace contextRef="#ctx0" brushRef="#br0" timeOffset="74332.17">900 8348 0,'39'0'0,"-26"0"16,14 0-16,-1 0 0,14-14 0,13 14 15,0 14-15,0-14 0,0 0 0,13 0 16,-13 0-16,13 0 0,-13 0 16,13 0-16,-13 0 0,13 0 0,-13 0 15,0 13-15,0-13 0,-13 0 0,-1 0 16,-12 0-16,-1 0 0,1 0 16,-14 0-16,0 0 0,0 0 15,1 0-15</inkml:trace>
  <inkml:trace contextRef="#ctx0" brushRef="#br0" timeOffset="74619.88">1283 8361 0,'-26'0'0,"52"0"0,-65 0 15,78 13 1,-12-13-1,-1 0-15,1 0 0,12 0 16,1 0-16,13 0 0,-13-13 0,13 13 16,-14 0-16,1 0 0,0 0 15,-14 0-15,0 0 0,14-13 0,-13 13 16,-1 0-16,-13 0 0,14 0 0,-14 0 16,0 0-16,0 0 0,1 0 15,-1 0-15,0 0 0,0 0 0,1 0 16,-1 0-16,-13 13 0,26-13 15,-12 0-15,-1 0 0,13 0 0</inkml:trace>
  <inkml:trace contextRef="#ctx0" brushRef="#br0" timeOffset="80356.28">4471 4868 0,'0'14'16,"0"-1"0,0 0-16,0 0 15,0 0-15,0 14 0,0-14 0,0 14 16,0-1-16,0-13 0,0 14 0,0-14 16,-13 13-16,13-12 0,0 12 15,0-13-15,0 14 0,0-14 0,0 0 16,-13 1-16,13-1 15,0 0-15,0 0 16,0 0-16,0 1 16,0-1-1,13-40 63,-13 14-78,0 0 16,0 0 0,0 0-16,0-1 0,0 1 15,0 0-15,0 0 0,0-1 16,13 1-16,-13 0 16,0 0-16,0-1 0,0 1 0,0 0 15,0 0-15,14 0 0,-14-1 0,0 1 16,0 0-16,0 0 15,0-1-15,0 54 32,0-27-17,-14 1-15,14-1 0,-13 13 0,13-13 16,0 14-16,-13-14 0,13 14 0,-13-14 16,13 13-16,0-12 0,0-1 15,-13 0-15,13 0 0,0 0 0,0 1 16</inkml:trace>
  <inkml:trace contextRef="#ctx0" brushRef="#br0" timeOffset="80785.73">4564 4921 0,'-26'13'32,"26"1"-32,-14-1 0,1 0 15,0 0-15,0 14 0,-14-14 0,14 14 16,0-1-16,0-13 0,-1 0 16,1 14-16,0-14 0,13 0 0,-13 1 15,13-1-15,-14-13 0,14 13 0,14-39 47,-1 12-47,0 1 0,0-13 0,1-1 16,-1 1-16,0 13 15,0-1-15,-13 1 0,13 0 0,1 0 16,-1 13-16,0 0 0,0 13 16,1 0-1,-14 0-15,13 1 0,-13-1 16,13 0-16,-13 0 0,0 0 0,13 1 15,-13-1-15,14-13 16,-14 13-16,13 0 0,13-26 31</inkml:trace>
  <inkml:trace contextRef="#ctx0" brushRef="#br0" timeOffset="81486.78">4564 4048 0,'-119'-13'32,"93"26"-32,-1 0 0,1 1 15,-14-1-15,-13 13 0,13 14 16,1 0-16,-14-1 0,13 1 16,0 13-16,1 0 0,12 0 0,-12 13 15,12-13-15,14 0 0,-14 0 0,14 0 16,13-14-16,-13 1 0,26 53 15,0-54-15,1 1 0,39 39 16,-14-52-16,-12-1 0,12 1 16,1-14-16,0 13 0,-14-26 15,27 14-15,-13-1 0,-1-13 0,-12 0 16,26 0-16,0-13 0,-14-1 16,14 1-16,-13 0 0,13 0 0,-13-14 15,39-12-15,-39-1 0,-14 13 16,27-26-16,-26 27 15,12-40-15,-26 26 0,-13 14 16,14-14-16,-1-26 0,-13 39 16,0 1-16,-13-14 0,13 1 15,-14-1-15,1 13 0,13 1 0,-26-14 16,13 14-16,-1-1 0,-12 1 16,13-1-16,-14 1 0,14 0 0,-14 12 15,14 1-15,0 0 0,-13 0 16,12-1-16,-12 1 0,13 0 0,-14 13 15,1-13-15,13 0 0,-14 13 0,14 0 16,0 0-16,-14 0 0,14 0 16,0 0-16,-14 0 0,14 0 0,-13 13 15,12-13-15,-12 13 0,-1-13 0,14 13 16,-13 0-16,12 1 16,-12-1-16,13 0 0,-14 0 0,14 1 15,-13 12-15,-1-13 0,27 0 16,-13 1-16,0-1 0,13 0 0,0 0 15</inkml:trace>
  <inkml:trace contextRef="#ctx0" brushRef="#br0" timeOffset="82551.63">1323 8797 0,'66'0'0,"-132"0"0,159-13 15,-67 13-15,0 0 0,14 0 16,-13 0-16,-1 0 0,1-13 0,-1 26 16,-13-13-16,14 0 0,-1 0 0,-13 0 15,27 0-15,-27 0 16,-13 13-16,13-13 0</inkml:trace>
  <inkml:trace contextRef="#ctx0" brushRef="#br0" timeOffset="82985.67">1204 8890 0,'26'-13'16,"-12"13"-16,-1-13 0,13 13 0,1 0 15,-1 0-15,14-14 0,-14 14 16,1 0-16,12-13 0,-12 13 0,-1 0 15,14 0-15,-13 0 0,-1-13 0,0 13 16,-12 0-16,12 0 0,-13 0 16,1 0-16,-1 0 0,0 0 0,0 0 15,0 0-15,1 0 0,-1-13 16,-13 26-16,13-13 16,-26 13 93,13 0-93</inkml:trace>
  <inkml:trace contextRef="#ctx0" brushRef="#br0" timeOffset="85962.9">1177 9260 0,'-13'0'31,"40"-13"-15,-1 13-16,-13 0 0,14 0 0,12 0 15,14 0-15,-13-13 0,13 13 0,0 0 16,-13 0-16,13-13 0,-1 13 16,-12 0-16,13 0 0,-13-13 0,-14 13 15,14 0-15,-14 0 0,1 0 0,-1 0 16,-13 0-16,14 0 0,-14 0 16,0 0-16,1 0 0,-1 0 0</inkml:trace>
  <inkml:trace contextRef="#ctx0" brushRef="#br0" timeOffset="86295.58">1296 9393 0,'40'0'0,"-27"0"0,1 0 16,78-14-1,-65 14-15,-1 0 0,27-13 0,-26 13 16,12 0-16,-12-13 0,12 13 16,-12 0-16,-1 0 0,1 0 0,-1-13 15,-13 13-15,14 0 0,-14 0 16,0 0-16,1 0 0,-1 0 0,0 0 16,0 0-16,0 0 15,1 0-15,-1 0 16,0 0-1,0 0-15,1-13 32,-1 13-17</inkml:trace>
  <inkml:trace contextRef="#ctx0" brushRef="#br0" timeOffset="89845.76">1270 9750 0,'26'0'0,"-12"0"16,-1 0-16,13 0 0,-12 0 16,12 0-16,1 0 0,-1 0 15,0 0-15,1 0 0,-1 0 16,1 0-16,-1 0 0,1 0 0,-14 0 16,13-13-16,1 13 0,-14 0 0,0 0 15,1 0-15,-1 0 0,0 0 0,0 0 16</inkml:trace>
  <inkml:trace contextRef="#ctx0" brushRef="#br0" timeOffset="90295.81">1244 9895 0,'-14'0'0,"67"0"31,-40 0-31,1 0 16,12 0-16,-13 0 0,40 0 15,-39-13-15,12 13 0,0 0 0,-12 0 16,12 0-16,1 0 0,-14 0 16,13-13-16,-12 13 0,12 0 0,-13 0 15,0 0-15,1 0 0,-1 0 0,0 0 16,0 0-16,14-13 15,-14 13 1,0 0-16,0 0 16,1 0-1,-1 0 48,0 0-32,0 0-15,14 13-1,-14-26-15</inkml:trace>
  <inkml:trace contextRef="#ctx0" brushRef="#br0" timeOffset="92496.03">1349 10319 0,'27'0'32,"-14"0"-32,0 0 0,14 0 15,-14 0-15,0 0 0,14 0 0,-1 0 16,-13 0-16,14 0 0,-1 0 16,-12 0-16,12 0 0,-13 0 0,14 0 15,-14 0-15,0 0 0,0 0 16,1 0-16,-1 0 0,0 0 15,0-13-15</inkml:trace>
  <inkml:trace contextRef="#ctx0" brushRef="#br0" timeOffset="92889.65">1402 10358 0,'27'0'47,"-14"0"-47,0 14 0,0-14 0,1 0 15,-1 0-15,0 0 16,14 0-16,-14 0 0,0 0 0,0 0 16,14 0-16,-14 0 0,0 0 0,0 0 15,1 0-15,-1 0 0,0-14 16,0 14-16,14 0 15,-14 0 1,0 0-16,0 0 16,1 0-1,-1 0 17,0 0 30,0 0-46</inkml:trace>
  <inkml:trace contextRef="#ctx0" brushRef="#br0" timeOffset="93450.37">2963 10213 0,'27'13'16,"-14"-13"-16,0 0 0,0 0 16,1 0-16,-1 0 15,0 0-15,0 0 16,1 13 0</inkml:trace>
  <inkml:trace contextRef="#ctx0" brushRef="#br0" timeOffset="94101.86">952 10888 0,'14'0'15,"52"0"17,-40 0-32,-12 0 0,12 0 0,0 0 15,1 0-15,13 0 0,-14-14 0,1 14 16,12 0-16,1 0 0,0-13 16,-14 13-16,1 0 0,-1 0 0,-13-13 15,14 13-15,-14 0 0,0 0 16,0 0-16,1 0 0,-14-13 0</inkml:trace>
  <inkml:trace contextRef="#ctx0" brushRef="#br0" timeOffset="94385.71">939 10914 0,'40'-13'32,"-27"13"-32,0 0 0,14 0 0,-14 0 15,14 0-15,-1 0 0,0 0 0,1-13 16,13 13-16,-14 0 0,1 0 16,-1 0-16,14 0 0,-14 0 0,1 0 15,-1 0-15,-13 0 0,14 0 0,-1 0 16,1 0-16,-14 0 15,0 0-15,14 0 0,-14 0 0,13 0 16,-12 0-16,12 0 0,-13 0 0,0 0 16</inkml:trace>
  <inkml:trace contextRef="#ctx0" brushRef="#br0" timeOffset="95526.72">2831 10835 0,'13'0'16,"1"13"-16,-1-13 16,0 0-16,0 0 15,0 0-15,1-13 0,-1 13 0,0 0 16,14 0-16,-14-14 0,0 14 15,0 0-15,14-13 0,-14 13 0,0-13 16,0 13-16,1-13 0,-1 0 0,0 13 16,0-14-16,1 1 0,-1 0 15,0 0-15,-13-1 0,0 1 16,13 13-16,-13-13 0,0 0 0,0-1 16,13 1-16,-13 0 15,0 0-15,0 0 0,-13-1 0,13 1 16,0 0-16,0 0 0,0-1 0,-13 1 15,13 0-15,0 0 0,-13 0 16,0-1-16,13 1 0,-14 0 0,1 0 16,0-1-16,0 1 15,-1 0-15,1 13 0,13-13 16,-13 13-16,0-14 0,-1 14 0,1 0 16,0-13-16,0 13 0,-14 0 15,14 0-15,0 0 0,0 0 16,-1 0-16,-12 0 0,13 0 0,0 0 15,-1 0-15,1 0 0,0 13 16,0-13-16,-1 14 0,1-14 0,0 0 16,0 13-16,-1 0 0,1 0 0,0-13 15,0 14-15,13-1 0,-13 0 16,13 0-16,-14 1 0,14-1 0,-13 0 16,13 13-16,0-12 0,0-1 0,0 0 15,0 0-15,0 1 0,13 12 16,-13-13-16,14 0 0,-1 1 0,-13-1 15,13-13-15,0 13 0,0 0 0,1 1 16,-1-14 0,0 13-16,0-13 0,1 0 15</inkml:trace>
  <inkml:trace contextRef="#ctx0" brushRef="#br0" timeOffset="98622.87">8943 8070 0,'13'-13'0,"-66"39"31,27 0-31,-1 14 0,-12 13 16,-1 0-16,0 0 0,1 0 16,12 0-16,-13 0 0,14 0 0,-1-1 15,14 1-15,0-26 0,0 13 0,13-14 16,0 0-16,0-12 0,0-1 16,13 0-16,0-13 0,0 0 0,14 0 15,-1 0-15,14-13 0,0-14 0,-1 1 16,14 0-16,-13-14 0,13 13 15,0-12-15,-13 12 0,13 1 16,-14-1-16,1 14 0,-14 13 0,1-13 0,-14 13 16,14 13-16,-14-13 0,0 13 15,-13 1-15,13 12 0,-13-13 16,0 14-16,0-14 0,0 13 0,0 1 16,0-1-16,-13 1 0,13-14 0,0 0 15,-13 14-15,13-14 0,0 0 16,0 0-16,-13 1 0</inkml:trace>
  <inkml:trace contextRef="#ctx0" brushRef="#br0" timeOffset="99850.57">9340 8348 0,'0'-14'15,"0"28"-15,26-1 31,-26 0-31,0 0 0,0 1 0,13-1 16,-13 0-16,0 13 0,0-12 0,0-1 16,14 0-16,-14 0 15,0 1-15,0-1 0,0 0 0,0 0 16,0 0-16,13-39 31,0 13-31,-13-14 0,13-12 0,14-27 16,-14 26-16,0 13 0,14-39 15,-14 53-15,0 0 0,0 0 16,-13-1-16,14 1 0,12 0 16,1 26-1,-27 0-15,13-13 0,-13 14 0,13-1 16,-13 0-16,0 0 0,13-13 16,-13 13-16,0 1 0,14-1 0,-14 0 15,13-13-15,-13 13 0,13 1 0,0-14 16,14 0-1,-14 0-15,0-14 16,0 1-16,-13 0 0,14 0 16,-14-1-16,13 1 0,-13-13 0,0 13 15,0-1-15,0 1 16,0 0-16,-13 13 16,39 0 30,-13 0-46,0 0 16,1 0-16,-1 0 0,13 0 16,-12 0-16,-1-13 0,0 13 0,0 13 15,1-13-15,-1 0 0,0 0 0,0 0 16,0 0-16,1 0 0,-1 13 16,0-13-1,0 0-15,1 0 0,-1-13 0,0 13 16,0 0-16,1 0 0,-1 0 0,0 0 15,-13-13-15,13 13 0,14 0 16,-27 13-16,13-13 16,0 0-16,-13 13 0,13-13 0,-13 13 0,14-13 15,-14 14-15,13-14 0,0 13 16,0-13 0,1 0-16,-1-13 15,0-1-15,0 14 0,0-26 0,1 13 16,-1-14-16,13 1 0,-12-14 15,12 14-15,1-14 0,-1-13 0,0 27 16,-12-1-16,-1 1 0,0 12 0,14 1 16,-14 13-1,-13 13-15,13 14 0,-26-1 16,13 14-16,-13 13 0,-1 13 0,1 13 16,-13-12-16,-1 12 0,1 14 0,-40 52 15,39-52-15,1-27 16,-1-13-16,1 0 0,-1 0 0,14-14 15,-13 14-15,12-40 16,1 1-16,0-41 16,13 14-16,0-27 15,13-13-15,0-26 0,14 13 0,-1-40 16,14 13-16,0 1 0,-1-1 16,14 14-16,-13 26 0,-14 13 15,14 0-15,-13 14 0,-1 13 0,0 0 16,-12 39-16,-28-13 15,1 27-15,-13 13 0,-1-13 16,1 12-16,-14 1 0,1 0 0,12 0 16,-13-13-16,1 0 0,-14 26 15,40-53-15,-1 0 0,1 0 16,40-39 0,-1-1-16,14 1 15,-1-27-15,1 0 0,0 14 0,-1-14 16,1 13-16,0 13 0,-14 1 15,14-14-15,-27 40 0,0 0 16,1 0-16,-14 14 0,0-1 16,0 13-16,0 1 0,-14-1 15,1 14-15,0-14 0,0 14 16,-14-14-16,1 14 0,-14 26 0,14-39 16,-1-1-16,14-13 15,0 1-15,13-1 0,-13-13 16</inkml:trace>
  <inkml:trace contextRef="#ctx0" brushRef="#br0" timeOffset="100276.15">10848 8057 0,'13'39'0,"-13"-12"15,0-14-15,0 40 16,-13-40-16,13 0 0,0 14 16,0-14-16,-13 0 0,13 0 15,13 1 1,0-28-1,14 1-15,-14 0 0,0 13 0,14-13 16,-14 13-16,0 0 0,0 0 16,0 0-16,1 0 0,-14 13 0,13 0 15,-13 14-15,0-14 0,0 13 0,0 1 16,0-1-16,-13 1 0,13-1 0,0-13 16,0 14-16,0-14 15,0 14-15,0-14 0,13 0 0,-13 0 16,0 0-16,13-13 0,-39 0 31,-1-13-31,14 0 16,-27 0-16,1 0 0,-14-14 0</inkml:trace>
  <inkml:trace contextRef="#ctx0" brushRef="#br0" timeOffset="101482.86">966 11867 0,'-14'0'15,"28"0"-15,-41 0 0,14 0 16,0 0-16,39 13 31,-13-13-15,14 0-16,-1 0 0,1 0 0,13 0 15,12 0-15,15 0 0,-14 0 16,13-13-16,0 13 0,-13 0 0,26-14 16,-26 14-16,0 0 0,0-13 0,0 13 15,13 0-15,-13 0 0,-13-13 16,12 13-16,-12 0 0,-13 0 0,-1 0 16,1-13-16,-14 13 0,0 0 0,0 0 15,0 13-15,-26 0 31</inkml:trace>
  <inkml:trace contextRef="#ctx0" brushRef="#br0" timeOffset="101773.6">886 12052 0,'-26'0'0,"13"0"0,-1 0 15,14 13-15,27-13 16,-1 0-16,1 0 16,12-13-16,14 13 0,0-13 15,13 13-15,14-14 0,-14 14 0,13-13 16,1 13-16,-1-13 0,-13 13 0,14-13 16,-14 13-16,0-14 0,13 14 15,-26-13-15,0 13 0,-13 0 0,13 0 16,-14-13-16,-12 13 0,-1 0 15,1 0-15,-14 0 0,13 0 0,-12 0 16,-1 0-16,0 0 0,0 0 0,1 0 16</inkml:trace>
  <inkml:trace contextRef="#ctx0" brushRef="#br0" timeOffset="102733.52">1640 12091 0,'27'0'0,"-14"0"15,0 0-15,14-13 0,52 0 16,-39 0-16,0 13 15,12-13-15,-12 13 0,0-14 0,13 1 16,-14 13-16,1-13 0,0 0 0,-1-1 16,1 1-16,0 13 0,0-13 15,-14 0-15,0-1 0,1 14 16,-14-13-16,14 0 0,-14 0 0,13 0 16,-12-1-16,12-12 0,0 13 0,-12-14 15,-1 14-15,0 0 0,0-14 16,1 14-16,-14 0 0,13 0 15,0-14-15,-13 14 0,13 0 0,-13-1 0,0-12 16,14 13-16,-14 0 0,0-1 16,0 1-16,13 0 0,-13 0 0,0-14 15,0 14-15,0 0 0,0-1 0,0 1 16,0 0-16,0 0 16,13 0-16,-13-1 0,0-12 0,0 13 15,0-1-15,-13 1 0,13 0 0,0 0 16,0-1-16,-13 1 0,13 0 15,-14 0-15,1 0 0,13-1 0,-26 1 16,12 0-16,1 0 0,-13-1 0,12 1 16,-12 0-16,0 0 0,-1-1 15,1 1-15,-1 0 0,1 0 0,-1 0 16,-12-1-16,12 1 0,-13 13 0,14-13 16,-1 0-16,1 13 0,0 0 0,-14-14 15,13 14-15,1-13 0,0 13 16,-14 0-16,13 0 0,1-13 15,-14 13-15,14 0 0,-14 0 0,14 0 16,-1 0-16,-13 0 0,14 0 16,-14 0-16,14 0 0,-1 13 0,-12-13 15,12 0-15,1 0 0,-1 0 0,1 0 16,-1 13-16,1-13 0,13 0 0,-14 0 16,1 14-16,13-14 0,-27 0 15,27 13-15,-14-13 0,1 13 0,-1-13 16,14 13-16,-13-13 0,-1 14 0,1-1 15,-1-13-15,1 26 0,-1-13 16,-12 1-16,12-1 0,1 13 16,-1-12-16,1 12 0,-1-13 0,1 1 15,-1-1-15,14 13 0,-13-13 16,13 1-16,-14 12 0,1 1 0,12-1 16,-12 1-16,-14 25 0,14-25 15,-1-1-15,14 1 0,-13-1 0,12 14 16,1-14-16,0 1 15,0 13-15,-1-14 0,1 14 0,0-14 16,0 1-16,13-1 0,-13 1 0,13-1 0,0-13 16,-14 14-16,14-14 15,14 13-15,-14 1 0,0-14 0,13 14 16,0-14-16,13 13 0,1 1 0,-1-14 16,1 0-16,13 0 0,-1 1 0,1-14 15,0 13-15,13-13 0,-1 0 16,1 0-16,0 0 0,0 0 0,0 0 15,-13 0-15</inkml:trace>
  <inkml:trace contextRef="#ctx0" brushRef="#br0" timeOffset="107723.85">2183 12039 0,'13'26'16,"0"-13"-16,0 0 0,1 1 16,-1 12-16,13-13 0,1 27 15,13-13-15,-1-1 0,1 14 0,13-1 16,-13 1-16,26 0 0,-13-14 16,26 27-16,-13-13 0,27-1 0,-1 1 15,14 0-15,0-14 0,-13 1 0,26 12 16,0-12-16,0-14 15,13 14-15,0-1 0,146 14 16,-132-14-16,-1-13 0,14 1 0,0-1 16,-1 0-16,1 0 0,-13 1 0,26-14 15,0 0-15,0 0 0,0 0 16,0 0-16,0-14 0,0 14 0,0-13 16,13 0-16,0-14 0,0 14 0,0 0 15,1-13-15,-14-1 0,13 1 16,0-1-16,0 1 0,-13-1 0,13-12 15,1 12-15,-14 1 0,0-1 0,-14-13 16,14 14-16,-13 0 0,-13-1 16,12-13-16,-12 14 0,-14-1 15,0 1-15,1-14 0,-14 14 0,0-1 16,0 1-16,0 0 0,-13-1 16,0 1-16,-27 12 0,0 1 0,1-13 15,-1 12-15,1-12 0,-1 13 0,0 0 16,-13-1-16,1-12 0,-1 13 15,-13-1-15,0 1 0,-14 0 0,1 0 16,0 13-16,-14-14 0,1 14 0,-14-13 16,0 13-16,0 0 0,0-13 15,1 13-15,-1 0 0,0-13 16</inkml:trace>
  <inkml:trace contextRef="#ctx0" brushRef="#br0" timeOffset="108054.65">11840 11893 0,'27'0'0,"-1"0"16,-13 0-16,14 0 0,12 13 0,1-13 15,0 0-15,-1 13 0,1 1 16,0-1-16,0 0 0,-1 0 0,-12 14 15,-1-1-15,1 1 0,-14-1 0,0 14 16,-13-14-16,0 14 0,-13 13 16,0 0-16,-27 0 0,0-14 15,1 14-15,-28 14 0,14-15 0,1-12 16,-1 13-16,-14-13 0</inkml:trace>
  <inkml:trace contextRef="#ctx0" brushRef="#br0" timeOffset="112723.51">15280 11218 0,'0'0'0,"13"-13"0,-13 0 31,-13 26 16,-1 0-47,14 1 0,-13-1 0,0 13 16,0-13-16,-14 14 0,14-1 0,0-12 15,0 12-15,-1-13 16,1 14-16,0-14 0,0 13 0,-1-12 16,1-1-16,0 0 0,13 0 0,-13 1 15,13-1-15,0 0 16,0 0 0,13-13-16,0 0 0,0 0 15,1 0-15,-1 0 0,13 0 16,1 0-16,-14 0 0,14 0 0,-1 0 15,0 0-15,1 0 0,-14 0 0,14 0 16,-14 0-16,0 0 0,14 0 16,-14 0-16,0 0 0,0 0 15,0 0-15,1 0 0,-1 0 16,0 0-16,-39-13 47</inkml:trace>
  <inkml:trace contextRef="#ctx0" brushRef="#br0" timeOffset="113024.49">15386 11205 0,'0'-13'16,"0"0"-1,-14 26 1,1 13-16,13-12 16,-13 25-16,0-12 0,-1 12 0,-12 1 15,13 13-15,-1 0 0,1 0 0,-13-13 16,13 12-16,-14 1 0,14-13 16,0 0-16,-1-14 0,14 14 0,-13-14 15,0-12-15,13-1 0,-13 13 0,13-13 16,0 1-16,0-1 15,-14 0-15,14 0 0,0 1 16</inkml:trace>
  <inkml:trace contextRef="#ctx0" brushRef="#br0" timeOffset="113892.73">15359 11258 0,'0'-13'0,"13"13"15,-39 13 17,26 0-32,-13-13 0,-1 27 15,1-14-15,-13 0 0,-1 14 0,1-1 16,13 1-16,-14-1 0,1-13 16,-14 40-16,27-40 15,-1 1-15,1-1 0,0 0 0,13 0 16,-13 1-16,0-1 0,13 0 15,-14-13-15,14 13 0,-13-13 0,13 13 16,-13-13-16,13 14 16,13-14-1,0 0 1,14 0-16,-14 0 16,0 0-16,0 0 15,1 0-15,-1 0 0,0-14 16,0 14-16,1 0 0,-1 0 15,0-13-15,0 13 0,1 0 16,-1-13-16,0 13 0,-13-13 0,13 13 16,0-13-16</inkml:trace>
  <inkml:trace contextRef="#ctx0" brushRef="#br0" timeOffset="114094.7">15399 11284 0,'-13'27'0,"-1"-14"0,1 0 16,0 14-16,0 13 0,-14-14 0,14 27 15,-14-13-15,1-1 0,0 14 0,-1-13 16,14 0-16,0-1 0,-14-12 16,14 12-16,0-12 0,-14-1 0,1 14 15,26-27-15,-13 0 0,13 1 16</inkml:trace>
  <inkml:trace contextRef="#ctx0" brushRef="#br0" timeOffset="114955.79">12475 9829 0,'0'0'0,"13"0"0,-39 13 47,13 1-31,-1-14-16,1 13 0,13 0 15,-26 0-15,12 1 0,1-1 0,0 13 16,0-12-16,0-1 0,-1 0 0,1 0 16,0 0-16,0 1 0,13-1 15,-14-13-15,14 13 0,0 0 0,-13-13 16,13 14-16,13-1 15,1 0-15,-1-13 0,0 0 16,0 0-16,1 0 0,-1 0 16,13 0-16,1 0 0,-1 0 0,1 0 15,-14 0-15,13 0 0,1 0 0,-1-13 16,-13 13-16,1 0 0,-1 0 16,0-13-16,0 13 0,1 0 0,-14-14 15,13 1-15</inkml:trace>
  <inkml:trace contextRef="#ctx0" brushRef="#br0" timeOffset="115173.88">12581 9737 0,'-13'26'16,"13"-13"-16,-14 14 15,14-14-15,0 13 0,-13 14 0,13 0 16,-13 0-16,13-1 0,-13 1 15,13 0-15,-13-14 0,13 14 0,-14-14 16,14-13-16,-13 14 0,13-14 0,0 0 16,0 14-16,-13-14 0,13 0 15,0 1-15,0-1 16</inkml:trace>
  <inkml:trace contextRef="#ctx0" brushRef="#br0" timeOffset="115656.24">12925 9856 0,'-27'0'16,"14"0"-16,0 0 0,13 13 15,-13-13-15,0 13 0,-1 0 16,14 1-16,0-1 16,0 0-16,0 0 15,14 1-15,-14-1 0,13 0 16,-13 0-16,13 0 0,-13 1 16,13-1-16,-13 0 0,-13 0 15,13 1 1,-13-1-16,0 0 0,-1-13 15,1 13-15,0-13 0,0 0 0,13 14 16,-14-14-16,1 0 0</inkml:trace>
  <inkml:trace contextRef="#ctx0" brushRef="#br0" timeOffset="116072.65">13322 9842 0,'-13'27'31,"13"-14"-31,0 0 0,0 1 16,-14 12-16,14-13 0,-13 1 0,13 12 16,-13-13-16,13 0 0</inkml:trace>
  <inkml:trace contextRef="#ctx0" brushRef="#br0" timeOffset="116511.71">13150 9975 0,'13'0'0,"-26"0"0,39-13 16,-13 13-16,1 0 0,-1 0 0,13-14 15,-12 14-15,12 0 0,1-13 16,-1 13-16,0-13 0,1 13 0,-1-13 16,1 13-16,-1-14 0,14 1 15,-14 0-15,1 13 0,-1-13 0,-12-1 16,12 14-16,-13-13 0,0 0 16,1 13-16,-1-13 0,0 13 0,-13-13 15,13 13-15,1-14 16,-41 28 15,14-14-15,13 13-16,-13 0 0,-1 0 0,1 0 15,0 1-15,13-1 0,-13 0 16,13 0-16,-13 1 16,13-1-16,13 0 0,-13 0 15,13 1-15,0-1 16,0-13-16,1 0 0,-1 13 15,0-13-15,0 0 0,1 0 16,-1 0-16,0 0 0,14-13 0,-14 13 16</inkml:trace>
  <inkml:trace contextRef="#ctx0" brushRef="#br0" timeOffset="116715.47">13917 9697 0,'-26'13'15,"12"0"-15,14 1 16,-13 12-16,13-13 0,-13 1 16,13 12-16,0-13 0,0 14 15,0-1-15,0-13 0,0 14 16,0-1-16,-13 1 0,13-14 0,0 13 16,0-12-16,0-1 0,0 13 0,0-12 15,0-1-15,13-13 0,-13 13 16</inkml:trace>
  <inkml:trace contextRef="#ctx0" brushRef="#br0" timeOffset="117075.16">14142 9671 0,'-53'26'0,"106"-52"0,-119 52 16,66-13-16,-13-13 0,26 13 31,0 1-31,0-14 0,1 26 16,-1-26-16,-13 13 0,13 1 15,-13 12-15,13-13 0,-13 0 16,0 1-16,13 12 0,-13-13 16,0 1-16,0 12 0,14-13 0,-14 1 15,0-1-15,0 0 0,0 0 16,13 0-16,-13 1 0,0-1 16,0 0-16,0 0 15</inkml:trace>
  <inkml:trace contextRef="#ctx0" brushRef="#br0" timeOffset="117495.02">12660 10319 0,'93'-13'15,"-53"13"1,13-14-16,-1 14 0,28-13 0,-14 13 16,13-13-16,1 0 0,-1-1 0,0 14 15,1-13-15,-1 0 0,1 0 16,-14-1-16,13 1 0,-13 13 0,-13-13 16,-13 0-16,0 13 0,-1-13 0,-26 13 15,14 0-15,-14 0 0,0 0 16,1 0-16,-1 0 15,-13 13-15,-13 0 16</inkml:trace>
  <inkml:trace contextRef="#ctx0" brushRef="#br0" timeOffset="117826.52">13441 10464 0,'40'0'16,"-27"0"-16,0 0 0,0 0 0,0 0 16,1 0-16,-1 0 0,0 14 15,0-14-15,1 13 0,-14 26 16,-14-25 0,1 12-16,-13 1 0,-1-1 0,1-13 15,13 14-15,-14-1 0,1-13 16,12 1-16,1-1 0,0 0 15,13 0-15,13-13 16,0 0-16,1 0 0,-1 0 16,13 0-16,1-13 15,12 0-15,1 0 0,39-14 16,-39 14-16,0 0 0,13-1 0,-14 1 16,1 0-16,0-13 0,39-1 15</inkml:trace>
  <inkml:trace contextRef="#ctx0" brushRef="#br0" timeOffset="118091.8">14367 10081 0,'26'-14'16,"-52"28"-16,66-28 0,-27 14 0,26 0 15,-25 0-15,-1 0 0,0 0 0,0 0 16</inkml:trace>
  <inkml:trace contextRef="#ctx0" brushRef="#br0" timeOffset="118252.48">14380 10279 0,'0'0'0,"27"0"15,-14 0 1,0-13-16,13 13 0,-12 0 0,12-13 15,14-1-15,-14 14 0,14-13 16</inkml:trace>
  <inkml:trace contextRef="#ctx0" brushRef="#br0" timeOffset="120565.08">15399 11179 0,'13'-14'31,"-39"41"-31,-1-14 16,14 0-16,-27 14 0,14-1 0,-1-13 16,1 14-16,-14-1 0,14 1 15,-14-1-15,13 1 0,1-1 0,0 1 16,-1-1-16,1-13 0,-1 14 0,14-14 16,13 0-16,-13-13 0,-1 14 15,14-1-15,0 0 0,0 0 16,14-13-16,-1 0 15,0 0-15,0 0 0,1 0 16,-1 0-16,13 0 0,1-13 0,-1 13 16,-13 0-16,14-13 0,-1 13 15,-12-13-15,12 13 0,1-14 0,-14 14 16,0-13-16,0 0 0,14 0 16,-14 13-16</inkml:trace>
  <inkml:trace contextRef="#ctx0" brushRef="#br0" timeOffset="120758.81">15412 11218 0,'-26'27'0,"-41"52"15,41-39-15,-1 0 16,1-1-16,0 14 16,-1-13-16,1 0 0,-1 12 0,14-12 15,-14 0-15,14-14 0,0 14 0,0-14 16,0 1-16,13-14 0,-14 14 15,14-14-15,0 0 0,0 0 0,0 0 16,0 1-16</inkml:trace>
  <inkml:trace contextRef="#ctx0" brushRef="#br0" timeOffset="121690.16">15412 11311 0,'26'0'47,"-12"0"-47,-1 0 0,0 0 0,0-13 15,14 13-15,-14 0 0,0 0 0,1-14 16,-1 14-16,0 0 0,0 0 15,0 0-15,-13-13 0,14 13 16,-1 0-16,0 0 16,-13 13-1,13 1-15,-13-1 0,0 0 0,-13 0 16,13 1-16,0 12 0,-13 1 0,13-1 16,-13 0-16,-1 14 0,1-13 15,13-1-15,-13 14 0,0-14 0,13-13 16,0 14-16,-13-1 0,13-12 0,0-1 15,0 0-15,-14 0 0,14 1 0,0-1 16,0 0-16,0 0 16,0 0-1,14-13-15,-14-13 32,0 0-32</inkml:trace>
  <inkml:trace contextRef="#ctx0" brushRef="#br0" timeOffset="121985.83">15505 11483 0,'0'-13'0,"0"26"0,26-26 16,-13-1-16,14 14 16,-14 0-16,0 0 0,14 0 15,-14 0-15,-13-13 0,13 13 16,0 0-16,1 0 0,-1 0 0,0 0 16,0 0-16,0 0 15,1 13 1</inkml:trace>
  <inkml:trace contextRef="#ctx0" brushRef="#br0" timeOffset="122987.12">16444 11999 0,'159'-13'16,"-93"13"-16,0 0 15,27-14-15,-14 14 0,13 0 0,14 0 16,-13 0-16,13 0 0,0 0 15,-1 0-15,1 0 0,-13 0 16,13 14-16,0-14 0,-14 0 0,1 0 16,-1 13-16,-12-13 0,12 0 15,-26 0-15,1 0 0,-14 0 0,-1 13 16,1-13-16,0 0 0,-13 0 0,-14 0 16,1 0-16,-14 0 0,14 0 15,-14 0-15,-40 0 31,1 0-31</inkml:trace>
  <inkml:trace contextRef="#ctx0" brushRef="#br0" timeOffset="123291.62">16616 12171 0,'53'13'0,"172"-13"16,-133 13-16,1-13 15,-1 0-15,14 0 0,0 0 0,40 0 0,-41 0 16,1-13-16,0 13 0,0 0 16,0 0-16,-14 0 0,1 0 15,0 13-15,-14-13 0,-13 0 0,-13 0 16,0 0-16,0 0 0,-13 0 15,-14 0-15,0 0 0,-12 0 0,12 0 16,-13 0-16,1 0 0,-1 0 0,0 0 16</inkml:trace>
  <inkml:trace contextRef="#ctx0" brushRef="#br0" timeOffset="148798.54">18243 569 0,'-13'-13'31,"13"39"-15,0-13-16,0 1 15,0-1-15,0 0 0,0 0 16,0 0-16,0 27 15,0-13-15,-13-14 0,13 0 16,0 0-16,0 1 0,0-1 16,0 0-16,0 0 15,0 0 1</inkml:trace>
  <inkml:trace contextRef="#ctx0" brushRef="#br0" timeOffset="149150.6">18468 781 0,'26'26'31,"-26"-13"-31,0 0 0,0 1 16,0-1-16,0 0 15,-13 0-15,13 1 0,-13-1 0,0 0 16,-1 0-16,14 0 0,-13-13 16</inkml:trace>
  <inkml:trace contextRef="#ctx0" brushRef="#br0" timeOffset="149517.6">18865 595 0,'0'0'0,"13"0"0,0 0 0,-13 14 16,0-1 0,0 0-16,-13-13 0,13 13 0,-13 14 15,0-14-15,-1 0 0,1 0 0,13 1 16,-13-1-16,0-13 0,-1 13 16,14 0-16,-13 1 0,13-1 15,-13 0-15,26 0 16,0-13-1,-13 13-15,14-13 0,-1 0 16,0 0-16,0 0 0,14-13 16,-14 13-16</inkml:trace>
  <inkml:trace contextRef="#ctx0" brushRef="#br0" timeOffset="149693.6">19050 741 0,'13'13'15,"-13"0"-15,0 1 16,0-1-16,0 0 0,0 0 16,0 0-16,0 1 0,0-1 15,-13 0-15,13 0 16,0 1-16,-13-1 0,13 0 16,-13 0-16</inkml:trace>
  <inkml:trace contextRef="#ctx0" brushRef="#br0" timeOffset="150081.68">19473 595 0,'-13'14'32,"13"-1"-17,-13 0 1,26 0-16,-13 0 15,13-13-15,-13 14 0,14-1 0,-14 0 16,13 0-16,-13 1 16,0-1-16,13-13 15,-13 13-15,-13 0 0,13 1 16,-13-1-16,-1 0 0,14 0 16,-13 0-16,0-13 0,13 14 15,-13-14-15</inkml:trace>
  <inkml:trace contextRef="#ctx0" brushRef="#br0" timeOffset="150281.38">19672 754 0,'13'0'0,"0"13"15,-13 1 1,0-1-1,0 0-15,-13 0 0,0 0 16,13 1-16,-13-1 16,13 0-16,-14-13 0,14 13 0,-13 1 15</inkml:trace>
  <inkml:trace contextRef="#ctx0" brushRef="#br0" timeOffset="150639.15">20161 661 0,'-26'0'15,"13"14"1,-1-14-16,14 13 0,-13-13 0,0 13 0,0 0 16,13 1-16,-14-1 0,1-13 15,13 13-15,-13 0 0,0 1 16,13-1-16,0 0 0,0 0 16,0 0-16,0 1 15,13-14-15,-13 13 0,13-13 0,0 0 16,1 13-16,12-13 0,-13 0 15,1 0-15,12 0 0,-13-13 0,0 13 16,14 0-16,-14 0 0,0-13 0</inkml:trace>
  <inkml:trace contextRef="#ctx0" brushRef="#br0" timeOffset="150810.74">20320 714 0,'0'-13'15,"-26"40"1,12-27-16,14 13 15,-13 0-15,13 0 0,0 1 16,-13-1-16,13 13 0,0-13 0,-13 1 16,13-1-16,0 0 0,0 14 0,0-14 15,0 0-15,0 0 0,0 0 16,0 1-16,13-1 16</inkml:trace>
  <inkml:trace contextRef="#ctx0" brushRef="#br0" timeOffset="151007.79">20651 833 0,'0'0'0,"13"14"16,-13-1-16,0 0 15,0 0-15,0 1 0,-13 12 16,13-13-16,-13 0 15,-1-13-15,1 27 0,13-14 0,-13 0 0,0 1 16,13-1-16,0 0 0</inkml:trace>
  <inkml:trace contextRef="#ctx0" brushRef="#br0" timeOffset="151447.6">21550 595 0,'-13'27'31,"13"-14"-31,0 0 16,0 14-16,-13-14 0,13 0 0,0 0 16,-13 14-16,13-14 0,-14 0 0,14 1 15,0-1-15,-13 0 0,13 0 16,0 0-16,-13 1 0,26-1 16</inkml:trace>
  <inkml:trace contextRef="#ctx0" brushRef="#br0" timeOffset="151761.04">21722 661 0,'-13'14'32,"0"-14"-32,0 13 0,13 0 0,-14 0 15,14 1-15,0-1 0,0 0 16,0 0-16,0 1 15,14-14-15,-14 13 0,13-13 0,0 13 16,0-13-16,1 0 0,-1 0 0,0 0 16,0 0-16,0 0 15,1-13-15,-1 13 0,-13-13 0,13-1 16,-13 1-16,0 0 0,0 0 16,0-1-16,0 1 15,0 0-15,-13 0 16,13-1-16,-13 1 15,-1 0 1</inkml:trace>
  <inkml:trace contextRef="#ctx0" brushRef="#br0" timeOffset="151993.67">21934 741 0,'0'0'0,"13"13"0,-13 0 0,13-13 16,-13 14-16,14-14 0,-1 0 0,0 0 15,0 13-15,1-26 16,-1 13-16,0 0 0,0 0 16,0 0-16,1-14 0,-1 1 15,0 13-15,-13-13 0,13 0 0,-13-1 16,14 14-16,-14-13 0,0 0 16,0 0-16,-14-1 0,14 1 15,-13 13-15,13-13 0,-13 13 0,0 0 16,-14-13-16,1 13 0,-1 0 15,1 13-15,-1-13 0,-12 13 0</inkml:trace>
  <inkml:trace contextRef="#ctx0" brushRef="#br0" timeOffset="152485.78">19222 1058 0,'79'0'31,"-26"0"-31,0 0 0,0 0 16,0 0-16,0 0 0,13-13 0,0 13 16,0 0-16,-13 0 0,13 0 15,-13-13-15,0 13 0,13 0 0,-13-13 16,-13 13-16,13 0 0,-27 0 0,14 0 16,-27 0-16,14 0 0,-14-14 0,0 14 15,0 0-15,1 0 16,-41 14-1</inkml:trace>
  <inkml:trace contextRef="#ctx0" brushRef="#br0" timeOffset="152762.57">19090 1257 0,'0'0'15,"13"13"-15,0-13 0,0 0 16,14 0-16,-1 0 0,1 0 0,12 0 16,1 0-16,13 0 0,-13-13 15,13 13-15,0 0 0,-1 0 0,-12 0 16,13 0-16,-13 0 0,-1 0 16,1 0-16,13-13 15,-26 13-15,-1 0 0,-13 0 0,0 0 16,14 0-16,-14 0 0,0 0 0,1 0 15,-1 0-15,0-14 16,0 14-16,0 0 16</inkml:trace>
  <inkml:trace contextRef="#ctx0" brushRef="#br0" timeOffset="153678.74">22569 781 0,'26'0'31,"1"0"-31,-14 0 16,0 0-16,1 0 0,-1 0 0,0 13 15,0-13-15,0 0 16</inkml:trace>
  <inkml:trace contextRef="#ctx0" brushRef="#br0" timeOffset="153882.79">22397 952 0,'40'0'32,"-27"0"-32,0 14 15,0-14-15,1 0 0,-1 0 16,0 0-16,0 0 15,0 0-15,1 0 0,-1 0 0,-13 13 16,13-13-16,0 0 0</inkml:trace>
  <inkml:trace contextRef="#ctx0" brushRef="#br0" timeOffset="154730.59">22569 807 0,'0'0'0,"26"0"47,-12 0-31,-1 0-16,0 0 15,14 0-15,-14 0 0,0 0 16,0 0-1</inkml:trace>
  <inkml:trace contextRef="#ctx0" brushRef="#br0" timeOffset="154905.65">22371 952 0,'13'0'0,"0"0"0,0 0 16,0 0-16,1 0 15</inkml:trace>
  <inkml:trace contextRef="#ctx0" brushRef="#br0" timeOffset="156489.51">19368 582 0,'13'-13'15,"0"13"-15,0 0 16,0-13-1,1 13-15,-1 0 16,0 0-16,0 0 16,1 0-16,-1 0 0,0 0 15,-13 13 1,0 0 0,-13 0-1,0 1-15,-1-14 16,14 13-16,-13-13 0,0 13 15,0-13-15,-1 0 0,14 13 16,-13-13-16,0 0 16,13 13-1,26-13 1,-26 14 0,14-14-16,-1 0 0,0 13 15,0-13-15,1 13 0,-1-13 16,0 13-16,0-13 0,0 14 15,1-1-15,-1-13 16,-13 13-16,0 0 0,0 1 16,-13-14-16,13 13 15,-14-13-15,1 13 0,0-13 16,0 13-16,0-13 0,-1 13 0,1-13 16,0 0-16,0 0 0,-1 0 0,1 0 15,0 0-15,0 14 0,0-14 16,-1 0-1</inkml:trace>
  <inkml:trace contextRef="#ctx0" brushRef="#br0" timeOffset="158561.7">22079 648 0,'0'-13'0,"14"13"31,-28-13 0,1 0 0,0 13-15,0 0 0,0 0-1,-1 13 1,1-13 0,13 13-16,-13-13 15,13 13-15,-13-13 16,13 13-16,-14 1 15,14-1 1,0 0-16,0 0 31,0 1-31,14-1 16,-1 0 0,0-13-1,-13 13-15,13-13 0,1 0 16,-1 14-1,0-14 1,0 0 0,0 0-1,1 0-15,-1-14 16,0 14 0,0-13-16,-13 0 15,14 13-15,-14-13 16,13 13-16,-13-14 0,0 1 15,-13 0 1,-1 0-16,1 13 16,0 0-16,0 0 0,-1 0 15,1 0-15,0 0 0,-13 0 16,12 0-16,1 0 0,0 0 16,-14 13-16</inkml:trace>
  <inkml:trace contextRef="#ctx0" brushRef="#br0" timeOffset="164838.53">19050 900 0,'0'13'0</inkml:trace>
  <inkml:trace contextRef="#ctx0" brushRef="#br0" timeOffset="166587.79">19606 807 0,'13'13'47,"-13"0"63</inkml:trace>
  <inkml:trace contextRef="#ctx0" brushRef="#br0" timeOffset="167545.38">20161 860 0,'13'0'16,"-13"13"46</inkml:trace>
  <inkml:trace contextRef="#ctx0" brushRef="#br0" timeOffset="168529.55">23402 635 0,'-13'53'15,"0"-27"1,13-12-16,0-1 0,-13 0 0,13 0 15,0 1-15,0-1 0,0 0 16,0 0-16,-14 0 0,14 1 16,0-1-16,0 0 0</inkml:trace>
  <inkml:trace contextRef="#ctx0" brushRef="#br0" timeOffset="168734.53">23535 688 0,'0'26'31,"-14"-12"-31,14-1 16,-13 0-16,13 0 0,-13 1 15,13-1-15,0 13 0,-13-13 16,0 1-16,13-1 0,0 0 0,0 0 15,-14-13-15</inkml:trace>
  <inkml:trace contextRef="#ctx0" brushRef="#br0" timeOffset="169060.56">23693 754 0,'0'27'31,"0"-14"-15,14-13-16,-14 13 15,13-13-15,0 13 0,0-13 16,1 13-16,-1-13 0,0 0 16,0 0-16,0 0 0,1 0 0,-14-13 15,13 13-15,0-13 0,0 0 0,-13 0 16,0-1-16,14 1 0,-14 0 15,0 0-15,0-1 0,0 1 0,0 0 16,-14 0-16,14-1 0,-13 1 16,13 0-16,-13 13 0,0 0 15,-1 0-15,-12 13 16,13-13-16,0 13 0,-1 1 0,-12-1 16</inkml:trace>
  <inkml:trace contextRef="#ctx0" brushRef="#br0" timeOffset="169343.55">23138 1098 0,'40'0'0,"-14"-13"16,53 13-1,-39-13-15,13 13 0,-13 0 0,13-14 16,-1 14-16,1 0 0,0 0 0,0 0 16,-13 0-16,0 0 0,-1 0 15,-12 0-15,-1 0 0,1 0 0,-14 0 16,13 0-16,-12-13 0,-1 13 0,0 0 16,-26-13 15</inkml:trace>
  <inkml:trace contextRef="#ctx0" brushRef="#br0" timeOffset="170202.77">18838 860 0</inkml:trace>
  <inkml:trace contextRef="#ctx0" brushRef="#br0" timeOffset="170471.54">19738 833 0</inkml:trace>
  <inkml:trace contextRef="#ctx0" brushRef="#br0" timeOffset="170701.77">20492 913 0,'13'0'0</inkml:trace>
  <inkml:trace contextRef="#ctx0" brushRef="#br0" timeOffset="170902.07">21418 820 0,'0'-13'16,"0"0"0</inkml:trace>
  <inkml:trace contextRef="#ctx0" brushRef="#br0" timeOffset="171630.9">23535 1402 0,'26'-13'0,"-52"26"0,65-26 0,-25 13 16,-1 0-16,0-13 16,-39 13 31,12 13-47,1-13 15,0 0-15,13 13 16,-13-13-16,13 14 15,13-1-15,-13 0 16,13 0-16,-13 0 16,13 1-16,-13-1 0,0 0 15,0 0 1,0 1-16,-13-1 0,0 0 16,0-13-16,-1 0 15,-12 13-15,13-13 0,0 0 0,-1 14 16,1-14-16,0 0 0,0 0 0,-1 0 15,1 0 1,13-14-16</inkml:trace>
  <inkml:trace contextRef="#ctx0" brushRef="#br0" timeOffset="172026.69">24170 926 0,'13'-13'16,"0"13"-16,0 0 0,1 0 15,-1 0-15,0 0 0,0 0 0,1 0 16,-1 0-16,0 0 0,0 0 16,0 0-16</inkml:trace>
  <inkml:trace contextRef="#ctx0" brushRef="#br0" timeOffset="172195.52">24104 1045 0,'-14'0'16,"14"13"0,14 1-16,-1-14 15,0 0-15,0 0 16,0 0-16,1 0 0,-1 0 16,0 0-16</inkml:trace>
  <inkml:trace contextRef="#ctx0" brushRef="#br0" timeOffset="173922.61">24659 807 0,'13'0'0,"-26"0"0,26-13 16,1 13 0,-1 13-1,-13 0-15,13-13 16,-13 13-16,0 1 15,-13-1 1,13 0-16,0 0 0,-13 1 16,13-1-16,0 0 0,-14 0 15,14 0 17,0 1-17,14-1 1,-1-13-1,0 0 1,0 0-16,1 0 0,-1 0 16,0 0-16,0 0 15,0-13-15,1 13 0</inkml:trace>
  <inkml:trace contextRef="#ctx0" brushRef="#br0" timeOffset="174335.69">24924 807 0,'13'0'0,"-26"0"0,39 0 0,-13 13 15,-13 0 1,0 1-16,-13-1 16,13 0-16,-13-13 15,13 13-15,0 1 0,-13-14 16,13 13-16,0 0 0,-13-13 0,13 13 15,0 0 1,13-13-16,0 14 16,0-14-16,0 0 0,1 0 15,-1 13-15,0-13 0,14 0 0,-14 0 16,0 0-16,0 0 0,0 0 16,-13 13-16,14-13 0,-1 13 15</inkml:trace>
  <inkml:trace contextRef="#ctx0" brushRef="#br0" timeOffset="174573.93">24606 1151 0,'40'-13'31,"-27"13"-31,14 0 16,-14 0-16,13 0 0,-12 0 0,12 0 15,0 0-15,1 0 0,-1 0 16,-12 0-16,-1 0 0,0 0 0,0 0 16,1 0-16,-1 13 15</inkml:trace>
  <inkml:trace contextRef="#ctx0" brushRef="#br0" timeOffset="174891.63">24540 1230 0,'27'0'15,"-14"0"1,0 0-16,0 0 0,0 14 15,1-14-15,12 0 0,-13 0 0,14 0 16,-14 0-16,14 0 0,-14 0 0,0 0 16,13 0-16,-12 13 0,-1-13 15,0 0-15,0 0 0,1 0 0,-1 0 16,0 0-16,0 0 16,1 0-16,-1 0 15,0 0 1</inkml:trace>
  <inkml:trace contextRef="#ctx0" brushRef="#br0" timeOffset="175304.63">24778 1363 0,'-53'92'15,"27"-52"1,-1 13-16,-12 0 0,-14 13 0,0 0 0,0 13 16,0-26-16,0 0 0,0 0 15,0 0-15,14 0 0,-14-13 16,13-1-16,0 1 0,1 0 0,12-1 15,1-12-15,-1-1 0,14-12 0,0-1 16,0 0-16,-1 0 0,1 0 16,40-39-1,-14 13 1,0 0-16</inkml:trace>
  <inkml:trace contextRef="#ctx0" brushRef="#br0" timeOffset="175774.42">24593 1429 0,'26'-27'31,"-12"27"-31,-1 0 0,0 0 16,0 0-16,1-13 0,-1 13 15,13 0-15,1 0 0,-14 13 16,0 1-16,0-14 0,-13 13 16,14 0-16,-14 13 15,-14-12-15,14 12 0,-13 14 0,0-14 16,0 1-16,0 12 0,-1-12 0,1-1 15,0 1-15,0-14 0,-1 13 16,14-12-16,-13 12 0,0-13 0,0 1 16,13-1-16,-14 0 0,1 0 15</inkml:trace>
  <inkml:trace contextRef="#ctx0" brushRef="#br0" timeOffset="176669.76">22503 2924 0,'-13'26'16,"-1"-13"-1,14 1-15,0 12 0,-13-13 16,13 0-16,-13 1 0,13 12 16,0-13-16,-13 1 0,13-1 0,0 0 15,0 0-15,0 1 0,-14-1 16,28-40 15,-14 14-15,0-13-16,13 12 0,-13-12 15,13 13-15,0-14 0,-13 14 16,14-13-16,-1 12 0,-13 1 0,13 13 16,-13-13-16,13 0 0,0 13 15,-13 13 1,14-13-16,-14 13 0,0 0 0,13 1 16,-13-1-16,0 0 0,0 0 15,0 0-15,0 1 0,0-1 0,0 0 16,13 0-16,-13 1 0,0-1 15,27-26 17,-14 13-32,-13-14 15,13 1-15,0 0 0,1 0 16,-1-1-16,0 1 0,-13 0 0,13 13 16,0-13-16,1 13 15,-14 13-15,13-13 16,-13 13-16,0 0 0,0 1 0,0-1 15,0 0-15,0 0 0,-13 1 16,13-1-16,0 0 0,0 0 16,0 1-16,0-1 15,13-13-15</inkml:trace>
  <inkml:trace contextRef="#ctx0" brushRef="#br0" timeOffset="177526.02">22979 3175 0,'0'0'0,"13"-13"0,-13 0 15,0-1-15,0 1 16,14 0-16,-14 0 15,-27 26 17,27 0-32,-13 0 15,0 1-15,13-1 0,0 0 16,-14-13-16,14 13 0,0 0 16,0 1-16,14-1 0,-14 0 15,13-13-15,0 13 16,0-13-16,1 0 0,-1 0 15,0 0-15,0 0 0,0-13 0,1 13 16,-1 0-16,13 0 0,-12-13 0,-1 13 16,13 0-16,-12-13 0,-1 13 15,0-14-15,0 14 0,0 0 16,1-13-16,-1 13 0,-13-13 0,13 13 16,-13-13-16,13 13 0,-13-13 15,14 13-15,-14-14 16,0 1-1,-14 0 1,1 13 0,13 13-16,-13-13 0,0 0 15,13 13-15,-14-13 0,14 14 0,-13-14 16,0 13-16,0 0 16,13 0-16,-13-13 0,13 13 15,0 1 1,0-1-16,13 0 31,0-26-15,0 13-16,0 0 15,1 0-15,-1-13 16,0 13-16,0-14 16,1 14-16,-14-13 15,13 13 1,0 13 15,0 1 0,0-14 1,1 0-17,-1 0 1,0 0-1,0 0-15,-13-14 16</inkml:trace>
  <inkml:trace contextRef="#ctx0" brushRef="#br0" timeOffset="178034.7">22410 3545 0,'13'0'0,"1"0"16,-1 14-16,13-14 0,1 0 15,-1 0-15,14 13 0,0-13 16,-1 0-16,1 0 0,13 0 0,0 0 15,0 0-15,0 0 0,0-13 0,0 13 16,-1-14-16,1 14 0,0-13 16,0 0-16,-13 0 0,0-1 0,12 1 15,-25 0-15,13 0 0,-1-14 0,-12 14 16,12-13-16,-12 12 0,-1-12 0,1 0 16,-1 12-16,-12-25 0,-1 12 15,13 1-15,-13-14 0,-13 0 0,0 1 16,0-1-16,0 0 0,-13 1 0,0-14 15,-13 0-15,-14 13 0,0-13 16,0 13-16,-12 14 0,-15-14 16,1 14-16,-13 13 0,0-14 0,12 14 15,-12 13-15,0 0 0,-14 13 16,14 0-16,-1 1 0,1 12 0,13 1 16,0-1-16,-1 14 0,1-1 0,13 1 15,0 13-15,14-13 0,-1 13 16,0-14-16,14 14 0,-1-13 0,1 13 15,13-14-15,13 1 0,0 0 16,0-14-16,13 14 0,0-14 0,0 1 16,14-14-16,-1 14 0,14-14 0,0-13 15,13 0-15</inkml:trace>
  <inkml:trace contextRef="#ctx0" brushRef="#br0" timeOffset="178579.55">23839 3122 0,'0'13'16,"0"1"-16,0-1 15,0 0-15,0 0 16,0 0-16,0 1 0,0-1 16,-13-13-16,13 13 0,0 0 0,0 1 15,0-1 1,0 0-16,26-13 16,-13 0-16,1-13 15,12 13-15,14-13 0,-1-1 0,28-12 16,-14 13-16,13-14 0,-13 1 15,13 13-15,-13-1 0,0-12 0,-14 13 16,1-1-16,0 14 0,-14-13 0,1 0 16,-14 13-16,0 0 15,0-13-15,0 13 0,1 0 0,-1 0 16</inkml:trace>
  <inkml:trace contextRef="#ctx0" brushRef="#br0" timeOffset="180619.71">23495 3188 0,'-13'13'47,"0"1"-47,13-1 0,0 0 15,-14 0 1,14 1-16,0-1 16,-13-13-1,40-13 48,-14 13-63,0 0 15,0 0 1,0 13 0,1-13-1,-1 13-15,0-13 16,0 0-16,1 0 15,12-13-15</inkml:trace>
  <inkml:trace contextRef="#ctx0" brushRef="#br1" timeOffset="199362.81">18918 146 0,'-14'-14'0,"1"1"31,0 0-31,0 13 0,0 0 0,-1-13 16,1 13-16,0 0 16,0-14-16,-1 14 0,-12 0 15,13 0-15,-1 0 0,1 0 0,-13 0 16,-1-13-16,14 13 0,-13 0 0,-1 0 15,1 0-15,-14 0 16,0 0-16,14 0 0,-14 0 0,1 0 16,-14 0-16,13 0 0,-13 13 0,13-13 15,-13 14-15,1-1 0,12-13 16,-26 26-16,13-12 0,0-1 0,0 13 16,0-13-16,0 14 0,0-1 0,13 1 15,-12-1-15,-1 1 0,13-1 16,0 14-16,1 0 0,-1-1 0,0-12 15,1 12-15,12-12 16,14 13-16,-14-14 0,-12 40 0,39-39 16,-14-14-16,1 13 0,13 1 15,0-14-15,0 13 0,0 1 0,13-1 16,-13-12-16,14 12 0,12 0 0,-13-12 16,14-1-16,-1 13 0,1-12 15,-1-1-15,1 13 0,12-26 0,1 14 16,0-1-16,-1 0 0,14-13 0,-13 0 15,13 0-15,-13 0 0,13 13 16,-1-13-16,-12-13 0,13 13 0,0 0 16,-13 0-16,13 0 0,0 0 0,-1-13 15,-12 13-15,13 0 0,0 0 16,-13 0-16,13 0 0,-1 0 0,-12 0 16,-13 0-16,12 0 0,14 0 15,0 0-15,-13 0 0,13 0 0,13 0 16,-13 0-16,0 13 0,13-13 15,0 0-15,0 0 0,0 13 0,-13-13 16,13 0-16,14 13 0,-14-13 0,0 14 16,0-14-16,14 13 0,-28-13 15,15 13-15,-14-13 0,13 0 0,-13 13 16,13-13-16,0 14 0,0-14 16,-13 0-16,26 13 0,-26-13 15,0 13-15,0-13 0,13 13 0,-13-13 0,13 14 16,0-1-16,1-13 0,-15 13 0,15 0 15,-1 0-15,-13 1 0,13-1 16,0-13-16,-13 13 0,13 0 16,-13 1-16,13-1 0,-26 0 0,13 0 15,-14 1-15,14-14 0,-13 13 0,13 0 16,-13 0-16,-1 0 0,1 1 16,0-1-16,-1 0 0,-12 0 0,13 1 15,-14-1-15,-13 0 0,14 0 0,-14 1 16,13-1-16,-12 0 0,12 0 15,-13 0-15,0 1 0,1-1 0,-1 0 16,0 0-16,14 27 16,-14-14-16,0 1 15,0-1-15,-13 1 0,0 13 16,0-14-16,0 0 0,0-12 0,-13 25 16,0-12-16,0-1 0,-1 1 15,1-1-15,0 1 0,-14-1 0,14 1 16,-13-1-16,13 0 0,-14 1 0,1-14 15,-1 14-15,1-1 0,-1 1 0,1-1 16,-1 0-16,1 1 0,-1 13 16,1-14-16,-27 27 15,13 13-15,14-39 0,-1-1 16,14 1-16,-13-1 0,13 0 0,-1 1 16,-12-1-16,26 1 0,-13-1 0,-1-12 15,14 12-15,0 0 0,-13-12 16,13 12-16,0-13 0,0 14 15,0-1-15,0-13 0,13 14 0,-13-1 16,14 1-16,-1-14 0,0 14 0,-13-14 16,27 0-16,-1 13 0,0-12 0,1 12 15,13-13-15,-1 1 0,14 12 16,0-13-16,0 14 0,0-14 0,13 13 16,-13-12-16,13-1 0,-13 13 0,13-12 15,-13-1-15,13 0 0,-26 0 16,13 0-16,-13 1 0,12-1 0,-12 0 15,0-13-15,13 13 0,-14-13 16,1 0-16,13 14 0,-13-14 0,13 0 16,-14 0-16,1 13 0,13-13 15,-13 0-15,-14 0 0,14 0 0,-14 0 16,14 0-16,-14 0 0,14-13 0,-13 13 16,-1 0-16,0 0 0,14 0 15,-13 0-15,-1-14 0,1 14 0,-1 0 16,0-13-16,1 13 0,-1-13 0,1 13 15,-1-13-15,-12 13 0,12-14 16,0 14-16,-12-13 0,12 13 0,1-13 16,-14 13-16,0-13 0,13 13 0,-12-13 15,-1 13-15,13-14 0,-12 14 16,-1-13-16,0 13 0,0-13 16,1 13-16,-1-13 0,13-1 0,-13 14 15,1-13-15,-1 13 0,13-13 0,-12 0 16,-1 13-16,13-13 0,1-1 0,-14 1 15,13 13-15,1-13 0,-14 0 16,14-1-16,-1 1 0,14 0 0,-14 0 16,1-14-16,-1 14 0,1-13 0,-1 12 15,14-12-15,-27 13 0,13-14 16,1 1-16,-1-1 0,1 1 0,-1-1 16,-13 1-16,14-1 0,-1 1 15,-12 0-15,12-1 0,-13 1 0,14-1 16,-1 1-16,-13-14 0,14 14 15,-14-1-15,14 1 0,-1-1 0,1 1 16,-14-1-16,13 1 0,1-1 0,-1 1 16,1 13-16,-14-14 0,13 1 0,-13 12 15,14 1-15,-14 0 0,0-13 16,1 12-16,-1 1 0,13 0 0,-12 0 16,-1-14-16,0 14 0,0 0 0,0-1 15,1 1-15,-1-13 0,13 13 16,-12-1-16,-1-12 0,0 13 0,0-1 15,14 1-15</inkml:trace>
  <inkml:trace contextRef="#ctx0" brushRef="#br1" timeOffset="200481.9">25387 2090 0,'-106'-1548'32,"93"1535"-32,-1 13 0,1-13 15,0 13-15,0 0 0,0-13 0,-1 13 16,1 0-16,0-14 0,0 14 0,-1 0 16,14-13-16,-13 13 0,0 0 0,0 0 15,13-13-15,-14 13 0,1 0 16,0-13-16,0 13 15,0 0-15,13-13 0,-14 13 16,1 0-16,0 0 16,13-14-16,-13 14 0,-1 0 15,1 0-15,0-13 0,0 13 16,0-13-16,-1 13 0,1 0 0,0-13 16,-14 13-16,14 0 0,0-14 15,0 14-15,-1-13 0,1 13 16,0 0-16,0-13 0,0 13 15,-1 0-15,14-13 0,-13 13 16,0 0-16,0-13 16,-1 13-1,1 0-15,0-14 16,0 14-16,-1 0 16,1 0-16,13-13 0,-13 13 0,0 0 15,-14-13-15,14 13 0,-13 0 16,12-13-16,-12 13 0,0-14 0,-1 14 15,1-13-15,-1 13 0,1 0 16,-1-13-16,1 13 0,-14-13 0,0 13 16,14-14-16,-1 14 0,1-13 0,0 13 15,-14 0-15,13-13 0,1 13 0,-1 0 16,-12-13-16,12 13 0,1 0 16,-14 0-16,14-13 0,-1 13 15,-12 0-15,12 0 0,1-14 0,-14 14 16,14 0-16,-1 0 0,-13 0 0,14 0 15,-14 0-15,-13-13 0,14 13 16,-14 0-16,13 0 0,0-13 0,-13 13 16,14 0-16,-14 0 0,13-13 0,0 13 15,14 0-15,-27 0 0,27 0 16,-27-14-16,13 14 0,-13 0 0,0-13 16,13 13-16,-12-13 0,-1 13 0,13 0 15,-13-13-15,13 13 0,-13-14 16,14 14-16,-14 0 0,13-13 0,-13 13 15</inkml:trace>
  <inkml:trace contextRef="#ctx0" brushRef="#br1" timeOffset="202394.72">19103 26 0,'-13'-13'15,"-1"13"-15,1 13 16,0-13-1,0 0 1,0 14 0,-1-14-1,14 13 1,-13-13-16,0 13 16,0-13-1,-1 13 1,1-13-1,13 14-15,-13-14 0,13 13 16,-13 0-16,-1 0 16,1 1-16,0-1 15,13 0-15,-13-13 0,13 13 0,-13 0 16,-1 1-16,14-1 16,-13-13-16,13 13 15,-13-13-15,13 13 16,-13 1-1,-1-14 17,1 0-17,0 0 1,0-14-16,-1 14 31,14-13-31,-13 13 16,0 0 31,39-13-16,-12 13-15,-1 0-16,0 0 15,0 0-15,1-13 0,105-1 31,-80 14-31,1 0 0,13 0 0,-13-13 0,-1 13 16,14 0-16,-13 0 0,13-13 16,0 13-16,-13 0 0,-1 0 15,14 0-15,-13 0 0,-1 0 0,14 0 16,-13 13-16,0-13 0,-1 0 16,1 0-16,0 0 0,-14 0 0,14 13 15,-14-13-15,14 0 0,-13 0 0,-1 0 16,14 0-16,-14 14 0,14-14 0,-14 0 15,1 0-15,12 0 0,1 0 16,-13 0-16,-1 13 0,14-13 0,-14 0 16,14 0-16,-14 0 0,14 0 0,-13 13 15,-1-13-15,0 0 0,1 0 0,-1 0 16,14 0-16,-13 0 16,-1 13-16,0-13 0,1 0 0,-1 0 15,1 14-15,-1-14 0,1 0 0,-1 0 16,1 0-16,-1 0 0,1 13 0,-1-13 15,14 0-15,-14 0 0,1 0 16,-1 13-16,1-13 0,-1 0 0,0 0 16,1 0-16,-1 0 0,1 0 0,-1 0 15,1 0-15,-1 0 0,1 0 16,-1 0-16,-13 0 0,14 0 0,-1 0 16,-13 0-16,14 0 0,-14 0 0,14 0 15,-14 0-15,0-13 0,0 13 16,14 0-16,-14 0 0,0 0 15,0 0-15,1 0 0,12 0 16,-13-13-16,1 13 0,-1 0 0,0 0 16,0 0-16,1 0 0,-1 0 0,0-14 15,0 14-15,0 0 0,1 0 16,-1 0-16,0 0 0,0 0 0,1 0 16,-1 0-16,0 0 0,0-13 0,1 13 15,-1 0-15,0 0 0,0 0 0,0 0 16,1 0-16,-1 0 0,0 0 15,0 0-15,1-13 0,-1 13 0,0 0 16,0 0-16,0 0 0,1 0 0,-1 0 16,0 0-16,0 0 0,1 0 15,-1-13-15,0 13 16,0 0-16,1 0 0,-1 0 0,0-14 16,0 14-16,0 0 0,1 0 15,-1-13-15,0 13 16,0 0-1,1 0-15,-1-13 16,0 13 0,0 0 31,1-13-1,-1 13-30,0 0 0,0 0-16,0 0 15,1 0-15,-1 0 16,0 0-16,0 0 16,1 0-1,-1 0-15,0 0 16,0 0-16,0 0 15,-13 13 1,0 0 0,-13 0-16</inkml:trace>
  <inkml:trace contextRef="#ctx0" brushRef="#br1" timeOffset="203494.66">18084 542 0,'0'27'31,"0"-14"-31,0 14 16,0 12-16,-13 1 0,13 0 0,-13 13 15,0-14-15,-1 14 0,1 0 0,13-27 16,-13 27-16,0-13 0,13 0 16,-14-14-16,14 1 0,-13-1 0,13 1 15,0-14-15,-13 0 0,13 0 0,0 1 16,0-1-16,0 0 0</inkml:trace>
  <inkml:trace contextRef="#ctx0" brushRef="#br1" timeOffset="205370.72">18005 489 0,'26'0'31,"-12"0"-31,-1 0 16,0 0-16,0 0 0,14 0 15,-1-13-15,1 13 0,-1 0 0,14 0 16,-14 0-16,14 0 0,13 0 0,-13 0 15,12-13-15,-12 13 0,13 0 16,-13 0-16,13 0 0,0-13 16,-1 13-16,1 0 0,0 0 0,0 0 15,0 0-15,13-13 0,-13 13 0,0 0 16,0 0-16,0 0 0,40 0 16,-40 0-16,-1 0 0,1 0 15,0 0-15,0-14 0,0 14 0,0 14 16,0-28-16,0 14 0,-13 0 15,12 14-15,-12-14 0,0 0 0,-14 0 16,27 0-16,-13 0 0,0 0 0,-14 0 16,14 0-16,-14 13 0,14-13 0,-14 0 15,1 0-15,-1 0 16,-13 0-16,14 0 0,-1 0 0,-12 13 16,12-13-16,-13 0 0,1 0 0,12 0 15,-13 0-15,0 0 0,1 0 16,-1 0-16,13 0 15,-12 0-15,-1 0 16,0 0-16,0 0 16,1 13 15,-1-26-31,0 13 31,0 0-15,-13 13-1,13-13-15,-13 13 16,0 1-16,0-1 16,14 0-16,-14 0 0,0 1 0,0-1 15,0 13-15,0-12 0,0 12 0,0 0 16,13 14-16,-13-13 0,0-1 16,0 1-16,0-1 0,0 0 0,13 14 15,-13-13-15,0-1 0,0 0 0,-13 1 16,13-14-16,0 14 15,0-14-15,0 0 0,0 0 16,0 1-16,0-1 16,0 0-16,-13 0 15,13 0-15,-14 1 16,1-14 0,-13 0-16,13 0 15,-1-14-15,1 14 16,0 0-16,-14 0 0,14 0 0,-13-13 15,12 13-15,-12 0 0,0 0 0,-1-13 16,1 13-16,-1 0 0,1-13 16,-14 13-16,14 0 0,-14 0 0,13 0 15,-12 0-15,-1-13 0,0 13 16,-13 0-16,14 0 0,-14 0 0,13 0 16,-13 0-16,0 0 0,14 0 15,-1 0-15,-66 0 0,66 0 16,-13 0-16,1 0 0,-1 0 0,0 0 15,13 0-15,-13 0 0,13 0 16,1 0-16,-1 0 0,0 0 0,14-14 16,-14 14-16,14 0 0,-14 0 0,14 0 15,-1 0-15,1 0 0,-1 0 16,1 0-16,-1 0 0,1 0 0,-1 0 16,14 0-16,-13 0 0,-1-13 15,1 13-15,-1 0 0,1 0 0,13 0 16,-14 0-16,14 0 0,0 0 15,-14 0-15,14 0 0,0 0 0,-14 0 16,14 0-16,0 0 0,0 0 0,-1 0 16,1 0-16,0 0 15,0 0-15,0 0 0,-1 0 0,1 0 16,0 0-16,0 0 0,-1 0 16,1 0-16,0 13 15,0-13-15,-1 0 16,1 0-16,0 0 15,0 0 1,0 0 0,-1 0-16,1 0 15,0 0 1,0 14 0,-1-14-16,1 0 15,0 0-15,0 0 16,0 0-16,-1 13 0,1-13 15,0 0-15,0 0 16,-1 0-16,1 0 16,0 13-16,0-13 31,-1 0-31,1 0 47,0 0-16,13 13 47,-13-13-15,26-26 15,-13 13-63,13 13-15,-13-14 16</inkml:trace>
  <inkml:trace contextRef="#ctx0" brushRef="#br1" timeOffset="206825.65">18508 1204 0,'-14'26'31,"14"-12"-15,-13-14-16,0 13 0,0 0 16,13 0-16,-14 0 0,1 1 15,0-1-15,0 0 0,0 0 0,-1 1 16,1-14-16,13 13 0,-13 0 15,0-13-15,13 13 0,-14 1 0,1-14 16,13 13-16,-13 0 16,0-13-1</inkml:trace>
  <inkml:trace contextRef="#ctx0" brushRef="#br1" timeOffset="207138.81">18521 1151 0,'0'-13'0,"-27"13"32,14 13-32,0 0 0,0-13 15,-1 13-15,1-13 16,0 14-16,0-1 16,0 0-16,-1-13 0,1 13 0,0 1 15,0-1-15,-1-13 16,1 13-16,0-13 0,-14 13 31</inkml:trace>
  <inkml:trace contextRef="#ctx0" brushRef="#br1" timeOffset="208087.02">18441 1124 0,'53'27'31,"-53"-14"-31,14-13 16,-1 13-16,0 1 0,0-14 15,-13 13-15,14 0 0,-1-13 0,-13 13 16,13-13-16,-13 14 0,13-14 16,-13 13-16,13-13 15,-13 13-15,14-13 16,-14 13-1,13-13-15,-13 13 16,13-13 47,-13 14-17</inkml:trace>
  <inkml:trace contextRef="#ctx0" brushRef="#br1" timeOffset="210775.72">18296 1442 0,'13'13'0,"0"-13"16,1 0 0,-1 0-16,0 0 15,0 0-15,1 0 0,12 0 0,0 0 16,-12 13-16,25-13 0,-12 0 0,-1 0 15,27 0-15,-13 14 0,13-14 16,0 0-16,13 13 0,0-13 16,0 0-16,0 13 0,-13-13 0,13 13 15,1-13-15,-1 0 0,0 14 0,0-14 16,13 13-16,-13-13 0,1 13 16,-1-13-16,-13 13 0,13-13 0,-13 14 15,0-14-15,0 13 0,-1 0 0,1-13 16,-13 13-16,13-13 0,0 13 15,0-13-15,0 0 0,-14 14 0,14-14 16,0 13-16,-13-13 0,13 13 0,0-13 16,-13 13-16,12-13 15,-12 0-15,13 14 0,0-14 0,-13 0 16,13 13-16,-1-13 0,1 13 0,-13-13 16,13 0-16,0 13 0,-13-13 15,12 0-15,-12 13 0,13-13 0,-13 0 16,13 0-16,-14 14 0,1-14 0,0 0 15,13 13-15,-27-13 0,27 0 16,-13 13-16,-1-13 0,-12 0 0,-1 13 16,1-13-16,13 14 0,-14-14 0,0 0 15,1 0-15,-1 13 0,14-13 16,-14 0-16,1 13 0,-1-13 16,14 0-16,-13 0 0,-1 13 0,0-13 0,1 0 15,-1 0-15,1 14 16,13-14-16,-14 0 0,0 0 0,1 0 15,-1 13-15,1-13 0,-1 0 0,1 0 16,-1 0-16,1 13 0,-14-13 16,13 0-16,1 0 0,-1 0 0,1 13 15,-1-13-15,1 0 0,-1 0 0,1 13 16,-1-13-16,0 0 0,1 0 16,-1 0-16,1 14 0,-1-14 0,1 0 15,-1 13-15,14-13 0,-14 0 16,1 13-16,-14-13 0,14 0 15,-1 0-15,-13 13 0,14-13 0,-14 0 16,13 0-16,-12 0 0,-1 14 0,0-14 0,0 0 16,0 0-16,1 0 15,-1 0-15,0 13 0,0-13 0,1 0 16,-1 0-16,0 0 0,0 0 16,-13 13-16,14-13 0,-1 0 15,0 0-15,0 0 0,0 0 16,1 0-16,-1 13 0,0-13 15,0 0-15,1 0 0,-1 0 16,0 0-16,0 14 16,1-14-16,-1 0 0,0 0 15,0 0-15,0 0 16,1 0-16,-1 0 0,0 0 16,0 0-16,1 0 0,-1 0 15,13 0-15,-13 0 16,1 0-16,-1 0 15,0 0-15,14 0 16,-14 0-16,0 0 16,0 0-1,1 0-15,-1 0 0,0 0 16,0 0-16,0 0 0,14-14 16,-14 14-1,0 0 1,1 0-16,-1 0 15,-13-13-15,13 13 16,0 0-16,1 0 16,-1 0-16,0-13 15,0 13-15,0 0 0,1 0 16,-1-13 0,0 13-16,0 0 0,1-14 15,-1 14-15,0-13 16,0 13-16,1-13 15,-1 0-15,0 13 0,0-14 16,0 1-16,1 13 16,-1-13-16,0 13 0,-13-13 15,13 0-15,1 13 0,-1-14 0,0 1 16,0 13-16,-13-13 0,14 13 0,-1-13 16,0 13-16,-13-14 0,13 14 15,0-13-15,1 13 0,-14-13 0,13 0 16,0 13-16,-13-14 0,13 14 0,1-13 15,-1 0-15,0 0 0,0 13 16,-13-13-16,13 13 0,1-14 16,-1 14-16,-13-13 0,13 13 0,0-13 15,1 13-15,-14-13 0,13 13 16,0-14-16,0 14 0,1-13 16,-1 13-16,0-13 0,0 0 15,0 0-15,1 13 16,-14-14-16,13 14 0,0 0 15,-13-13-15,13 13 0,-13-13 0,14 13 16,-1-13-16,0 13 16,-13-14-16,13 14 0,-13-13 15,14 13 1,-1-13 0,-13 0 46</inkml:trace>
  <inkml:trace contextRef="#ctx0" brushRef="#br1" timeOffset="211158.42">24831 1416 0,'-13'0'15,"0"0"1,-1 0-16,1 0 15,0 13-15,0-13 16,0 13-16,-14-13 0,14 13 16,0-13-16,-1 13 0,-12 1 0,13-14 15,-14 13-15,14 0 16,-13-13-16,-1 13 0,1 1 0,12-1 16,-12 0-16,13-13 0,-14 13 0,14 1 15,-13-1-15,12-13 0,1 13 16,0 0-16,0-13 0,-1 0 0,1 13 15,0-13-15,0 14 0,0-14 16,-1 0-16,14 13 16,-13-13-16</inkml:trace>
  <inkml:trace contextRef="#ctx0" brushRef="#br1" timeOffset="211782.51">24567 1429 0,'0'0'0,"13"0"16,0 0-1,0 0-15,0 13 16,1-13-16,-1 0 16,0 0-16,0 13 15,1-13-15,-1 0 0,0 0 0,14 13 16,-14-13-16,0 0 0,13 14 0,-12-14 16,12 13-16,-13-13 0,1 0 0,-1 0 15,0 13-15,0-13 0,1 0 16,-1 0-16,0 0 0,-13 13 0,13-13 15,0 0-15,1 0 16,-1 0-16,0 14 16,0-14-1,1 0-15,-1 0 16,0 0 0,0 0-1,0 13 32,-13 0-31,0 0-1,-13-13-15,13 14 0,0-1 16,-13 0-16,13 0 0,-13 0 16,0 1-16,-1 12 0,1-13 15,0 1-15,0-1 0,13 0 16,-14 0-16,1 0 0,13 1 0,-13-1 15,13 0-15,-13-13 0,13 13 0,0 1 16,-13-14 0</inkml:trace>
  <inkml:trace contextRef="#ctx0" brushRef="#br1" timeOffset="214591.52">21418 939 0,'0'13'16,"13"-13"-1,0 0-15,1 0 16,-1 14-16,0-14 16,0 13-16,1-13 0,-1 13 0,0-13 15,0 13-15,14-13 0,-14 0 16,13 14-16,-12-14 0,12 0 0,1 13 15,-1-13-15,14 0 0,-14 0 0,1 0 16,12 0-16,-12 0 0,-1 0 16,1 0-16,-1 0 0,1 0 0,-1 0 15,1 0-15,-1 0 0,0-13 0,1 13 16,-1 0-16,1-14 0,-1 14 16,-12-13-16,12 13 0,-13-13 15,14 13-15,-14-13 0,13-1 0,-12 14 16,-1 0-16,13-13 0,-12 13 15,-1-13-15,0 0 0,0 0 0,0-1 16,1 1-16,-1 13 0,-13-13 0,13 0 16,0-1-16,-13 1 0,14 0 15,-14 0-15,0 0 0,13-1 0,-13 1 16,0 0-16,0 0 0,0-1 16,0 1-16,0 0 0,-13 0 15,-1-1-15,1 1 16,0 0-16,0 0 0,-1 0 0,1-1 15,0 1-15,-13 13 0,12-13 16,1 0-16,-13-1 0,12 1 16,-12 0-16,13 13 0,-14-13 0,14-1 15,0 14-15,-14-13 0,14 0 0,0 13 16,0-13-16,-14 13 0,14-13 16,0-1-16,-14 14 0,14 0 0,0-13 15,-14 13-15,14-13 0,-13 13 0,-1 0 16,14-13-16,-13 13 0,12 0 0,-12 0 15,13-14-15,-14 14 16,14 0-16,-14 0 0,14 0 0,0 0 0,0 0 16,-14 0-16,14-13 0,0 13 0,0 0 15,-14 0-15,14 0 16,0 0-16,-1 0 0,1 0 0,0 0 16,0 13-16,0-13 0,-1 0 0,1 0 15,-13 0-15,12 0 0,1 0 0,0 14 16,0-14-16,-1 0 0,1 0 15,0 13-15,0-13 0,0 0 0,-1 13 16,1-13-16,0 0 0,0 13 0,-1-13 16,1 14-16,0-14 0,13 13 15,-13-13-15,-1 13 0,1-13 0,0 13 16,13 0-16,-13-13 0,0 14 0,-1-14 16,14 13-16,-13 0 15,0-13-15,13 13 0,-13 1 0,13-1 16,-14 0-16,1-13 0,13 13 0,-13 1 15,13-1-15,0 0 0,-13-13 0,13 13 16,-13 0-16,13 1 0,0-1 16,-14-13-16,14 13 0,0 0 0,0 1 15,0-1-15,0 0 16,0 0-16,0 1 0,0-1 16,0 0-16,0 0 0,0 0 15,14 1-15,-14-1 16,13 0-16,0 0 15,-13 1-15,13-1 16,0 0-16,1-13 0,-14 13 16,13-13-16,0 13 0,0-13 15,1 0-15,-1 14 16,0-14-16,0 13 0,0-13 16,1 13-16,-1-13 0,0 13 15,0-13-15,1 0 16,-1 14-16,0-14 0,0 0 15,1 0-15,-1 0 0,0 13 16,0-13-16,0 0 0,1 13 0,-1-13 16,0 0-16,0 0 0,1 0 15,-1 0-15,0 13 0,0-13 16,1 0-16,-1 0 0,0 0 16,0 14-16,0-14 0,1 0 0,-1 0 15,0 0-15,0 0 0,14 0 16,-14 0-16,0 0 0,14 0 0,-14 0 15,13 0-15,-12 0 0,12 0 0,-13 0 16,1 0-16,12 0 0,-13 0 16,1 0-16,-1 0 0,13 0 0,-13 0 15,1 0-15,-1 0 0,0 0 0,0 0 16,14 0-16,-14-14 0,0 14 16,0 0-16,1 0 0,-1 0 0,0 0 15,-13-13-15,13 13 0,1 0 16,-1 0-16,0-13 0,0 13 0,1 0 15,-1-13-15,0 13 16,0-14-16,0 14 0,1-13 0,-1 13 16,-13-13-16,13 13 0,0-13 0,1 13 15,-1-14-15,0 14 0,0 0 16,1-13-16,-1 0 0,0 13 16,0-13-16,0 0 0,1 13 15,-14-14-15,13 14 0,0-13 0,-13 0 16,13 13-16,-13-13 15,14 13-15,-1-14 0,-13 1 0,13 13 0,-13-13 16,13 0-16,-13 0 0,13-1 16,-13 1-16,0 0 15,14 0-15,-14-1 0,0 1 16,13 0-16,-13 0 0,0-1 0,0 1 16,-13 0-16,13 0 0,0 0 0,-14-1 15,14 1-15,-13 0 16,13 0-16,-13-1 0,0 1 0,0 0 15,-1 0-15,1-1 16,0 1-16,0 13 0,-1-13 0,1 0 16,-13 13-16,13-13 0,-1-1 15,-12 14-15,13-13 0,-1 13 0,-12-13 16,13 0-16,-1 13 0,-12-14 0,13 14 16,-14-13-16,14 13 0,0-13 15,-14 13-15,14-13 0,-13 13 0,12-13 16,1 13-16,-13-14 0,13 14 0,-14-13 15,14 13-15,-14 0 0,14-13 16,0 13-16,-13 0 0,12-13 0,1 13 16,-13 0-16,12 0 0,1 0 0,0-14 15,0 14-15,-1 0 0,1 0 16,0 0-16,0 0 31,0 0-31,-1 0 16,1 0-1,0 0-15,0 0 0,-14 14 16,14-14-16,-14 0 0,14 0 16,0 13-16,0-13 0,0 0 15,-1 0-15,-12 0 16,13 0 0,-1 13-16,1-13 15,0 0 1,0 0-16,-1 13 31,1-13-31,0 0 0,0 0 16,0 14-1,-1-14-15,1 0 0,0 13 16,0-13-16,-1 0 0,1 13 16,0-13-16,0 13 15,-1-13-15,1 0 0,0 13 0,0-13 16,0 14-16,-1-14 0,1 13 15,0-13-15,13 13 0,-13-13 0,-1 13 16,1 1-16,0-1 16,0 0-1,13 0-15,-13-13 0,13 13 16,-14 1 0,14-1-16,0 0 15,0 0-15</inkml:trace>
  <inkml:trace contextRef="#ctx0" brushRef="#br1" timeOffset="-214066.17">21775 1230 0,'-53'53'0,"40"-13"16,-27 0-16,1 13 0,-14 26 0,0 14 16,0-1-16,-13 1 0,13-1 15,-13 1-15,0 0 0,-14-1 0,14 14 16,0 13-16,-13-13 0,12 13 0,-12 0 16,0-13-16,-1 0 0,14-1 15,-13 1-15,13 0 0,13-26 0,0-1 16,0 0-16,13-26 0,0 0 0,14 0 15,0 0-15,-14-13 0,27-14 16,-1 1-16,-12-1 0,26-13 0,-13 0 16,-1 1-16,28-54 31,-1 14-31,13-27 0,1-14 0</inkml:trace>
  <inkml:trace contextRef="#ctx0" brushRef="#br1" timeOffset="-213363.15">21471 1270 0,'26'-13'31,"-12"0"-31,-1 13 16,0-14-16,0 1 0,14 13 0,-14-13 15,13 0-15,-12 13 0,12-14 16,-13 14-16,14-13 0,-14 13 0,14-13 15,-14 13-15,0-13 0,0 13 0,0 0 16,1 0-16,-1 0 16,0 13-16,-13 0 15,13 0-15,-13 14 0,0-14 16,0 14-16,-13-1 0,13 14 16,-13-14-16,13 1 0,-13 12 0,13 1 15,-14-14-15,14 14 0,-13-13 0,13-1 16,-13 14-16,13-14 0,0 1 15,0-1-15,0 14 0,0-14 0,0 1 16,13-1-16,-13 1 0,0-14 0</inkml:trace>
  <inkml:trace contextRef="#ctx0" brushRef="#br1" timeOffset="-211350.95">19209 4591 0,'-27'39'0,"27"-26"15,-13 1-15,0 12 0,0 1 0,13 12 16,-14-12-16,14-1 0,-13 14 0,13-14 15,-13 1-15,13-1 0,0-13 16,0 14-16,0-14 0,13 14 0,-13-14 16,13 0-16,-13 0 0,14 1 0,-1-14 15,0 0-15,0 0 0,1 0 16,-1 0-16,13-14 0,-13 1 16,14 0-16,-1 0 0,-12-14 0,12 14 15,-13-14-15,14 1 0,-14 0 0,0-14 16,0 13-16,1 1 0,-1-1 15,-13-12-15,0 12 0,0 1 0,0-1 16,0 1-16,0 0 0,0-1 0,0 14 16,-13-14-16,13 1 0,-14 13 15,1-14-15,13 14 0,-13 0 0,0 0 16,13-1-16,-13 14 0,-1-13 0,1 13 16,13-13-16,-13 13 0,0 0 15,-1 13-15,1-13 16,0 13-16,0 1 0,-1-14 0,1 26 15,0-13-15,0 14 0,0-14 16,13 13-16,-14 1 0,1-1 0,13-12 16,-13 12-16,13 0 0,0 1 0,-13-1 15,13 1-15,0-14 0,0 13 16,0-12-16,0-1 0,0 13 0,13-12 16,-13-1-16,0 0 0,13 0 0,-13 1 15,13-1-15,1 0 0,-1 0 16,0 0-16,0-13 15,0 0-15,1 14 16,-1-28-16,0 14 0,0 0 16,1 0-16,-1-13 0,0 0 15,0 13-15,1-13 0,-1 0 16,0 13-16,-13-14 0,13 1 0,0 0 16,1 0-16,-1-1 15,-13 1-15,13 0 0,-13 0 16,13 13-16,-13-14 0,14 1 15,-14 0 1,13 13 0,-13 26 15,-13-26-31,26 14 16,-26-1-16,26 0 0,-13 0 15,0 1-15,0-1 0,0 0 16,13-13-16,-13 13 15,13-13-15,0 14 16,1-28-16,-1 14 0,0 0 16,0-13-16,1 0 0,-1 0 15,0-1-15,0 1 0,1 0 16,-1 0-16,0-1 16,0 1-1,0 26 16,-26 1-31,13-1 16,13 0-16,-13 0 16,0 1-16,14-1 15,-1 0 1,0-13-16,0 0 16,1 0-16,-1-13 15,0 13-15,0-13 0,1 13 16,-1-14-16,-13 1 15,13 13-15,0-13 0,-13 0 16,13-14-16,1 14 0,-14 0 0,13-14 16,0 1-16,-13-1 0,13-12 15,1 12-15,-1-12 0,-13-1 0,13 13 16,-13 1-16,13 0 0,-13-1 0,0 14 16,0 0-16,13-1 0,-13 1 0,0 0 15,0 0-15,0-1 16,14 1-16,-28 53 31,14-27-31,0 14 0,0-1 16,0 1-16,0-1 0,0 0 0,-13 1 15,13 13-15,13-14 0,-13 1 16,0-1-16,0 0 0,0-12 16,0 12-16,14-13 0,-14 1 0,0-1 15,13 0-15,-13 0 0,13 0 16,0 1-16,1-14 15,12 0 1,-26-14-16,13 14 0,1-13 16,-1 13-16</inkml:trace>
  <inkml:trace contextRef="#ctx0" brushRef="#br1" timeOffset="-210686.49">19751 4577 0,'27'0'16,"-14"0"-16,13 0 0,-12 0 15,12 0-15,-13 0 0,14 0 0,-1 0 16,-13-13-16,14 13 0,-1-13 15,-13 13-15,14-13 0,-14 13 0,14-14 16,-14 14-16,0-13 0,14 0 16,-14 13-16,0-13 0,0-1 15,0 14-15,1-13 0,-1 0 0,0 0 16,0 0-16,1-1 0,-1 1 0,-13 0 16,13 0-16,0-1 15,-13 1-15,14 0 0,-14 0 16,13 13-16,-13-14 0,13 41 31,-13-14-15,0 0-16,0 1 0,0 12 0,0 1 15,0-1-15,0 0 0,0 1 16,0-1-16,13 1 0,-13-1 16,0-12-16,13 12 0,-13-13 0,0 14 15,14-14-15,-14 0 0,0 0 0,0 1 16,13-14-16,-13 13 0,13 0 15,0-13-15,1-13 16,-1 13-16,0-13 0,0-1 16,1 1-16,-1 0 15,0 0-15,0-1 0,0 1 16,1 13-16,-1 0 31,-13 13-31,0 1 0,0-1 16,0 0-16,0 0 0,0 1 0,-13-1 15,13 0-15,0 0 0,0 0 16,0 1-16,0-1 0,0 0 16,0 0-16,-14 1 15</inkml:trace>
  <inkml:trace contextRef="#ctx0" brushRef="#br1" timeOffset="-210533.93">20571 4445 0,'-13'-13'15</inkml:trace>
  <inkml:trace contextRef="#ctx0" brushRef="#br1" timeOffset="-209841.04">20783 4551 0,'13'-13'16,"-26"26"-16,26-40 0,-13 14 31,-26 26-15,13 1-1,13-1 1,-14 0-16,14 0 0,0 1 16,0-1-16,0 0 15,0 0-15,14 0 16,-1-13-16,0 0 15,13 0 1,-12 0 0,-1-13-16,0 0 15,0 0-15,1 13 0,-14-13 16,13 13-16,0 0 0,-13-14 0,13 14 16,1 0-16,-1 0 15,0 0-15,0 14 16,0-1-16,1 0 15,-14 0-15,0 0 0,13-13 16,-13 14-16,0-1 0,0 0 16,0 0-16,0 1 0,0-1 31,26-40-15,-26 14-1,14 0-15,-1 0 0,0-14 0,14 1 16,-14-1-16,13 14 0,-13 0 15,1-14-15,-1 27 0,0-13 0,0 0 16,1 13-16,-14-13 0,13 13 0</inkml:trace>
  <inkml:trace contextRef="#ctx0" brushRef="#br1" timeOffset="-209505.99">19487 5186 0,'158'-53'31,"-92"40"-31,1-1 15,-1-12-15,0 13 0,0 0 0,13-1 16,1 1-16,-14 0 0,13 0 16,-13-14-16,1 14 0,-1 0 0,-27 13 15,14-14-15,-13 1 0,0 13 16,-14-13-16,-13 13 0,14-13 0,-14 13 16,14 0-16,-14-13 0,0 13 15,-39 0 16,12 0-31</inkml:trace>
  <inkml:trace contextRef="#ctx0" brushRef="#br1" timeOffset="-209212.02">19407 5239 0,'0'0'16,"0"13"-16,13-13 15,1 0-15,-1 0 0,13 0 0,14-13 16,13 0-16,0 13 0,13-14 0,0 1 16,0 0-16,0 0 0,1-1 15,-1 1-15,0 0 0,0 13 0,0-13 16,-13-1-16,0 14 0,-13-13 16,-1 0-16,-12 13 0,-1-13 0,1 13 15,-1 0-15,-13-13 0,1 13 16,-1 0-16,0 0 0,0-14 0,1 14 15,-1 0-15,0-13 0,0 13 16,-13-13-16,14 13 0,-14-13 16,0-1-16,0 1 15,0 0-15</inkml:trace>
  <inkml:trace contextRef="#ctx0" brushRef="#br1" timeOffset="-208793.04">19606 3929 0,'53'0'16,"79"-13"-1,-79 0-15,0 13 0,0 0 0,26 0 16,-13-14-16,13 14 0,1 0 15,-14 0-15,0 0 0,-13 0 0,0 0 16,0 0-16,0 0 0,-13 0 0,-14 0 16,0 0-16,1 0 0,-1 0 15,-12 0-15,-1 0 0,0 0 0,-39 14 32,12-14-17</inkml:trace>
  <inkml:trace contextRef="#ctx0" brushRef="#br1" timeOffset="-208517.23">19566 4061 0,'0'0'16,"40"0"-16,-14 0 15,14 0-15,13 0 16,0 0-16,0 0 0,13 0 0,13 0 0,0-13 15,1 13-15,-14 0 0,13-13 0,-13 13 16,14 0-16,-14-13 16,-13 13-16,26-14 0,-26 14 0,0-13 15,0 0-15,0 13 0,-13-13 0,13 13 16,-27-13-16,0 13 0,1 0 16,-14 0-16,0 0 0,14-14 0,-14 28 15,0-14-15,1 0 0,-1 0 0,0 13 16,0-13-16,0 0 0</inkml:trace>
  <inkml:trace contextRef="#ctx0" brushRef="#br1" timeOffset="-208253.25">21736 4075 0,'0'26'0,"0"-52"0,0 65 0,0-12 16,-14-14-16,1 27 0,13-1 16,-13 1-16,0 0 0,-1-1 0,1 1 15,0 13-15,13-13 0,-13-1 0,13-12 16,-14 13-16,14-14 0,-13-13 16,13 14-16,0-1 0,0-13 15,-13 1-15,13-1 0,0 0 0,0 0 16,0 0-16</inkml:trace>
  <inkml:trace contextRef="#ctx0" brushRef="#br1" timeOffset="-208029.3">21881 4167 0,'-13'66'31,"0"-39"-31,-1 12 16,1 1-16,0 13 0,13-13 0,-13-1 16,-1 1-16,1 13 0,0-13 0,0-1 15,0-12-15,-1 13 0,1-14 16,0 14-16,0-14 0,13-13 0,-14 1 16,1 12-16,0-13 0,0-13 0,13 14 15,-14-1-15,1-13 16</inkml:trace>
  <inkml:trace contextRef="#ctx0" brushRef="#br1" timeOffset="-207530.13">18719 4128 0,'0'0'0,"13"52"15,-13-25-15,0 13 0,0-1 16,0 1-16,0 13 0,0 0 16,0-14-16,0 14 0,0-13 0,-13 13 15,13-13-15,-13-1 0,13 1 0,-13 0 16,0-14-16,13 1 0,-14-1 16,14-13-16,0 1 0,0-1 0,-13 0 15</inkml:trace>
  <inkml:trace contextRef="#ctx0" brushRef="#br1" timeOffset="-207298.23">18918 3956 0,'13'-27'0,"-26"54"0,39-54 0,-26 54 16,0-1-16,0 14 15,0 13-15,-13 0 0,13 13 0,-13 0 16,-1 13-16,14-13 0,-13 0 0,0 14 15,13-14-15,-13 0 0,0 0 16,13 14-16,-14-14 0,1 0 0,13-13 16,-13 13-16,13-26 0,-13-1 0,13 14 15,-14-26-15,14-1 0,0 1 16,-13-14-16,13 13 0,0-12 16,0-1-16</inkml:trace>
</inkml:ink>
</file>

<file path=ppt/ink/ink2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52:52.570"/>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70C0"/>
    </inkml:brush>
  </inkml:definitions>
  <inkml:trace contextRef="#ctx0" brushRef="#br0">1310 1389 0,'0'-13'0,"39"13"16,-12 0 0,-1 0-16,1 0 0,26 0 15,0-13-15,0 13 0,-1-14 0,15 14 16,12-13-16,-13 0 0,0 13 15,0-13-15,1-1 0,-15 14 0,1-13 16,-13 0-16,13 13 0,-13 0 16,-1-13-16,-25 13 0,12 0 0,-13 0 15</inkml:trace>
  <inkml:trace contextRef="#ctx0" brushRef="#br0" timeOffset="233.78">1376 1654 0,'26'0'16,"1"-14"0,-1 14-16,1 0 0,-1 0 15,27-13-15,-13 0 0,13 13 0,-14-13 16,14 13-16,-13-13 0,13-1 0,-13 14 15,12-13-15,-12 13 0,13-13 16,-26 13-16,-1 0 0,14 0 0,-27 0 16,13 0-16</inkml:trace>
  <inkml:trace contextRef="#ctx0" brushRef="#br0" timeOffset="2649.03">3784 2474 0,'0'0'0,"39"0"47,-26 0-47,14 0 0,-1 13 0,14-13 15,-13 0-15,25 0 0,-12 0 0,13 13 16,-13-13-16,13 0 0,-14 0 15,1 0-15,0 0 0,-1 0 0,-12 0 16,13 0-16,-1 0 0,-12 0 0,12 0 16,-12 0-16,-1 0 0,1 0 15,-1 0-15,1 0 0,-1 0 16,1 0-16,-1 0 0,-13 0 0,0-13 16,14 13-16,-14 0 0,0 0 0,1 0 15,-1 0-15,0 0 0,0-13 16,1 13-16,-1 0 0,0 0 0,0 0 15,0 0-15,1 0 16,-1 0-16,0-13 0,0 13 0,1 0 16,-1 0-16,0 0 0,0 0 0,1 0 15,-1 0-15,0 0 0,13 0 16,-12 0-16,-1 0 0,0 0 0,14 0 16,-14 0-16,13 0 0,1 0 0,-14-14 15,13 14-15,1 0 0,-1 0 16,1 0-16,13 0 0,-14 0 15,0 0-15,1-13 0,13 13 0,-14 0 16,0 0-16,1 0 0,13 0 16,-14-13-16,1 13 0,-1 0 0,14 0 15,-14 0-15,1 0 0,-1-13 16,-13 13-16,14 0 0,-1 0 0,-13 0 16,14 0-16,-14 0 0,0-14 0,1 14 15,-1 0-15,13 0 0,-13 0 0,1-13 16,-1 13-16,0 0 15,0 0-15,1 0 0,-1-13 16,0 13-16,0 0 0,1 0 16,-1-13-16,0 13 15,0 0-15,0-13 16,1 13-16,-1 0 0,0-14 16,0 14-16,1 0 15,-1-13-15,0 13 0,0 0 16,-13-13-16,14 13 0,-1 0 15,0-13-15,0 13 16,0-14-16,1 14 0,-14-13 16,13 13-16,0-13 0,0 13 15,-13-13-15,14-1 16,-1 1-16,0 0 16,-13 0-16,13 13 0,-13-13 15,14 13-15,-14-14 0,13 14 16,-13-13-16,0 0 15,13 13-15,-13-13 0,0-1 16,13 1-16,-13 0 16,0 0-16,0 0 0,0-1 15,13 1-15,-26 0 0,13 0 16,0-1-16,0 1 16,0 0-16,0 0 0,0-1 15,0 1-15,-13 0 0,13 0 0,0 0 16,-13 13-16,0-14 0,13 1 15,-14 0-15,1 0 0,0-1 0,-14 1 16,14 13-16,0-13 0,-14 0 16,14 13-16,-13-14 0,-1 1 0,14 13 15,-13-13-15,-1 13 0,1-13 0,-1 13 16,1-13-16,-1 13 0,-39-14 16,26 1-16,1 13 0,12 0 0,1-13 15,-1 13-15,-39 0 16,40-13-16,-1 13 0,1 0 0,-1 0 15,-12 0-15,12-14 0,-12 14 0,12 0 16,-13 0-16,14 0 16,-14 0-16,1 0 0,-1 0 0,0 0 15,-26 0-15,26 0 0,1 0 16,-1 0-16,14 0 0,-14 0 16,-26 0-16,13 0 0,13 14 15,0-14-15,1 0 0,-1 0 0,0 13 16,14-13-16,-27 0 0,27 0 15,-27 13-15,26-13 0,-12 13 0,-1-13 16,-26 14-16,26-1 16,-39 0-16,52-13 0,1 13 15,-1-13-15,-52 27 16,26-14-16,13 0 16,14 0-16,-1 1 15,1-14-15,-14 26 16,14-26-16,13 13 0,-14 1 15,14-1 1,-27 0-16,27 0 16,-14 0-16,27 1 15,-13-14-15,-13 13 0,26 0 16,-13-13-16,-1 13 0,1 1 16,-13-1-16,12 0 15,1 0-15,0-13 16,0 14-1,-1-1-15,14 0 0,-13 0 0,0 14 16,0-14-16,13 0 0,0 14 16,0-14-16,0 0 15,0 13-15,0-12 0,0-1 16,0 13-16,0-12 0,13 39 0,0-27 16,0-13-16,14 40 15,-14-26-15,14-1 0,-14 1 16,27 12-16,-14-26 0,27 27 15,-40-27-15,53 14 16,-39-14-16,-1-13 0,1 13 16,26 1-16,-14-14 0,-12 0 15,-1 0-15,27 0 0,-26 0 16,65 0-16,-65 0 0</inkml:trace>
  <inkml:trace contextRef="#ctx0" brushRef="#br0" timeOffset="3961.74">7501 2408 0,'0'0'0,"-13"0"0,52 0 47,-12 0-47,-1 0 0,27 13 16,0-13-16,13 0 0,14 0 0,-14 0 15,13 0-15,1 0 0,-1 0 16,0-13-16,1 13 0,12 0 0,-12 0 16,-1 0-16,0 0 0,-12 0 0,-1 0 15,-13 0-15,13 0 0,-13 0 16,0 0-16,-14 0 0,-12 0 0,-1 0 16,1 0-16,-14 0 0,13 0 0,-12 0 15,-1 0-15,0 0 16</inkml:trace>
  <inkml:trace contextRef="#ctx0" brushRef="#br0" timeOffset="4467.89">7871 2553 0,'0'0'0,"40"13"16,-27-13-16,14 0 0,12 0 0,1-13 16,13 13-16,0 0 0,0 0 15,26-13-15,-13 13 0,1 0 0,-1 0 16,66-13-16,-79 13 0,0-13 15,0 13-15,0 0 0,-14 0 16,14 0-16,-13 0 0,0 0 0,-14-14 16,14 14-16,-14 0 0,-13 0 0,54 0 47,-41 0-32,67 0 79,-80 0-16,13 0-78</inkml:trace>
  <inkml:trace contextRef="#ctx0" brushRef="#br0" timeOffset="5391.65">10623 2421 0,'26'13'16,"1"-13"-16,-1 0 15,1 0-15,13 0 0,12-13 16,1 13-16,0 0 0,27 0 16,-14 0-16,13 0 0,-26-13 0,13 13 15,-13 0-15,13 0 0,-13 0 0,13 0 16,-13 0-16,-13-14 0,13 14 15,-13 0-15,-14 0 0,1 0 0,-1 0 16,-13 0-16,0 0 0,14 0 16,-14 0-16,0 0 0</inkml:trace>
  <inkml:trace contextRef="#ctx0" brushRef="#br0" timeOffset="5813.96">10649 2580 0,'-26'13'0,"52"-13"31,-12 0-16,12 0-15,1-13 0,26 13 16,-14 0-16,14-14 0,0 14 0,13-13 16,0 13-16,-13 0 0,0-13 15,13 13-15,-13-13 0,0 13 16,0 0-16,0 0 0,-13 0 0,13-13 16,-14 13-16,-12 0 0,12 0 0,-25 0 15,12 0-15,1 0 0,-14 0 16,0 0-16,0 0 0,1 0 0,-1 0 15,0 0-15,0 0 0,0 0 16,1 0-16,-1 0 16,0 0-1,0 0 1,1 0 0,-1 0-1,13 0-15,-26-14 16,13 14-16</inkml:trace>
  <inkml:trace contextRef="#ctx0" brushRef="#br0" timeOffset="8633.74">18825 2368 0,'93'13'0,"-67"-13"0,14 0 16,-14 0-16,133 0 15,-119 0-15,-1 0 16,-12 0-16,52 0 0,-52 0 15,12 0-15,-12 0 16,13 0-16,-27 0 0,13 0 0,1 0 16,-14 0-16,13 0 0,-12 0 0,-1 0 15,0 0 1</inkml:trace>
  <inkml:trace contextRef="#ctx0" brushRef="#br0" timeOffset="8999.81">18931 2514 0,'53'0'15,"-27"0"-15,1 0 0,-1 0 0,1 0 16,12 0-16,-12 0 0,13-14 0,-14 14 16,14 0-16,-14 0 0,14 0 0,-14 0 15,1 0-15,-14 0 0,13 0 0,1 0 16,-14 0-16,14 0 0,-14 0 16,0 0-16,0 0 0,0 14 15,1-14-15,-1 0 16,13 0-1,-12 0 1,-1 13 0,0-13-16,0 0 0,1 0 15</inkml:trace>
  <inkml:trace contextRef="#ctx0" brushRef="#br0" timeOffset="14653.62">21365 2421 0,'40'0'16,"-14"0"-1,1 0-15,-1 0 0,14 0 0,13 0 0,-14 0 16,14 0-16,0 0 0,0 0 16,-13 0-16,0 0 0,-1 0 15,-12 0-15,-1 0 0,14 0 0,-27 0 16,14 0-16,-14 0 0,0 0 16,0 0-16</inkml:trace>
  <inkml:trace contextRef="#ctx0" brushRef="#br0" timeOffset="14846.83">21577 2447 0,'0'0'0,"26"14"16,-13-14-16,1 0 16,-1 0-16,13 13 0,14-13 15,-13 0-15,12 0 0,-12 13 16,12-13-16,-12 0 0,-1 0 0,14 0 15,-14 0-15,1 0 0,-1 0 16,1 0-16,-14 0 0</inkml:trace>
  <inkml:trace contextRef="#ctx0" brushRef="#br0" timeOffset="16166.51">4736 3003 0,'53'0'15,"-27"0"1,27-13-16,0 13 0,0 0 15,27 0-15,-1-13 0,-13 13 0,13 0 0,-12-14 16,-14 14-16,13 0 0,-13 0 16,13-13-16,-13 13 0,0 0 15,-1 0-15,-12 0 0,0-13 0,-14 13 16,1 0-16,-1 0 0,-13 0 16,1 0-16</inkml:trace>
  <inkml:trace contextRef="#ctx0" brushRef="#br0" timeOffset="16597.25">4657 3215 0,'0'0'0,"26"13"15,-13-13 1,14 0-16,-1 0 0,1 0 15,12 0-15,14-13 0,0 13 0,13 0 16,-13 0-16,0-14 0,0 14 0,0 0 16,0-13-16,-13 13 0,13 0 0,-14-13 15,-12 13-15,-1 0 0,-13 0 16,14 0-16,-14 0 0,14 0 0,-14-13 16,0 13-16,0 0 0,0 0 0,1 0 15,-1 0-15,0 0 16,0 0-1,1 0-15,-1 0 32,0 0-17,0 0 48,1-13-48,-1-1 1</inkml:trace>
  <inkml:trace contextRef="#ctx0" brushRef="#br0" timeOffset="18773.82">7078 3082 0,'26'14'63,"1"-14"-63,-14 0 0,0 13 16,13-13-16,1 0 0,-1 0 15,14 13-15,0-13 0,13 0 0,0 0 16,13 0-16,0 0 0,13 0 0,14 0 15,-14 0-15,14 0 0,-1-13 16,14 13-16,0 0 0,0 0 16,0 0-16,-14-13 0,14 13 0,-13 0 15,13 0-15,-1 0 0,-12 0 16,0-14-16,-1 14 0,1 0 0,-14 0 16,-13 0-16,14 0 0,-14 0 0,-13 0 15,0 0-15,0 14 0,-14-14 16,1 0-16,-14 0 0,1 0 0,-1 0 15,-12 0-15,12 0 0,-13 0 0,1 0 16,-1 0-16,0 0 0,0 0 16,0 0-1,-39-14 63</inkml:trace>
  <inkml:trace contextRef="#ctx0" brushRef="#br0" timeOffset="19793.22">11880 3029 0,'39'0'16,"-25"0"-16,12 0 0,1 0 0,12 0 16,14 0-16,-13 0 0,13 14 0,-13-14 15,12 0-15,1 0 16,-13 0-16,13 13 0,-13-13 0,-1 0 16,1 0-16,-14 0 0,14 0 0,-13 0 15,-1 0-15,1 0 0,-1 13 16,-13-13-16,14 0 0,-14 0 0,0 0 15,0 0-15,1 0 0,-1 0 16,0 0-16,0 0 16,1 0-16,-1 0 31,0 0-15,-13 13-1</inkml:trace>
  <inkml:trace contextRef="#ctx0" brushRef="#br0" timeOffset="24111.76">13719 2619 0,'-14'0'32,"1"0"-17,0 14-15,0-1 31,-1 0-15,14 0 0,-13-13-16,13 14 15,-13-14-15,13 13 16,-13 0 0,13 0-1,0 0 1,-13 1-1,13-1 1,0 0-16,0 0 0,0 1 16,0-1-16,0 0 0,0 0 15,0 1-15,0-1 0,0 0 16,0 0-16,0 0 0,0 1 0,-14 12 16,28-13-16,-14 1 0,0-1 0,0 0 15,0 0-15,0 0 0,0 1 16,0-1-16,0 0 0,13 0 15,-13 1-15,13-1 32,0 0-17,0-13-15,1 13 16,-1-13 0,0 0-16,0 0 15,1 0 1,-1 0-16,0 0 15,0 0-15,1 0 0,-1 0 16,0 0-16,0 0 0,0 0 0,1-13 16,12 13-16,-13 0 0,14 0 15,-14 0-15,14 0 0,-1 0 16,0 0-16,1 0 0,-1 0 0,1 0 16,13 0-16,-14-13 0,14 13 15,-14 0-15,14 0 0,-14 0 0,14 0 16,-14 0-16,14 0 0,0 0 0,-14 0 15,14 0-15,0 0 0,-14 0 16,14 0-16,-14-13 0,14 13 0,-14 0 16,14 0-16,-13 0 0,12 0 15,-12 0-15,12 0 0,-12 0 16,12-14-16,-12 14 0,13 0 0,-14 0 16,1 0-16,12 0 0,-12-13 0,-1 13 15,1 0-15,-1 0 0,-13 0 16,14 0-16,-1 0 0,-13 0 0,14 0 15,-14-13-15,0 13 0,1 0 0,12 0 16,-13 0-16,1 0 0,-1 0 16,0 0-16,0 0 0,14 0 0,-14 0 15,0 0-15,0 0 0,1 0 0,-1-13 16,0 13-16,0 0 0,1 0 16,-1 0-16,0 0 0,0 0 0,0 0 15,1 0-15,-1 0 0,0 0 16,0 0-16,1 0 0,-1 0 15,0 0-15,13 0 0,-12 0 16,-1 0-16,0 0 0,14 0 0,-14 0 16,0 0-16,14 0 0,-14 0 15,13 0-15,-13 0 0,14 0 0,-14 0 16,14 0-16,-1 0 0,-13 0 0,14 0 16,-1 0-16,1 0 0,-1 13 15,1-13-15,-14 0 0,13 0 0,1 0 16,-1 0-16,1 0 0,-14 0 0,13 13 15,1-13-15,-1 0 0,1 0 16,-14 0-16,13 0 0,1 13 16,26-13-16,-40 0 0,13 0 15,1 0-15,-14 0 0,0 0 16,14 14-16,-14-14 0,14 0 0,-14 0 16,13 0-16,-13 0 0,1 0 0,12 0 15,-13 0-15,14 13 0,-14-13 16,14 0-16,-14 0 0,0 0 0,13 0 15,-12 0-15,12 0 0,1 0 16,-1 0-16,-13 13 0,0-13 16,14 0-16,-14 0 0,14 0 15,-14 0-15,13 0 0,14 0 16,-27 0-16,14 0 0,-14 0 0,13 0 16,-12 13-16,-1-13 0,13 0 15,-12 0-15,-1 0 0,0 0 0,13 0 16,-12 0-16,-1 0 0,0 0 15,14 0-15,-14 0 0,0 0 0,0 0 16,0 0-16,14 0 0,-14 0 0,0 0 16,14 0-16,-14 0 0,0 0 0,14 0 15,-1 0-15,1 0 0,-1 0 16,-13 0-16,14 14 0,-1-14 16,1 0-16,-1 0 0,-13 0 0,14 0 0,-1 0 15,1 0-15,-1 0 16,1 0-16,26 0 0,-14 0 15,-12 0-15,13 0 0,-14 13 0,14-13 16,-1 0-16,1 0 0,0 0 16,-14 0-16,27 0 0,-13 0 0,-14 13 15,14-13-15,-14 0 0,14 0 0,-13 0 16,-1 0-16,14 0 16,-14 0-16,1 13 0,-1-13 0,14 0 0,-14 0 15,14 0-15,-14 0 0,1 0 16,-1 0-16,14 13 0,-14-13 15,1 0-15,-1 0 0,1 0 0,-1 0 0,1 0 16,-14 0-16,13 0 0,1 0 16,-1 14-16,1-14 0,-14 0 15,40 0-15,-27 0 0,-12 0 16,-1 0-16,13 0 0,1 0 0,-14 0 16,13 0-16,1 0 0,-1 0 15,1 0-15,-14 0 0,13 0 16,1 0-16,-1-14 0,1 14 0,-1 0 0,1 0 15,-1-13-15,14 13 0,-14 0 16,1-13-16,-1 13 0,1-13 0,-14 13 16,13-13-16,1 13 0,-14-14 0,14 14 15,-14-13-15,13 13 0,-13-13 16,1 0-16,12 13 0,-13-14 16,1 14-16,-1-13 0,13 0 0,-12 13 15,-1-13-15,0-1 16,0 1-16,0 13 0,-13-13 15,14 13-15,-1-13 0,-13 0 0,13 13 16,0-14-16,-13 1 0,14 13 16,-14-13-16,0 0 0,13-1 15,0 1-15,-13 0 0,0 0 16,0 0-16,0-1 0,0 1 0,0 0 16,0 0-16,0-1 15,0 1-15,0 0 0,0 0 16,-13-1-16,13 1 0,0 0 15,-13 13-15,13-13 16,0 0-16,-14 13 0,14-14 0,-13 14 16,13-13-16,-13 13 0,13-13 0,-13 0 15,-1 13-15,1-14 0,0 1 16,0 13-16,-14-13 16,14 0-16,-13-1 0,12 14 0,-12-13 15,-1 0-15,14 13 16,-13-13-16,-1 13 0,14-13 15,-13 13-15,-1 0 0,1-14 0,-27 1 16,26 13-16,1-13 0,-1 13 16,1 0-16,0-13 0,-1 13 15,-26-14-15,27 14 0,-1 0 16,-26-13-16,27 13 0,-14-13 16,14 13-16,-1 0 0,-12 0 15,12-13-15,-13 13 0,14 0 0,-27 0 16,27-14-16,-14 14 0,13 0 0,-12 0 15,12 0-15,1 0 0,-14 0 16,14-13-16,-40 13 0,39 0 16,-13 0-16,-13 0 15,14-13-15,12 13 0,1 0 16,-1 0-16,-12 0 0,-14 0 16,13 0-16,14 0 0,-40 0 15,26-13-15,13 13 0,-12 0 16,12 0-16,-12 0 0,12 0 15,-13 0-15,14 0 0,-14 0 0,-13 0 16,27 0-16,-14-13 0,1 13 0,12 0 16,-13 0-16,14 0 0,-1 0 0,-39 0 15,40 0-15,-1 0 0,1 0 16,-1 0-16,1 0 0,0-14 16,-1 14-16,-13 0 0,14 0 15,-1 0-15,-39 0 0,40 0 16,-14 0-16,-26 0 0,40 0 15,-14 0-15,0 0 0,14 0 16,-14 0-16,-26-13 0,39 13 16,-12 0-16,12 0 0,-12 0 0,12 0 15,-12 0-15,12 0 0,-13 0 16,14 0-16,-14 0 0,14 0 0,-1 0 16,-12 0-16,12 0 0,1 0 15,-1 0-15,1 0 0,-1 0 16,1 0-16,-1 0 0,1 0 0,-1 0 0,1 0 15,0 0-15,-1 0 0,1 0 16,-1 0-16,1 0 0,-1 0 16,14 0-16,-13 0 0,-1 0 0,1 0 15,-14 0-15,14 0 0,-1 0 0,-13 13 16,14-13-16,-14 0 0,14 0 16,-40 0-16,39 0 0,-13 0 15,-12 0-15,12 14 0,13-14 16,-12 0-16,12 0 0,1 0 15,-14 0-15,14 0 0,-1 0 0,-12 0 16,12 0-16,-13 0 0,14 13 16,-14-13-16,14 0 0,-14 0 0,0 0 15,14 0-15,-1 0 0,-12 0 16,12 0-16,1 13 0,-27-13 16,26 0-16,1 0 0,0 0 15,-1 0-15,14 0 0,-14 13 0,1-13 16,13 0-16,-14 0 0,1 0 0,-14 13 15,27-13-15,-14 0 16,1 0-16,13 0 0,-27 14 16,14-14-16,-14 0 0,27 13 15,-1-13-15,-12 0 0,13 0 0,0 0 16,-1 0-16,1 13 16,-13-13-16,12 0 0,1 0 0,0 0 15,0 13-15,0-13 0,-27 0 16,27 0-16,-14 14 15,14-14-15,-14 13 16,14-13-16,0 0 0,-27 13 16,14-13-1,13 13-15,-1-13 0,1 0 0,-13 14 0,12-14 16,1 13-16,-13 0 0,-14 0 16,-13 27-16,13-14 15,14 1-15,-53 39 16,39-40-16,-39 54 0,-1-14 15</inkml:trace>
  <inkml:trace contextRef="#ctx0" brushRef="#br0" timeOffset="35096.92">18415 8678 0,'26'14'0,"-52"-28"0,66 28 0,-40-1 16,13-13-16,-13 13 0,-13 0 16,13 0-16,-14 1 0,14-1 15,-13-13-15,-13 13 0,13 0 16,-1 1-16,-12-1 0,-1 0 0,14 0 15,-13-13-15,12 14 0,1-1 0,0-13 16,0 0-16,0 13 0,-1-13 16,1 13-16,40-13 31,-14 0-31,0 0 0,0 0 16,14 0-16,-14 0 0,0 0 15,0 0-15,14 0 0,-14 0 0,0 0 16,1 0-16,-1 0 0,0 0 15,0-13-15</inkml:trace>
  <inkml:trace contextRef="#ctx0" brushRef="#br0" timeOffset="35486.37">18799 8705 0,'-14'0'0,"28"0"0,-28-13 16,1 13-16,0 0 15,0 13 1,13 0 0,0 0-1,13-13-15,-13 13 0,0 1 0,13-1 16,-13 0-16,0 0 16,13-13-16,-13 14 0,0-1 15,-13-13-15,13 13 16,-13-13-16,13 13 0,-13 1 0,-14-14 15,14 13-15,0-13 0,-14 13 16,14-13-16,0 0 0,0 13 0,-1-13 16,1 0-16</inkml:trace>
  <inkml:trace contextRef="#ctx0" brushRef="#br0" timeOffset="37039.9">19129 8797 0,'14'-26'0,"-28"52"0,41-52 15,-27 13-15,0-1 0,13 14 0,-13-13 16,0 0-16,0 0 15,0 0-15,0-1 16,-13 14 0,0 14-1,-1-14-15,14 13 0,-13 0 16,13 0-16,-13 0 0,13 1 16,0-1-16,0 0 15,0 0-15,13 1 16,0-1-16,1 0 15,-1-13-15,0 0 0,0 0 16,1 0-16,-1 0 0,13 0 16,-13 0-16,1-13 0,-1 13 15,0 0-15,0 0 0,1-13 16,-1 13-16,-13-14 16,13 14-16,-13-13 0,13 13 15,-13-13-15,14 13 16,-1-13-1,-13-1-15,13 28 47,0-14-47,-13 13 16,0 0-16,13 0 16,-13 1-1,14-14 1,-1 0-1,0 0-15,0-14 16,1 14 0,-1 0-16,0 0 15,0 0 1,0 0 0,1 0-1,-1 0-15,0 0 16,-13-13-16,13 13 0,1 0 15,-14-13 1,13 13-16,0 0 16,0 0 15,1 13-15,-1 0-1,0-13 1,0 0-16,0-13 15,1 13-15,-1 0 16,0 0-16,0-13 0,1 13 0,-14-13 16,13-1-16,0 14 0,0-13 0,-13 0 15,14 0-15,-14 0 0,0-1 16,13 14-16,-13-13 0,0 0 0,-13 0 16,13-1-16,-14 14 15,14-13-15,-13 13 16,0 0-16,0 0 31,-1 0-15,1 0-1,13-13 1,-13 13 15,13 13-15,0 0-1,-13 1-15,13-1 16,0 0-16,-14 14 0,1-1 0,0 0 16,0 1-16,0 13 0,-1-14 0,-12 14 15,13-14-15,-1 1 0,1 12 0,0-12 16,13-14-16,-13 0 0,13 14 16,-14-14-16,14 0 0,-13-13 15,13 13-15,0 1 0,-13-1 16,13 0-1,13-53 1,-13 14-16,13 0 16,14-14-16,-14 13 0,14-26 0,-14 14 15,13-14-15,1 13 0,-1 0 16,1 1-16,-1 12 0,1 1 0,-14 13 16,0-1-16,0 14 0,1-13 0,-1 13 15,0 0-15,0 13 16,0-13-16,-13 14 0,0-1 15,0 0-15,0 0 0,-13 1 0,0 12 16,0-13-16,0 0 0,-1 14 0,1-14 16,-13 0-16,12 1 0,1-1 15,0 0-15,0-13 0,-1 13 0,1 1 16</inkml:trace>
  <inkml:trace contextRef="#ctx0" brushRef="#br0" timeOffset="37685.86">20188 8361 0,'-14'26'15,"14"-12"-15,0-1 0,-13 0 16,0 13-16,13 1 0,-13-1 15,0 1-15,-1-14 0,1 13 0,13 1 16,-13-14-16,13 14 0,-13-14 0,13 0 16,0 0-16,0 1 0,0-1 15,13 0-15,-13 0 16,13-13-16,14 0 16,-27-13-16,13 13 0,0-13 0,0 13 15,0-13-15,1 13 0,-1 0 16,-13-14-16,13 14 0,0 0 15,1 0 1,-1 14-16,0-14 16,0 0-1,1 0 1,-1-14-16,-13 1 31,-13 13-15,39 0 62,-13 0-78,0 0 0,1 0 16,-1 13-16,0-13 15,-13 14-15,13-14 16,-13 13-16,14-13 15,-14 13-15,13-13 16,0 0-16,0 0 16,1 0-1,-14-13-15,13 13 0,0 0 0,0-13 16,0 13-16,1-14 16,-1 1-16,0 0 15,0 0-15,1 13 0,-14-14 16,13 1-16</inkml:trace>
  <inkml:trace contextRef="#ctx0" brushRef="#br0" timeOffset="40725.75">20254 9432 0,'-27'0'0,"-12"0"16,25 0-16,1 0 0,0 0 16,0 14-16,0-14 0,-1 0 15,14 13-15,-13 0 16,13 0-16,13-13 15,-13 14-15,14-14 0,-14 13 0,13 0 16,0 0-16,0 0 0,0-13 0,-13 14 16,14-1-16,-1-13 0,-13 13 15,13 0-15,0 1 0,-13-1 16,0 0 0,-13-13-16,13 13 0,-13-13 15,13 14-15,-13-14 0,-1 0 0,1 13 16,0-13-16,0 13 0,-14-13 0,14 0 15,0 13-15,-14-13 0,14 0 16,0 0-16,0-13 16</inkml:trace>
  <inkml:trace contextRef="#ctx0" brushRef="#br0" timeOffset="40922.25">20174 9379 0,'0'40'32,"0"-27"-32,0 14 0,0-14 15,0 14-15,0-14 0,0 13 0,0 1 16,-13-1-16,13-13 0,-13 14 0,13-1 16,0-12-16,-13 12 0,13-13 15,0 0-15</inkml:trace>
  <inkml:trace contextRef="#ctx0" brushRef="#br0" timeOffset="41141.17">20413 9499 0,'0'26'31,"-14"-13"-31,14 0 0,-13 1 16,13-1-16,-13 0 0,13 0 0,0 1 15,-13-1-15,13 0 16,0 0-16</inkml:trace>
  <inkml:trace contextRef="#ctx0" brushRef="#br0" timeOffset="41421.5">20558 9565 0,'-13'26'31,"13"-13"-15,0 1-16,13-14 16,-13 13-16,13-13 15,1 0-15,-1 0 16,0 0-16,0-13 15,1-1-15,-14 1 16,0 0 0,0 0-16,-14 13 15,14-14-15,-13 14 16</inkml:trace>
  <inkml:trace contextRef="#ctx0" brushRef="#br0" timeOffset="41619.94">20730 9565 0,'13'13'0,"1"-13"15,-1 13 1,0-26-16,0 13 16,0-13-16,1-1 15,-14 1-15,0 0 16,0-13-16,-14 12 15,1 14 1,0 0 0,0 14-16,-14-14 0,14 13 15</inkml:trace>
  <inkml:trace contextRef="#ctx0" brushRef="#br0" timeOffset="42170.01">20108 10213 0,'-13'0'0,"0"0"15,0 0 1,-1 13-16,14 0 16,0 1-1,0-1-15,14 0 0,-14 0 16,0 1-16,0-1 0,0 0 0,0 0 15,0 0-15,0 1 16,0-1-16,-14 0 0,14 0 16,-13-13-16,13 14 0,-13-14 0,0 13 15,-1-13-15,1 0 0,13 13 16,-13-13-16,0 0 16,0-13-16,13 0 0,0-1 15</inkml:trace>
  <inkml:trace contextRef="#ctx0" brushRef="#br0" timeOffset="42342.86">20122 10134 0,'13'-14'16,"-13"28"-1,0-1 1,0 0-16,0 0 16,0 0-16,0 14 0,0-14 15,-13 14-15,13-14 0,0 13 0,-14 1 16,14-1-16,-13-13 0,13 1 0,0 12 15,0-13-15,-13 1 0,26-1 16</inkml:trace>
  <inkml:trace contextRef="#ctx0" brushRef="#br0" timeOffset="42637.03">20413 10200 0,'-27'39'16,"27"-25"-16,-13-1 16,13 0-16,0 0 0,0 1 0,0-1 15,0 0-15,0 0 16,13-13-16,-13 13 16,13-13-16,1-13 15,-1 13-15,0-13 0,-13 0 16,13 0-1,-13-1-15,-13 1 0,13 0 16,-13 13-16,0-13 16,-1 13-16,1 0 15,0 0 1,0 13-16</inkml:trace>
  <inkml:trace contextRef="#ctx0" brushRef="#br0" timeOffset="43414.1">20717 10200 0,'0'-14'31,"0"1"47,13 40-16,0-27 17,-13 13-17,14-13-46,-14 13-1,13-13-15,-13 13 16,0 1-16,0-1 16,-13-13-16,13 13 0,0 0 0,-14 1 15,1-1-15,0 0 16,13 0-16,0 0 15,-13-13-15,26 14 16,0-28 0,14 14-16,-14 0 0,-13-13 15,13 13-15,0 0 0,0-13 0,1 13 16,-1 0-16,-13-13 0,13 13 16</inkml:trace>
  <inkml:trace contextRef="#ctx0" brushRef="#br0" timeOffset="43746">20294 10173 0,'0'27'15,"0"-14"-15,-14 0 0,14 0 0,0 1 16,-13 12-16,-13 53 16,26-65-16,-14 12 15</inkml:trace>
  <inkml:trace contextRef="#ctx0" brushRef="#br0" timeOffset="44274.21">19910 10914 0,'-13'-13'15,"-1"26"1,14 0 0,0 1-16,0-1 0,0 0 15,0 0-15,0 0 0,0 1 0,0 12 16,0-13-16,0 1 0,0-1 15,0 0-15,0 0 0,0 0 0,-13 1 16,13-1-16,-13 0 0,0 0 0,13 1 16,-13-1-16,-1-13 0,1 13 15,0-13-15,0 0 16,-1-13-16,14 0 16</inkml:trace>
  <inkml:trace contextRef="#ctx0" brushRef="#br0" timeOffset="44451.35">19936 10795 0,'14'13'0,"-14"40"15,-14-40-15,14 14 16,0-1-16,-13 14 0,13-14 0,-13 14 16,0-13-16,13-1 0,-14 0 0,14 1 15,-13-14-15,13 14 0,-13-14 16,13 0-16,0 0 0,0 1 0,0-1 15</inkml:trace>
  <inkml:trace contextRef="#ctx0" brushRef="#br0" timeOffset="44678.91">20227 10914 0,'-13'27'32,"0"-14"-32,13 0 15,0 0-15,-13-13 0,13 13 16,-14 1-16,14-1 0,0 0 0,-13 0 16,13 1-16,0-1 0,0 0 0,0 0 15,0 0-15</inkml:trace>
  <inkml:trace contextRef="#ctx0" brushRef="#br0" timeOffset="44937.42">20320 11086 0,'13'0'32,"0"0"-1,1 0-16,-1 0-15,0-13 16,0 0-16,-13-1 16,0 1-1,0 0-15,-13 13 16,13-13-16,-13 13 16,0 0-1,-1 0 1</inkml:trace>
  <inkml:trace contextRef="#ctx0" brushRef="#br0" timeOffset="45194.61">20558 10941 0,'0'0'0,"13"0"0,1 13 15,-1 0 1,-13 0-1,0 0-15,0 1 16,0-1-16,13 0 0,-13 0 16,0 1-16,0-1 15,0 0-15,0 0 16,0 0-16,0 1 0,-13-1 0,0 0 16,13 0-16,-14-13 0,1 14 15,0-1-15,0 0 0,13 0 0,-14 1 16,-12 12-16,13-26 0</inkml:trace>
  <inkml:trace contextRef="#ctx0" brushRef="#br0" timeOffset="45986.11">20241 11456 0,'-14'27'32</inkml:trace>
  <inkml:trace contextRef="#ctx0" brushRef="#br0" timeOffset="46117.07">20227 11761 0,'-13'13'0</inkml:trace>
  <inkml:trace contextRef="#ctx0" brushRef="#br0" timeOffset="46266.44">20201 12025 0,'-13'0'16,"26"0"-16,-26 14 0,13-1 15,0 0 1</inkml:trace>
  <inkml:trace contextRef="#ctx0" brushRef="#br0" timeOffset="47758.87">21312 9327 0,'27'0'31,"-14"0"-31,0 0 0,-13 13 0,13 0 16,-13 0-16,0 14 15,14-14-15,-14 27 0,13-1 0,-13 1 16,13 0-16,-13-1 0,0 14 0,0 0 16,13-13-16,-13 13 15,0 0-15,0 0 0,0-14 0,13 14 16,-13 0-16,0 13 0,0-13 0,0 0 16,0 0-16,0 0 0,14 13 15,-14-13-15,0 13 0,0 0 16,13 0-16,-13-13 0,13 14 0,-13-15 0,13 15 15,-13-14-15,14 13 0,-14 0 16,13-27-16,-13 28 0,0-14 0,0-14 16,0 14-16,13 0 0,-13 0 0,0-13 15,0 13-15,13-14 0,-13 14 16,0-13-16,0 0 0,0-1 16,0-12-16,0-1 0,0 1 0,0-1 15,-13 1-15,0-1 0,0 0 0,-1-12 16,14 12-16,-26-13 0,13 14 0,-1-14 15,1 0-15,0 1 0,-13-1 16,12-13-16,1 13 0,0-13 0,0 0 16,-14 0-16,14-13 15,0 0-15,13-1 0,-14 1 0</inkml:trace>
  <inkml:trace contextRef="#ctx0" brushRef="#br0" timeOffset="48202.9">22053 10186 0,'13'27'31,"-13"-14"-31,0 0 16,-13 1-16,13 12 0,0-13 0,0 1 16,-13-1-16,13 13 0,0-13 15,-13 1-15,13-1 0,0 0 0,-14 0 16,14 1-16,0-1 0</inkml:trace>
  <inkml:trace contextRef="#ctx0" brushRef="#br0" timeOffset="48754.25">22199 10292 0,'-14'27'15,"14"-1"1,0-13 0,14 1-16,-1-1 15,0-13-15,0 0 16,0-13-16,1 13 16,-1-14-16,-13 1 15,0 0-15,0 0 16,0 0-16,0-1 0,0 1 15,0 0-15,-13 13 0,13-13 16,-14-1-16,1 1 31,40 13 1,-14 0-17,0 13-15,0-13 16,-13 14-16,14-14 0,-14 13 15,13 0-15,0-13 16,-13 13-16,13 1 16,1-1-16,-1-13 0,0 0 15,0 13-15,0-13 16,1 0-16,-1-13 0,0 13 0,0 0 16,1 0-16,-1-13 0,0-1 15,0 1-15,-13 0 16,0 0-16,0-1 0,0 1 15,-13 13-15,-13 0 16,12 0 0,1 13-16,0-13 0,0 14 0,-14-1 15,14 0-15,-13 14 0</inkml:trace>
  <inkml:trace contextRef="#ctx0" brushRef="#br0" timeOffset="49198.63">22119 10888 0,'0'39'15,"0"-25"-15,0-1 16,0 13-16,0-13 16,0 14-16,-13-1 0,13-12 0,0 12 15,0 0-15,-13 1 0,13-1 0,0 1 16,0-14-16,0 14 0,-14-14 16,14 13-16,0-13 0,0 1 0,0-1 15,0 0-15,0 0 0,0 1 16,0-1-16</inkml:trace>
  <inkml:trace contextRef="#ctx0" brushRef="#br0" timeOffset="49522.8">21974 11298 0,'0'26'15,"13"-13"-15,-13 1 0,0-1 16,0 0-16,0 0 0,0 1 16,13-1-16,-13 0 0,0 0 0,13-13 15,-13 13-15,14-13 16,-14 14-16,13-14 0,0 0 15,13 0-15,-12-14 0,-1 14 0,0-13 16,0 0-16,1 0 16,12 0-16,-13 13 0,1-14 0,-1 1 15,0 0-15,0 0 0,0 13 16</inkml:trace>
  <inkml:trace contextRef="#ctx0" brushRef="#br0" timeOffset="50002.65">21974 12065 0,'0'53'31,"-14"-40"-15,14 0-16,0 14 0,0-14 15,-13 0-15,13 14 0,0-14 0,-13 0 0,13 14 16,0-14-16,0 0 16,0 0-16,-13 1 0,13-1 0,0 0 15</inkml:trace>
  <inkml:trace contextRef="#ctx0" brushRef="#br0" timeOffset="50312.99">22172 12078 0,'13'13'32,"-13"1"-32,0-1 15,0 13-15,0-12 0,0-1 16,0 0-16,-13 0 0,13 14 0,0-14 16,0 0-16,-13 0 0,13 1 15,0-1-15,-13 0 0</inkml:trace>
  <inkml:trace contextRef="#ctx0" brushRef="#br0" timeOffset="50612.68">22423 12091 0,'-13'0'0,"-13"0"16,-14 27 15,27-14-31,13 0 0,0 1 16,13-1-16,-13 0 0,0 0 16,0 1-16,0-1 0,13 0 15,-26 13 1,13-12-16,-13-1 0,13 0 0,-13 0 0,-1 1 15,1-14-15,-13 13 0,12-13 16,1 13-16,-13-13 0,13 0 16,-1 0-16,1 0 0</inkml:trace>
  <inkml:trace contextRef="#ctx0" brushRef="#br0" timeOffset="51049.77">21828 12078 0,'0'-13'0,"0"26"0,-13-26 15,0 26 1,-1-13-16,14 13 16,0 1-16,-13-1 15,13 0-15,0 0 0,0 1 0,0-1 16,0 0-16,0 0 0,0 14 15,0-14-15,0 0 0,0 0 16,0 1-16,0-1 0,0 0 0,0 0 16,-13 1-16,13-1 0,0 0 15,-13 0-15,13 0 0,-13 1 16,-1-1-16,1-13 16,0 13-16,0-26 15</inkml:trace>
  <inkml:trace contextRef="#ctx0" brushRef="#br0" timeOffset="51214.81">21855 12105 0,'-14'53'0,"14"-40"0,-39 106 15,25-79 1,1-14-16,0 14 0,0-14 0,13 1 15,-13-1-15,13-13 0,0 1 16</inkml:trace>
  <inkml:trace contextRef="#ctx0" brushRef="#br0" timeOffset="52120.9">21908 10266 0,'-14'-13'0,"-39"13"32,40 0-32,0 0 15,0 0-15,-1 0 0,14 13 16,-13-13-16,13 13 0,-13 0 0,0 1 16,13-1-16,0 0 15,0 0-15,-13 0 0,13 1 0,0-1 16,0 0-16,-14 0 0,14 1 0,0-1 15,-13 0-15,13 0 0,-13 1 16,0-14-16,13 13 0,-14 0 16,1-13-16,0 0 0</inkml:trace>
  <inkml:trace contextRef="#ctx0" brushRef="#br0" timeOffset="52281.81">21815 10266 0,'-27'79'0,"54"-158"0,-67 198 0,27-66 0,0 0 15,-14 0-15,14 13 0,-13-13 0,-1 0 16,1 0-16,12-1 16,-12 1-16,0-13 0</inkml:trace>
  <inkml:trace contextRef="#ctx0" brushRef="#br0" timeOffset="54493.59">18441 11337 0,'14'0'0,"-1"0"15,13 0 1,-12 14-16,-1-1 0,-13 0 15,13 0-15,-13 1 0,-13-1 0,13 0 16,0 0-16,-13 14 0,-1-14 16,14 13-16,-13-12 0,0-1 0,0 13 15,13-12-15,-14-14 0,14 13 0,-13 0 16,13 0-16,-13-13 0,13 13 16,13-13-1,0 0-15,1 0 16,-1 0-16,0 0 0,14 0 0,-14 0 15,0-13-15,14 13 0,-14-13 16,13 13-16,-13 0 0,1-13 16,-1 13-16,0 0 0,0 0 0,1-13 15</inkml:trace>
  <inkml:trace contextRef="#ctx0" brushRef="#br0" timeOffset="55118.67">18812 11311 0,'66'0'31,"-53"0"-15,-13 13-16,0 0 0,0 1 15,0-1-15,0 0 16,0 0-16,13-13 0,-13 14 16,14-14-16,-1 13 0,0 0 15,0-13-15,-13 13 0,14-13 16,-14 13-16,13 1 0,-13-1 16,0 13-1,-13-12-15,-1-1 0,1 0 16,0-13-16,0 13 0,-1 1 0,1-14 15,0 0-15,0 13 0,0-13 16,-14 0 0</inkml:trace>
  <inkml:trace contextRef="#ctx0" brushRef="#br0" timeOffset="55526.11">18243 11284 0,'0'0'15,"-40"53"-15,27-39 0,0 12 0,0 14 0,-1-14 16,1 14-16,13-14 0,0 1 15,0 13-15,0-14 0,13 14 16,1-1-16,-1-12 0,13-1 0,-12 1 16,12-1-16,0 1 0,1-14 0,-1 0 15,1 0-15,-14-13 0,14 0 16,-1 0-16,14 0 0,-1-13 0,1 0 16</inkml:trace>
  <inkml:trace contextRef="#ctx0" brushRef="#br0" timeOffset="55808.28">19076 11073 0,'67'26'16,"-134"-52"-16,160 65 0,-66-12 0,12 13 16,-12-14-16,12 14 0,1-1 0,-13 1 15,12 0-15,-26 0 0,1-1 0,-1 41 16,-26-41-16,13 1 16,-27 13-16,14 0 0,-13-13 0,-1 12 15,-13-12-15,14 0 0,-14-14 16</inkml:trace>
  <inkml:trace contextRef="#ctx0" brushRef="#br0" timeOffset="57890.23">22728 10332 0,'13'13'47,"0"-26"-47,0 13 15,1 0-15,-1-13 16,0 13-16,0 0 16,1 0-16,-1 0 0,0 0 15,0 0 1,0 13-1,-13 0-15,14 14 16,-14-14-16,0 0 0,0 27 16,13-14-16,-13 1 15,0-1-15,0 14 0,0 0 0,0-1 16,0 1-16,0 0 0,0-1 0,0 1 16,0 0-16,0 13 0,-13-14 15,13 1-15,0 0 0,0-1 0,0 1 16,0 0-16,0-14 0,0 1 0,0 12 15,0-12-15,0-1 0,0 1 16,0 12-16,0-12 0,0-1 0,0 1 16,0-1-16,0 1 0,0 12 15,13-12-15,-13-1 0,0 1 0,0-1 16,0 1-16,13-1 0,-13 1 0,0-1 16,13 1-16,-13-1 0,14 0 15,-14-12-15,13 12 0,-13-13 0,13 14 16,-13-14-16,13 0 0,-13 0 15,14 1-15,-14-1 0,13 0 0,-13 0 16,13 1-16,-13-1 16,13-13-16,-13 13 0,13-13 15,-13 13-15,14 1 16,-28-1 15,14 0-15,-13-13-16,0 13 0,0-13 15,-14 13-15,14 1 0,-13-14 0,-1 13 16,-13 0-16,1 0 0,-1 1 16,0-1-16,1 0 0,-1 0 0,0 1 15,1-1-15,12 0 0,-13 0 0</inkml:trace>
  <inkml:trace contextRef="#ctx0" brushRef="#br1" timeOffset="64833.5">23270 10967 0,'40'0'0,"-27"0"16,13 0-16,-12 0 0,-1 0 16,0 0-16,0 0 0,1 0 0,-1 0 15,0 0-15,0 0 0,1 0 0,-1 0 16,0 0 0,0 0-16,0 0 15,1 0 1,-1 0-16,-13-13 15</inkml:trace>
  <inkml:trace contextRef="#ctx0" brushRef="#br1" timeOffset="65200.86">23455 10808 0,'27'13'15,"-27"1"1,13-14-16,0 13 0,0 0 0,1-13 15,-1 13-15,0 1 0,0-14 0,1 13 16,-1 0-16,0 0 0,0-13 0,1 14 16,-1-1-16,-13 0 0,0 0 15,13 0-15,-13 1 16,-13-1-16,0 0 0,13 0 0,-14 1 16,1-1-16,0 0 0,0 0 15,-1 0-15,1 1 0,13-1 0,0 0 16</inkml:trace>
  <inkml:trace contextRef="#ctx0" brushRef="#br1" timeOffset="66618.14">24156 10663 0,'14'13'16,"-14"0"0,0 0-16,0 1 0,0-1 15,0 13-15,0-12 0,0-1 0,0 13 16,0-13-16,0 14 0,-14-14 0,14 14 16,0-14-16,-13 0 0,13 0 15,0 1-15,0-1 0,0 0 0,0 0 16,-13 0-1,26-13 1,14-13 0</inkml:trace>
  <inkml:trace contextRef="#ctx0" brushRef="#br1" timeOffset="67180.78">24421 10702 0,'0'0'0,"13"-13"0,-26 40 31,13-14-31,0 0 0,-13 0 15,13 1-15,0-1 0,0 0 16,0 0-16,0 0 0,0 1 16,0-1-16,0 0 0,0 0 0,13 1 15,-13-1-15,13 0 16,1-13-16,-14 13 0,13-13 0,0 0 16,0 0-16,0 0 0,1 0 15,-1-13-15,0 13 0,-13-13 16,13 13-16,1-13 0,-14-1 15,13 1-15,-13 0 0,0 0 16,0-1-16,0 1 0,0 0 0,0 0 16,0 0-16,-13 13 0,13-14 15,-14 1-15,1 13 16,0-13-16,0 13 0,-1 0 16,1 0-1,0 0-15</inkml:trace>
  <inkml:trace contextRef="#ctx0" brushRef="#br1" timeOffset="67686.52">24712 10610 0,'13'0'15,"1"0"-15,-1 0 16,0 0-16,0 13 16,0-13-16,-13 13 15,14 0-15,-14 1 16,0-1-16,0 0 15,0 0-15,0 1 0,0-1 0,0 0 16,0 0-16,0 1 0,-14-1 0,14 0 16,0 0-16,0 0 0,0 1 15,-13-1-15,13 0 0,0 0 16,0 1 0,0-1-1</inkml:trace>
  <inkml:trace contextRef="#ctx0" brushRef="#br1" timeOffset="67888.75">24712 10821 0,'27'0'16,"-14"-13"-1,0 13-15,0 0 16,0 0-16,1 0 0,-1 0 0,0 0 16,0 0-16,1 0 0,-1 0 15,0 0-15,-13 13 16</inkml:trace>
  <inkml:trace contextRef="#ctx0" brushRef="#br1" timeOffset="68302.97">24170 11311 0,'-14'26'16,"14"-12"-16,0-1 16,0 0-1,0 0-15,-13-13 0,13 14 16,0-1-16,-13-13 0,13 13 0,0 0 16,0 0-16</inkml:trace>
  <inkml:trace contextRef="#ctx0" brushRef="#br1" timeOffset="68647.7">24355 11311 0,'-13'26'47,"13"-12"-47,0-1 15,13 0-15,0 0 16,0-13 0,1 0-16,-1 0 15,0 0-15,0 0 0,1 0 16,-1 0-16,0-13 16,0 13-16,-13-13 0,13 0 15,-13-1 1,0 1-16,-13 13 15,13-13 1,-13 13-16,0 0 16,0 0-1,-1 0 1</inkml:trace>
  <inkml:trace contextRef="#ctx0" brushRef="#br1" timeOffset="69089.75">24739 11218 0,'0'-13'15,"0"40"32,0-14-47,0 0 16,0 0-16,0 0 0,0 1 15,0-1-15,-14 0 0,14 0 0,-13 1 16,13-1-16,-13-13 16,13 13-16,-13 0 0,-1-13 15,14 14-15,-13-14 0,0 0 16,26-14 15,-13 1-31,13 13 16,-13-13-16,14 13 0,-1-13 15,-13-1-15,13 1 0,-13 0 16,13 0-16,-13-1 0,0 1 16,0 0-16,0 0 15,-13 0-15,13-1 0,-13 14 16,0-13-16,-1 0 0,-12 0 15,13 13-15,-1-14 0,1 1 16,-13 13-16</inkml:trace>
  <inkml:trace contextRef="#ctx0" brushRef="#br1" timeOffset="69654.81">24156 10464 0,'-13'14'16,"26"-28"-16,-39 41 0,13-14 0,0 13 0,-14 1 15,14 13-15,-14 12 0,14 1 0,-13-13 16,12 13-16,1 0 0,0 0 15,0 0-15,13-14 0,-13 1 16,13 0-16,-14-1 0,14 1 0,0-13 0,0-1 16,0 1-16,0-14 0,0 13 15,14-13-15,-14 1 0,13-14 16,-13 13-16,13-13 0,0 13 0,0-13 16</inkml:trace>
  <inkml:trace contextRef="#ctx0" brushRef="#br1" timeOffset="70812.8">24130 10358 0,'26'-13'0,"54"0"16,-40 13-1,-1 0-15,14 0 0,-13-13 0,13 13 16,0 0-16,-14 0 0,14 0 15,0 0-15,-13 0 0,-14 0 16,14 0-16,-14 0 0,14 0 0,-13 13 16,-1-13-16,1 0 0,-1 0 0,0 13 15,-12-13-15,12 0 0,-13 13 16,1-13-16,12 14 0,-13-14 0,0 13 16,1 0-16,12 0 0,-13 1 0,1-1 15,-1 0-15,0 0 0,-13 1 16,13-1-16,1 13 0,-14-13 0,13 14 15,-13-14-15,0 14 0,0-14 0,13 13 16,-13 1-16,0-14 0,0 13 0,-13 1 16,13-14-16,0 14 15,0-1-15,0 0 0,0 1 0,-13-1 16,13 1-16,0-1 0,0 1 0,0-1 16,0 1-16,0-1 0,0 1 15,0-1-15,0 0 0,0 1 0,0-14 16,0 14-16,0-14 0,0 13 0,0-12 15,0 12-15,0-13 0,0 14 16,0-14-16,13 0 0,-13 0 0,0 1 16,0-1-16,0 0 0,0 0 0,0 1 15,0-1-15,-13 0 16,13 0-16,0 0 0,0 1 16,0-1-16,-14-13 0,14 13 15,0 0-15,-13 1 0,13-1 16,-13-13-16,13 13 15,-13 0-15,13 1 0,-14-1 16,14 0-16,-13-13 16,13 13-16,-13 0 15,13 1-15,-13-14 16,13 13-16,-14 0 16,1-13-16,0 13 15,0-13 1,0 0-16,-1 0 15,1 14-15,0-14 0,0 0 0,-1 0 16,-12 0-16,0 0 0,-1 0 16,1 13-16,-14-13 0,13 0 15,-12 0-15,-1 0 0,-13 0 0,13 0 16,-12 0-16,-1 0 0,13 0 16,-13 0-16,13 0 0,1 0 0,12 0 15,-12 0-15,-14 13 0,26-13 16,1 0-16,12 0 0,-12 0 0,0 13 15,12-13-15,1 0 0,-13 0 16,12 0-16,1 0 0,0 0 16,0 14-16,-1-14 0,1 0 0,0 0 15,0 0-15,-14 0 16,14 0-16,0 13 16,0-13-1,-1 0-15,1-13 16,0 13-16,0 0 15,13-14-15,-14 14 0,14-13 0,-13 0 16,13 0-16,0-14 0,0 14 16,0-14-16,13-12 0,-13-1 15,0 0-15,14 14 0,-14-14 0,13 14 16,-13-1-16,0 1 0,13 13 0,-13-14 16,13 14-16,1 0 15,-1 13-15,0-14 0,14 14 0,-14-13 16,0 13-16</inkml:trace>
  <inkml:trace contextRef="#ctx0" brushRef="#br1" timeOffset="71678.47">24725 11258 0,'-13'0'0,"0"0"15,13-13 1,-13 13-16,-1 0 16,14-13-1,-13-1 1,13 1-16,0 0 16,-13 0-1,13-1-15,0 1 16,0 0-16,0 0 15,0-1-15,13 1 16,-13 0-16,0 0 16,0 0-16,13-1 15,-13 1-15,14 13 16,-14-13-16,13 13 0,0-13 16,0 13-16,1 0 15,-1 0-15,0 0 0,0 0 16,0 0-16,1 0 0,-14 13 15,13-13-15,0 13 0,0 0 16,1 1-16,-14-1 16,0 0-16,0 0 15,-14 0-15,14 1 16,-13-14-16,0 13 0,0 0 0,-14-13 16,14 13-16,0 1 0,0-14 0,-1 13 15,1-13-15,0 13 0</inkml:trace>
  <inkml:trace contextRef="#ctx0" brushRef="#br1" timeOffset="75846.64">19910 13097 0,'13'-13'16,"0"13"0,-26 13 30,0 0-30,0 0 0,-1 1-16,1-1 15,0-13-15,13 13 0,-13 0 16,13 0 0,0 1-1,13-14-15,-13 13 0,13-13 0,0 0 16,1 13-16,-1-13 0,0 13 15,0-13-15,1 0 0,-1 14 16,0-1-16,-13 0 16,13-13-16,-13 13 0,0 1 15,-13-14-15,13 13 0,0 0 16,-13-13-16,0 13 0,-1 0 16,1-13-16,0 14 0,0-14 15,-1 0-15,1 0 0,0 0 16,-13 0-1,26-14-15,-14 14 0,14-13 0,0 0 16,0 0-16</inkml:trace>
  <inkml:trace contextRef="#ctx0" brushRef="#br1" timeOffset="76038.72">19963 12991 0,'0'0'16,"-13"27"-1,13-14-15,0 0 16,0 13-16,0 1 0,-14-14 0,14 14 0,0-1 16,-13 14-16,13-1 0,0-12 15,-13-1-15,13 1 0,0-14 16,0 13-16,0 1 0,0-14 0,0 0 16,0 1-16,13-1 0</inkml:trace>
  <inkml:trace contextRef="#ctx0" brushRef="#br1" timeOffset="76989.75">20227 13123 0,'27'14'31,"-14"-14"-31,0 13 16,-13 0-16,0 0 0,0 0 16,0 1-16,-13-1 0,13 0 0,-13 0 15,0 14-15,13-14 0,-14 0 16,1 1-16,0-1 0,13 0 0,-13 0 15,-1 0-15,14 1 16,-13-14-16,13 13 16,13 0 15,14-26-15,-14 13-16,0-13 0,1 13 15,-1-14-15,0 1 0,14 0 0,-1 13 16,-13-13-16,0 0 0,14-1 15,-14 1-15,0 0 0,1 0 0,-1 13 16,0-14-16,0 1 0,1 0 31,-28 39 16,14-12-47,0-1 0,14-13 16,-14 13-16,13-13 0,0 0 15,-13 13-15,13-13 0,0 0 16,1 0-16,-14-13 0,13 13 16,0 0-16,-13-13 0,0 0 31,0-1-31,0 1 16,-13 13-16,13-13 0,-13 13 15,-1 0 1,14-13-16,-13 13 15</inkml:trace>
  <inkml:trace contextRef="#ctx0" brushRef="#br1" timeOffset="77262.67">20598 13176 0,'0'0'0,"26"0"0,-12 0 16,-1 0-1,0 0-15,-13 13 16,0 1-16,13-1 15,-13 0-15,0 0 16,13-13-16,-13 14 0,14-1 16,-1-13-16,13 13 15,-12-26 1,-1 13 0,0-13-16,-13-1 15,0 1 1,0 0-16,-13 0 15,0 13 1,-1 0-16,1 0 16,0 0-16,0 0 15</inkml:trace>
  <inkml:trace contextRef="#ctx0" brushRef="#br1" timeOffset="77582.56">20929 13150 0,'13'13'16,"-13"0"0,0 0-16,0 1 15,0-1-15,0 0 16,0 0-16,13-13 0,0 14 15,0-14 1,1 0-16,-1-14 16,0 1-1,-13 0 1,0 0-16,-13-1 0,13 1 16,-13 13-16,13-13 0,-14 13 15,1 0-15,0-13 0,0 13 0,0 0 16,-1 13-16,1-13 0,-13 0 0,12 13 15,-12-13-15</inkml:trace>
  <inkml:trace contextRef="#ctx0" brushRef="#br1" timeOffset="78193.78">19963 13785 0,'-13'0'15,"26"0"-15,-40 0 0,1 0 0,13 0 16,-1 13 0,1-13-16,0 0 0,0 13 15,0 0-15,13 1 16,13-1 0,0 0-1,0-13-15,0 13 0,1-13 16,-1 14-16,0-14 0,-13 13 15,13-13-15,1 13 0,-14 0 16,13-13-16,-13 14 0,0-1 16,0 0-16,-13 0 15,13 0-15,-14-13 0,14 14 16,-13-1-16,0-13 0,0 13 0,-1-13 16,1 0-16,0 13 0,0-13 15,0 0-15,-14 0 16,27-13-16,-13 13 0,13-13 15</inkml:trace>
  <inkml:trace contextRef="#ctx0" brushRef="#br1" timeOffset="78434.89">19936 13520 0,'-13'40'0,"13"-27"0,0 0 15,0 14-15,0-1 0,0 14 16,-13 0-16,13-1 0,0 1 0,0 0 16,0-1-16,0-12 0,0 13 0,0-1 15,0-12-15,0-1 0,13 1 16,-13-1-16,0 1 0,0-1 0,13-13 16,-13 14-16,0-14 0,0 0 0,0 0 15,14-13-15</inkml:trace>
  <inkml:trace contextRef="#ctx0" brushRef="#br1" timeOffset="80042.66">20254 13824 0,'0'-13'15,"0"26"-15,13-26 0,-13 0 16,13 13-16,1 13 15,-1-13-15,0 0 0,-13 13 0,13-13 16,-13 14-16,13-1 0,-13 0 16,0 0-16,0 1 0,-13 12 15,13-13-15,-13 1 0,0-1 0,13 0 16,-13 0-16,-1 0 0,1 1 16,13-1-16,-13 0 0,0 0 15,-1-13-15,14 14 0,0-1 31,14 0 1,-1-26-32,0 13 15,0 0-15,1 0 0,-1-13 16,0 13-16,-13-14 0,13 14 0,0 0 16,1-13-16,-1 13 15</inkml:trace>
  <inkml:trace contextRef="#ctx0" brushRef="#br1" timeOffset="81372.88">20492 13772 0,'26'13'46,"-12"-13"-30,-1 0 0,0 0-1,0 0 17,-39 0 61,26 13-77,0 0 15,13-13-31,-13 13 0,13 1 16,1-1-16,-1-13 0,-13 13 15,13 0-15,-13 1 0,13-14 16,-13 13-16,0 0 0,14 0 0,-14 1 16,0-1-16,0 0 0,-14-13 0,14 13 15,-13 0-15,13 1 16,-13-1-16,0 0 0,-1 0 16,1-13-16,13 14 0,-13-14 0,0-14 46,26 1-46,0 0 16,0 0-16,1-14 16,-1 27-16,0-26 0,0 13 0,1-1 15,-14 1-15,13 0 0,-13 0 16,0-1-16,13 1 0,-13 0 16,0 0-16,-13-1 0,13 1 15,-13 0-15,-1 13 16,14-13-16,-13 13 15,0 0-15,0 0 16,-1 0 0</inkml:trace>
  <inkml:trace contextRef="#ctx0" brushRef="#br1" timeOffset="81671.69">20717 13772 0,'13'0'15,"-26"0"-15,26 13 16,-13 0-16,0 0 16,0 0-16,0 1 0,13-14 0,-13 13 15,0 0-15,0 0 0,14 1 16,-1-1-16,-13 0 16,13-13-16,0 0 0,0 0 15,1 0-15,-1-13 16,0 0-16,-13-1 15,0 1 1,0 0-16,-13 0 16,13-1-16,-13 14 15,13-13-15,-14 13 0,14-13 16,-13 13 0,13-13-1</inkml:trace>
  <inkml:trace contextRef="#ctx0" brushRef="#br1" timeOffset="81929.95">20889 13838 0,'0'13'0,"26"13"16,-12-12-1,-1-14 1,0 0-16,0 0 0,0 0 15,1-14-15,-1 14 16,-13-13-16,13 0 0,-13 0 16,0-1-1,-13 1-15,0 13 16,-1-13-16,1 13 0,0 0 16,0 0-16,0 0 0,-1 13 15,1-13-15,0 0 16</inkml:trace>
  <inkml:trace contextRef="#ctx0" brushRef="#br1" timeOffset="84037.74">18362 13573 0,'13'-13'0,"14"-14"16,-14 27-16,0-13 15,0 13-15,1 13 16,-1 1-16,-13-1 0,0 0 16,0 0-16,0 1 15,-13 12-15,13-13 0,-14 0 0,1 1 16,0 12-16,0-13 0,0 1 0,13-1 16,-14 0-16,1 0 15,13 1-15,-13-14 0,13 13 16,13-13-1,0 0 1,1 0-16,-1 0 16,0 0-16,0-13 0,0 13 15,1 0-15,-1-14 16,0 1-16,-13 0 16</inkml:trace>
  <inkml:trace contextRef="#ctx0" brushRef="#br1" timeOffset="84336.63">18190 13282 0,'0'0'0,"-26"13"0,12-13 0,1 14 0,0-1 16,0 0-16,0 0 0,-1 0 0,14 14 16,-13-14-16,13 14 0,-13-1 15,13 1-15,0-1 0,0 0 0,0 14 16,13 0-16,-13-1 0,13 1 0,1-13 16,-1-1-16,13 14 15,-13-14-15,14-13 0,-1 14 0,1-14 16,-1 0-16,1 1 0,-1-14 0,-13 13 15,14-26-15,-14 13 0,14 0 16</inkml:trace>
  <inkml:trace contextRef="#ctx0" brushRef="#br1" timeOffset="84618.23">18666 13295 0,'80'106'32,"-67"-79"-32,0 12 0,0 1 15,-13-14-15,14 14 0,-14 0 0,-14-1 16,14 1-16,0 0 0,-13-14 15,0 14-15,0 0 0,-1-14 0,14 14 16,-13-14-16,0 1 0,0-14 0,13 0 16,-13 0-16</inkml:trace>
  <inkml:trace contextRef="#ctx0" brushRef="#br1" timeOffset="86192.9">17873 11708 0,'-67'0'0,"-184"13"15,211-13 1,-13 13-16,14-13 0,-1 14 16,0-14-16,14 13 0,13-13 0,-27 13 15,27 0-15,0 0 0,13 1 16,-14-1-16,14 0 0,-13 14 16,13-14-16,0 13 0,-13 14 0,13-14 15,0 14-15,0 13 0,0-13 0,-13 13 16,13 0-16,0-1 0,0 15 15,0-1-15,0 0 0,-14 0 0,14 13 16,-13 1-16,0-1 0,0-13 16,0 27-16,-1 0 0,-12-1 0,13-13 0,-1 1 15,1-1-15,-13 1 16,12-1-16,1-13 0,0 0 0,0-13 16,0 13-16,13-26 0,-14 0 0,14-1 15,0-12-15,0-1 0,0-12 16,0 12-16,0-13 0,14 14 15,-1-14-15,0-13 0,0 13 0,0 0 16,1-13-16,12 14 0,1-14 0,-1 13 16,14-13-16,-14 0 0,14 0 15,13-13-15,-13 13 0,-1-14 16,14 14-16,-13-13 0,-1 0 0,-12 0 16,-1 13-16,1-14 0,-14 1 15,0 0-15,1 0 0,-14 0 0,0-1 16,0-12-16,-14 13 0</inkml:trace>
  <inkml:trace contextRef="#ctx0" brushRef="#br1" timeOffset="86758.76">15571 12846 0,'13'-14'0,"0"14"16,14 0-16,-14 0 15,0 14-15,0-1 16,-13 0-16,0 0 0,0 0 15,0 14-15,-13-14 0,0 14 0,13-14 16,-27 13-16,14 1 0,0-14 0,0 0 16,0 0-16,-1 1 0,1-1 15,0 0-15,0 0 0,-1 1 16,54-28 31,-27 14-47,14-13 15,-14 13-15,0 0 0,0 0 0,1-13 16,-1 13-16,0-13 0,0 13 16,1 0-16,-1-14 0,0 14 15,-13-13-15</inkml:trace>
  <inkml:trace contextRef="#ctx0" brushRef="#br1" timeOffset="87118.81">16007 12806 0,'-26'0'0,"52"0"0,-65 13 15,25-13-15,1 13 0,0-13 16,0 0-16,13 14 0,-14-14 0,1 13 15,13 0-15,13-13 16,-13 13 0,14 0-16,-1 1 0,0-14 15,-13 13-15,13 0 0,1 0 16,-14 1-16,13-14 0,-13 13 16,0 0-16,0 0 15,0 1-15,-13-14 0,-1 13 0,1 0 16,0-13-16,0 0 15,-1 13-15,1-13 0,-13 0 0,13 0 16,-1 0-16,1 0 0,0 0 0,0 0 16,-1 0-16,1 0 0</inkml:trace>
  <inkml:trace contextRef="#ctx0" brushRef="#br1" timeOffset="88024.77">15412 13070 0,'-13'-13'15,"-14"13"-15,14 0 16,0 0-16,-14-13 0,14 13 0,-13-13 15,-1 13-15,-12-13 0,-1-1 0,13 14 16,-26-13-16,14 0 0,-1 13 16,-13-13-16,0 13 0,14 0 0,-14-14 15,0 14-15,0 0 0,0 0 0,0-13 16,13 13-16,-13 0 0,0 0 0,14 0 16,-1 0-16,0 0 0,14 0 15,-14 0-15,14 0 0,-14-13 0,14 13 16,-14 0-16,14 13 0,-1-13 0,1 0 15,-1 0-15,1 0 0,12 0 16,-12 0-16,13 0 0,-14 13 0,14-13 16,0 0-16,-14 14 0,14-14 15,0 13-15,0 0 16,-1-13-16,1 0 0,13 13 0</inkml:trace>
  <inkml:trace contextRef="#ctx0" brushRef="#br1" timeOffset="88870.71">13996 12819 0,'-13'-13'15,"-13"13"-15,13 0 16,-1 13-1,1-13-15,0 0 0,0 0 0,-1 13 16,1-13-16,0 0 0,0 14 0,-1-14 16,1 0-16,0 13 0,0-13 15,0 13-15,-1-13 16,14 13-16,-13-13 0,0 13 16,0 1-1,-1-14-15,14 13 16,-13 0-1,13 0 1,0 1-16,0-1 16,13-13-16,-13 13 0,0 0 0,14 1 0,-14-1 15,13 0-15,0-13 0,0 26 16,1-12-16,-1-1 0,0 0 16,13 0-16,-12 1 0,12-1 0,-13 13 15,1-13-15,12 1 0,-13-14 16,1 13-16,-1 0 0,0 0 15,0 1-15,-13-1 0,13-13 16,-13 13-16,-13 0 31</inkml:trace>
  <inkml:trace contextRef="#ctx0" brushRef="#br1" timeOffset="91870.85">11390 12951 0,'14'80'31,"-14"-67"-15,0 13-16,0-12 0,0 12 0,0 1 15,0-1-15,0 0 0,0 1 16,0-1-16,-14 1 0,14-14 0,0 14 15,0-14-15,-13 0 0,13 0 0,0 0 16,0 1-16,0-1 16</inkml:trace>
  <inkml:trace contextRef="#ctx0" brushRef="#br1" timeOffset="92390.68">11549 13004 0,'-13'14'0,"39"-14"31,-12 0-31,-1 0 0,0 0 16,13 0-16,-12-14 0,12 14 15,-13 0-15,14-13 0,-14 13 0,0 0 16,1 0-16,-1-13 0,0 13 0,0 0 16,0 13-16,1-13 15,-1 13-15,-13 1 16,13-1-16,-13 0 0,0 0 16,0 0-16,0 14 0,0-14 15,0 0-15,0 1 0,0 12 0,0-13 16,-13 0-16,13 1 0,0-1 15,0 13-15,0-12 0,0-1 16,0 0-16,0 0 0,-13-13 16,13 14-16,0-1 15</inkml:trace>
  <inkml:trace contextRef="#ctx0" brushRef="#br1" timeOffset="93033.77">11655 13203 0,'26'-27'31,"-12"27"-31,-1 0 15,0-13-15,14 13 0,-14 0 0,0-13 16,13 13-16,-12 0 0,-1-13 0,13 13 16,-12 0-16,-1-14 0,0 14 15,0 0-15,0 0 0,1-13 16,-1 13-16,0 0 0,0-13 0,1 13 16,-1 0-16,0-13 0,0 13 15,1-14-15,-1 1 16,0 0 15,-26 39 16,13-12-47,0-1 16,13 0-16,-13 0 15,13 1-15,0-14 16,1 13-16,-1-13 15,13 0-15,-12-13 16,-1 13-16,0 0 0,0-14 0,1 14 16,-1-13-16,0 13 15,-13-13-15,13 13 16,-13-13-16,0-1 16,-13 1-1,13 0 1,-13 0-16,0 13 15,13-13-15,-14 13 0,14-14 16,-13 14 0,0 0-16,0 0 15,-1 14 1,14-1 0</inkml:trace>
  <inkml:trace contextRef="#ctx0" brushRef="#br1" timeOffset="93409.95">12303 13004 0,'-13'14'0,"0"-1"15,13 0-15,0 0 16,0 0-16,0 1 0,0-1 16,13-13-16,-13 13 0,0 0 0,13-13 15,-13 14-15,13-14 0,1 13 16,12-26 0,-13 13-16,0-14 0,1 14 15,-1-13-15,0 0 0,0 0 16,1-1-16,-14 1 0,0 0 0,13 0 15,-13 0-15,0-1 0,-13 14 0,13-13 16,0 0-16,-14 0 0,1-1 16,0 14-16,0 0 0,-1 0 15,1 0-15,0 0 0,0 14 16,0-14-16,-1 13 16,1-13-16,13 13 0</inkml:trace>
  <inkml:trace contextRef="#ctx0" brushRef="#br1" timeOffset="94445.93">11523 13600 0,'-14'79'31,"14"-66"-31,0 14 0,0-14 0,0 13 16,0-12-16,0 12 0,0-13 16,-13 0-16,13 14 0,0-14 0,0 0 15,0 1-15,13-1 0,-13 0 16</inkml:trace>
  <inkml:trace contextRef="#ctx0" brushRef="#br1" timeOffset="94826.93">11853 13639 0,'-13'0'0,"-13"0"16,12 13-16,-25 14 31,26-14-31,13 0 16,13 1-1,0-14-15,-13 13 16,13-13-16,0 0 0,-13 13 0,14 0 16,-14 1-16,13-1 15,-13 0-15,-13 0 16,13 0-16,0 1 0,-14-14 0,14 13 16,-13 0-16,13 0 0,-13 1 0,0-14 15,13 13-15,-13-13 16</inkml:trace>
  <inkml:trace contextRef="#ctx0" brushRef="#br1" timeOffset="95097.78">11919 13705 0,'0'0'0,"14"53"31,-1-53-31,-13 14 0,13-14 0,0 0 16,1 0 0,-1-14-16,0 14 15,-13-13-15,0 0 0,13 0 16,-26-1 0,13 1-16,-13 13 15,13-13-15,-13 13 0,-1 0 16,14-13-1</inkml:trace>
  <inkml:trace contextRef="#ctx0" brushRef="#br1" timeOffset="95326.29">12118 13719 0,'13'13'0,"14"-13"31,-14 0-31,0 0 0,0-13 0,1-1 16,-1 1-16,0 13 0,0-13 15,0 0-15,1-1 16,-14 1-16,0 0 0,0 0 16,0 0-16,0-1 0,-14 14 15,14-13-15,-13 13 0,0-13 16,0 0-16,0 13 15,-1-14-15</inkml:trace>
  <inkml:trace contextRef="#ctx0" brushRef="#br1" timeOffset="95728.82">11165 12872 0,'-39'159'16,"25"-120"-16,14 28 15,-13-15-15,0 15 16,13-1-16,-13 0 0,13 0 0,-13-13 16,-1 13-16,14-13 0,0 0 0,-13-13 15,13 13-15,0-14 0,0 1 16,-13-14-16,13-12 0,0 12 0,0-13 15,0 1-15,0-41 32</inkml:trace>
  <inkml:trace contextRef="#ctx0" brushRef="#br1" timeOffset="96398.98">10808 12793 0,'0'0'0,"13"-27"0,1 14 15,12 13-15,1-13 0,-1-1 16,27 14-16,0-13 0,13 0 16,0 0-16,14 0 0,-1 13 0,14-14 15,-1 1-15,27-13 0,-13 12 16,13-12-16,-26 13 0,-1-1 0,14-12 15,-26 13-15,-1-14 0,0 14 0,1-13 16,-14 12-16,0 1 0,-26 0 16,-1 13-16,1-13 0,-14 13 0,1-14 15,-14 14-15,0 0 0,1 0 0,-1 0 16,0 0-16,0 0 0,1 0 16,-1 14-16,0-1 15,-13 0-15,13 0 0,-13 14 0,0-14 16,13 14-16,-13-1 0,0 14 15,14-1-15,-14 14 0,0-13 0,0 0 16,0 13-16,13-14 0,-13 1 0,0 13 16,13-13-16,-13 13 0,0-14 15,13 14-15,-13-13 0,14-1 16,-14 1-16,13 0 0,-13 0 0,13-1 16,-13 1-16,0-14 0,13-12 0,-13 12 15,14 1-15,-14-14 0,0 13 16,0-13-16,0 1 0,0-1 0,0 0 15,0 0-15,0 1 0,0-1 16,-14-13-16,14 13 16,-13-13-16,0 0 0,0 13 0,-1-13 15,-12 0-15,-27 13 0,13-13 0,-13 14 16,0-14-16,-13 13 0,0-13 0,0 13 16,-13 0-16,-1 14 0,1-14 15,0 0-15,-14 1 0,14 12 16,-80 0-16,79-12 0,1 12 15,0-13-15,-1 1 0,14 12 16,0-13-16,0 1 0,0-1 0,0 0 16,26 0-16,0-13 0,-13 13 0,14-13 15,12 14-15,-13-14 0,27 0 16,-13 0-16,13 13 0,-1-13 0</inkml:trace>
  <inkml:trace contextRef="#ctx0" brushRef="#br1" timeOffset="99893.75">21934 12991 0,'0'0'16,"-13"0"-16,-40 27 31,40-14-31,-1 0 0,1 0 16,0 0-16,0 1 0,13-1 0,-14 0 15,14 0-15,-13 1 0,13-1 16,0 0-16,0 0 0,13 0 15,1 1 1,-1-1-16,0-13 0,0 0 16,1 0-16,-1 0 0,0 0 0,0 0 15,14 0-15,-14 0 0,0-13 16,0 13-16,1-14 0</inkml:trace>
  <inkml:trace contextRef="#ctx0" brushRef="#br1" timeOffset="100204.86">22278 12991 0,'-13'-13'15,"-1"39"17,14-12-32,-13-14 15,13 13-15,0 0 0,-13 0 16,0 0-16,13 1 0,0-1 15,0 0-15,-13-13 0,13 13 0,0 1 16,0-1-16,0 0 16,0 0-1,13-13 1,0 13 0,0-13-1,0 0-15,1 0 16,-1 0-1</inkml:trace>
  <inkml:trace contextRef="#ctx0" brushRef="#br1" timeOffset="100471.29">22238 13163 0,'27'-26'0,"-1"12"32,-13 1-17,-13 0-15,0 0 16,0-1 0,0 1-1,0 0 1,0 0 15,14 13-31</inkml:trace>
  <inkml:trace contextRef="#ctx0" brushRef="#br1" timeOffset="100725.96">22490 12951 0,'-14'27'47,"14"-14"-47,-13-13 0,13 13 15,0 1-15,0 12 16,13-13-16,1-13 16,12 0-1,-13 0-15,0-13 16,1 0-16,-14 0 16,13 13-16,-13-14 15,-13 1-15,13 0 0,-14 13 16,1 0-16,0 0 15,0 0-15,0 0 0,-14 13 16,14 0-16,-14-13 0,1 27 0</inkml:trace>
  <inkml:trace contextRef="#ctx0" brushRef="#br1" timeOffset="101170.62">21762 13838 0,'-26'13'15,"12"0"-15,1 0 0,13 1 0,-13-14 16,13 13-16,-13 0 0,13 0 0,0 1 15,0-1-15,0 0 16,0 0-16,0 0 0,13-13 16,-13 14-16,13-1 0,0 0 15,1-13-15,-1 0 0,0 0 16,0 0-16,0 0 0,1-13 16,-1 13-16,13 0 0,-12-13 0,-1 13 15</inkml:trace>
  <inkml:trace contextRef="#ctx0" brushRef="#br1" timeOffset="101754.77">21974 13838 0,'13'0'31,"0"-14"-31,0 14 0,1-13 16,-1 13-16,0 0 0,0-13 16,0 0-16,1 13 0,-1-13 15,0-1-15,0 14 16,1-13 0,-1 26-1,-13 14 1,-13-27-16,13 13 15,0 0-15,0 0 0,0 1 0,-14-1 16,14 0-16,0 0 16,0 1-16,0-1 15,14-13-15,12-13 32,-13 13-32,-13-14 0,14 14 15,-14-13 1,13 13-1,-13 13 1,13-13 0,0 0-1,14 0-15,-14 0 16,-13-13-16,13 13 0,0-13 16,1 13-16,-1-13 0,-13-1 15,13 14-15,-13-13 0,13 0 0,-13 0 16,0 0-16,14 13 0,-28-14 15,14 1-15,-13 13 16,13-13-16,-13 13 16,0 0-16</inkml:trace>
  <inkml:trace contextRef="#ctx0" brushRef="#br1" timeOffset="102603.71">22913 13004 0,'26'0'16,"-52"0"-16,52-13 0,-12 13 0,-1 0 15,0 0-15,-13-13 16,13 26 0,1-13-16,-14 13 0,0 1 15,0-1-15,0 0 0,0 0 0,0 14 16,0-1-16,-14 1 0,14 12 0,0 1 16,-13 0-16,13-1 0,0 1 15,0 0-15,0-1 0,0 1 0,0 0 16,0-14-16,0 1 0,0-1 0,0 14 15,0-14-15,0 1 16,-13-1-16,13-13 0,0 14 0,0-14 16,0 0-16,0 1 0,0-1 0,0 0 15,0 0-15,-13 0 0,13 1 16,0-1-16,-14-13 0,14 13 0,-13-13 16,13 13-16,-13-13 0,0 0 0,13 14 15,-14-14-15,1 0 0,0 13 16,-13-13-16,12 0 0,1 0 15,0 13-15,0-13 0,-1 0 0,1 0 16,0 0-16,13 13 0,-13-13 0</inkml:trace>
  <inkml:trace contextRef="#ctx0" brushRef="#br1" timeOffset="104976.56">23641 13110 0,'-40'27'0,"-40"52"32,67-66-32,0 14 0,13-14 0,-13 0 15,13 0-15,-13 1 0,13-1 0,13-13 16,-13 13-16,0 0 0,13 0 16,0-13-16,0 0 0,-13 14 15,14-14-15,-1 0 0,0 0 16,0-14-16,1 14 0,-1 0 0,0 0 15,0-13-15,1 13 0,-1 0 0,0-13 16,0 13-16,-13-13 0</inkml:trace>
  <inkml:trace contextRef="#ctx0" brushRef="#br1" timeOffset="105342.78">23932 13189 0,'39'0'62,"-26"0"-62,1 0 16,-1 0-16,0 0 0,0 0 15,1 0-15,-1 0 16,0-13-16</inkml:trace>
  <inkml:trace contextRef="#ctx0" brushRef="#br1" timeOffset="105639.06">24302 13084 0,'-13'0'15,"26"0"-15,-39 0 16,12 13-16,14 0 16,0 0-16,0 1 0,-13-1 15,26 0-15,-13 0 16,-13 0-16,13 1 0,0-1 0,0 0 16,0 0-16,0 1 0,-13-1 15,-14 27 1,1-27-1,13 0-15,-1-13 0,1 13 16,0-13-16,13 13 16,-13-13-16,0 0 15</inkml:trace>
  <inkml:trace contextRef="#ctx0" brushRef="#br1" timeOffset="106534.78">24368 13229 0,'0'-13'0,"13"0"32,-39 39-1,13-13-16,13 1 1,0-1-16,0 0 16,13-13-1,0 0-15,0 0 16,1 0-16,-1-13 16,0 13-16,0-13 15,1 13-15,-14-14 0,13 14 0,0-13 16,0 13-1,0 0 1,1 13 15,12-26 1,-13 13-17,1-13-15,-1 13 16,0 0 15,-13 13-31,13-13 16,-13 13-16,13 1 31,1-14-31,-1-14 16,0 14-16,0 0 0,-13-13 15,14 0-15,-1 13 0,0-13 16,0-1-16,1 1 0,-1 0 0,0-13 15,0 12-15,14-12 0,-14-1 0,0 1 16,0 0-16,1 12 0,-1-12 16,-13 13-16,13-1 0,-13 1 0,13 13 15,-13-13-15,-13 26 32,0 0-32,0 1 15,13-1-15,-14 13 0,1-12 16,0 12-16,13-13 0,-13 0 15,13 14-15,-14-14 0,14 0 0,0 1 16,0-1-16,0 0 0,0 0 16,14 0-16,-1-13 15,0 0-15,0 0 16,1 0-16,-1-13 0,0 13 0,14-13 16,-14 13-16,-13-13 0,13 13 15,0 0-15,0 0 0,1 0 16,-1 13-1,-13 0 1,0 0 0,13-13-16,-13 14 15,13-14 1,1 0 0</inkml:trace>
  <inkml:trace contextRef="#ctx0" brushRef="#br1" timeOffset="106719.01">24897 13057 0,'-13'13'16,"40"1"15,-14-14-31,0-14 16,0 14-16,0 0 15,1 0-15,-14-13 16</inkml:trace>
  <inkml:trace contextRef="#ctx0" brushRef="#br1" timeOffset="106867.4">24646 13097 0,'0'13'0,"0"-26"0,-13 26 16</inkml:trace>
  <inkml:trace contextRef="#ctx0" brushRef="#br1" timeOffset="114251.16">19645 13229 0,'0'0'0,"-13"-13"31,0 0-31,0 13 0,-1 0 16,1 0-16,13-14 0,-13 14 0,0 0 15,-1 0-15,1 0 16,0 0-16,0 0 0,0 0 0,-1 0 15,1 14-15,0-14 16,0 0 0,13 13-16,-14-13 15,14 13-15,0 0 16,0 1 0,0-1-16,-13 0 0,26 0 15,-26 1-15,13 12 0,0 0 16,0 1-16,0 13 0,0-14 0,0 14 15,-13-1-15,13 1 0,0 0 0,-13-1 16,13 1-16,-13 0 0,13 0 16,-14-14-16,14 0 0,0 1 0,-13-14 15,13 14-15,0-14 0,-13 0 0,13 0 16,0 1-16,0-1 0,0 0 16,0 0-16,-13-13 0,13 13 15,13 1-15,0-14 31,0 0-15,1 0 0,-1-14-1,0 14 1,0 0 0,0 0-16,1 0 15,-1 0 16,-13 14-15,13-1 15,0-13-15,-13 13 0,14-26 171,-1 0-171,0 13-16,0-14 15</inkml:trace>
  <inkml:trace contextRef="#ctx0" brushRef="#br1" timeOffset="115260.76">22106 13348 0,'13'-13'15,"0"13"1,1 0-16,12 0 0,-13-13 16,14 13-16,-1 0 0,1 0 0,-1-13 15,1 13-15,-1 0 0,14 0 0,-14 0 16,1 0-16,-14-14 0,13 14 16,1 0-16,-14 0 0,0 0 15,14 0-15,-14 0 0,0 0 0,0 0 16,1 0-16,-14 14 15,0-1 1,-14-13-16,1 13 0,0-13 16,0 13-16,-14-13 0,1 13 15,13 1-15,-14-1 0,1-13 0,12 13 16,-12-13-16,13 13 0,-14-13 0,14 14 16,0-14-16,0 13 0,-1-13 15,1 0-15,0 13 0,0-13 16,-1 0-16,14 13 0,14 1 31,-1-14-31,0 0 16,0 0-16,14 0 0,-14 0 0,14 0 15,-1-14-15,-13 14 0,14 0 16,-1 0-16,1 0 0,-14-13 16,13 13-16,-13 0 0,14 0 0,-14 0 15,0 0-15,1-13 0,-1 13 16,0 0-16,0 0 0,1-13 0,-1 13 15,0 0-15,0 0 16,0 13 0,-13 0-16,0 0 0,0 1 15,-13-1-15,13 0 0,0 0 16</inkml:trace>
  <inkml:trace contextRef="#ctx0" brushRef="#br1" timeOffset="115793.01">22569 14010 0,'-27'0'31,"14"13"-31,-13 0 15,13-13-15,-1 13 0,-12 1 0,13-14 16,-14 13-16,14 0 0,-13 0 16,12-13-16,1 14 0,0-1 0,0-13 15,-1 0-15,1 13 0,0-13 0,0 13 16,-1-13-16,1 0 16,13 13-16</inkml:trace>
  <inkml:trace contextRef="#ctx0" brushRef="#br1" timeOffset="116147">22609 14049 0,'-14'14'47,"14"-1"-47,-13-13 0,13 13 15,-13-13-15,0 13 0,-1 1 16,1-1-16,0-13 16,13 13-16,-13-13 0,0 13 15,-1 0 1,1-13-16,0 14 15,0-14 1</inkml:trace>
  <inkml:trace contextRef="#ctx0" brushRef="#br1" timeOffset="120273.02">2236 4736 0</inkml:trace>
  <inkml:trace contextRef="#ctx0" brushRef="#br1" timeOffset="121693.84">3585 4485 0,'13'0'31</inkml:trace>
  <inkml:trace contextRef="#ctx0" brushRef="#br1" timeOffset="127209.93">2117 4577 0,'-14'0'32,"28"14"-1,-1-1-16,0 0-15,0-13 16,1 0-16,-1 0 0,-13 13 0,13-13 16,0 0-16,0 0 0,1 0 15,-1 0-15,0 0 0,14 0 0,-14 0 16,0-13-16,0 13 0,14 0 16,-14-13-16,0 13 0,0 0 15,1-13-15,-1 13 0,0 0 0,-13-14 16,13 14-16,1-13 0,-1 13 0,-13-13 15,13 13-15,0 0 0,-13-13 16,14 13-16,-14-14 0,13 14 0,-13-13 16,0 0-16,13 13 0,-13-13 0,0-1 15,13 14-15,-13-13 0,0 0 16,0 0-16,0 0 0,0-1 16,13 1-16,-26 0 0,13 0 15,0-1-15,0 1 16,0 0-16,0 0 0,0-1 15,0 1-15,-13 0 0,13 0 16,0 0-16,-13 13 16,13-14-16,0 1 0,-13 0 0,-1 0 15,14-1-15,-13 1 0,0 0 16,0 0 0,-40-27 30,-13 40 1,52 0-47,-197 53 94,197-53-94,-144 212 16,144-199-16,1 13 0,13 1 0,-13-14 15,13 40-15,-13-40 0,13 14 16,0-14-16,0 13 0,-13-12 16,13-1-16,0 0 0,13 0 0,-13 0 15,0 1-15,13-14 0,-13 13 16,13-13-16,0 0 0,1 0 15,-1 0-15,0 0 0</inkml:trace>
  <inkml:trace contextRef="#ctx0" brushRef="#br1" timeOffset="128746.78">8281 4286 0,'-13'-13'47,"13"0"-47,-13 13 16,13-13-16,0-1 15,-13 1-15,0 0 16,13 0-16,-14 13 0,1-27 16,0 14-16,0 0 0,-14 0 15,14-1-15,0 1 0,-1 13 16,1-13-16,0 13 0,-13-13 16,12 13-16,1-14 0,-13 14 0,12 0 15,-12 0-15,13 0 0,0-13 16,-14 26-16,14-13 0,0 0 0,-14 0 15,14 0-15,0 0 0,-14 14 0,14-14 16,0 0-16,0 13 16,-1-13-16,-25 26 0,25-26 15,1 14-15,0-1 0,0 0 0,-1 0 16,1-13-16,0 13 0,0 1 16,13-1-16,-13 0 0,-1 0 15,1-13-15,13 14 0,-13-1 0,0 0 16,-1 0-16,14 0 15,-13 1-15,13-1 0,-13 0 16,0 0-16,13 1 0,0-1 0,-14 0 16,14 0-16,0 1 15,0-1-15,0 0 0,0 0 0,0 0 16,0 1-16,0-1 0,14 13 16,-14-12-16,0-1 15,13 0-15,0 14 16,14-14-16,184 66 47,-197-79-47,131 0 31,-118 0-15,39-13-16,-13-14 15,92-65 16,-132 79-15,14-27-16,-1 0 16,-13-13-1,-13 40-15,0-13 16,0-1-16,0 14 0,-13-27 16,0 27-16,0 0 15,-27 0-15,0-14 16,27 14-16,-13 0 0,-1 13 0,-39-14 15,40 14 1,-40 0-16,26 14 16,27-1-16,-14-13 15,14 13-15</inkml:trace>
  <inkml:trace contextRef="#ctx0" brushRef="#br1" timeOffset="131953.43">2064 4577 0,'-13'27'31,"-1"-14"-31,14 0 0,-13 0 0,13 14 0,-13-1 16,0 14-16,-14 0 0,14-14 0,-14 27 16,1-13-16,13-1 0,-14 1 15,14 13-15,-13-26 0,12 12 0,-12 1 16,-1 13-16,14-27 16,0-12-16,-13 25 0,26-26 15,-14 14-15,1-14 16,13 0-16,-13 1 0,13-1 15,-13 0 1,13 0-16,-14 1 31,28-1 16,-1-13-47,27 13 16,-14-13-16,0 13 15,14-13-15,13 0 0,0 13 16,26-13-16,1 0 0,-1 0 0,0 14 16,14-14-16,-14 0 0,14 0 0,0 0 15,-14 13-15,14-13 0,-1 0 16,-12 0-16,12 0 0,1 0 0,-14 13 16,1-13-16,-1 0 0,0 0 0,-13 13 15,14-13-15,-27 0 0,0 14 16,13-14-16,-13 0 0,0 13 15,0-13-15,0 13 0,-14-13 0,1 0 0,0 13 16,-14-13-16,1 0 0,-1 13 16,-13-13-16,14 0 0,-14 0 15,0 0-15,0 0 0,1 0 0,-1 14 16,0-14-16,0 0 0,0 0 16,1 0-1,-1 0 1,0 13-16,0-13 47,1 0 0,-14-13-16,13 13-16,-13-14-15,13 1 0,-13 0 16,13 0-16,1 0 0,-1-14 16,-13 14-16,13 0 0,0-1 15,-13 1-15,13 0 0,1 13 0,-14-13 16,13 0-16,-13-1 0,13 1 0,0 0 16,-13 0-16</inkml:trace>
  <inkml:trace contextRef="#ctx0" brushRef="#br1" timeOffset="132197.97">4551 5318 0,'-13'0'47,"-1"13"-47,1 1 0,0-1 16,0 0-16,-1-13 0,1 13 16,0 1-16,0-14 0,0 13 0,-1 0 15,1-13-15,0 13 16,0-13-16,-1 0 15</inkml:trace>
  <inkml:trace contextRef="#ctx0" brushRef="#br1" timeOffset="132417.47">4445 5292 0,'13'0'0,"-13"13"0,13-13 0,-13 13 15,14-13-15,-1 13 0,0 1 0,-13-1 16,13 0-16,1-13 0,52 66 31,-53-66-31,13 13 16,-12-13-16,-14 14 0,13-14 0,0 0 16,0 0-1</inkml:trace>
  <inkml:trace contextRef="#ctx0" brushRef="#br1" timeOffset="133645.71">8480 4392 0,'-13'-13'0,"26"13"62,0 0-62,0-13 0,1 13 0,-1 0 16,0 0-16,13 0 0,-12-14 0,12 14 16,1 0-16,-1 0 0,1-13 15,12 13-15,1 0 0,0 0 16,13 0-16,-1-13 0,1 13 0,14 0 0,12-13 16,-13 13-16,13 0 0,-12 0 0,12 0 15,-13 0-15,13 0 16,1 0-16,-1 0 0,1 13 0,-1-13 15,0 13-15,1-13 0,-1 13 0,0 1 16,1-1-16,-14 0 0,13 0 16,1 1-16,-14 12 0,0-13 0,0 14 15,0-14-15,0 13 0,-13-12 0,0 12 16,13-13-16,-13 14 0,0-14 16,-13 13-16,0-12 0,-1-1 0,1 0 15,0 0-15,-14 14 0,1-27 0,-1 13 16,-13 0-16,14 0 0,-14-13 15,0 14-15,0-14 0,1 13 0,-1-13 16,0 0-16,0 13 0,1-13 16,-14 13-16,13-13 0,0 0 15,0 14 1,1-28 62,-14 1-47</inkml:trace>
  <inkml:trace contextRef="#ctx0" brushRef="#br1" timeOffset="134013.19">11523 4577 0,'26'27'31,"-26"-14"-15,13-13-16,1 13 0,-14 0 16,13 1-16,0-1 0,0 0 0,0 0 15,1 1-15,-1-1 0,0 0 0,0 0 16,1 0-16,-14 1 16,13-1-16,-13 0 0,13 0 0,0 1 15,-13-1-15,-13 0 0,13 0 16,-13-13-16,0 14 0,-1-14 15,-12 13-15,13 0 0,-14-13 0,1 13 16,-1-13-16,1 13 0,-14 1 16,0-1-16,14-13 0,0 13 0,-14 0 15,13-13-15,-12 14 0,12-1 16,-12 0-16</inkml:trace>
  <inkml:trace contextRef="#ctx0" brushRef="#br1" timeOffset="134765.64">9909 5265 0,'-14'0'0,"28"0"0,-1 13 31,13-13-31,1 0 16,26 14-16,0-14 0,13 0 0,13 13 16,14-13-16,-1 0 0,1 0 15,13 0-15,0 0 0,39 0 0,-13 0 16,1 0-16,12 13 0,1-13 0,-1 0 15,1 0-15,-14 0 0,14 0 16,-1 0-16,1 13 0,-14-13 0,0 0 16,1 14-16,-1-14 0,0 13 15,-39 0-15,13-13 0,-14 13 0,-12 1 16,12-14-16,-12 13 0,-1 0 0,0-13 16,-13 13-16,1 0 0,-28-13 15,14 14-15,-26-14 0,-1 13 16,1-13-16,-14 0 0,0 0 0,0 13 15,0-13-15,1 0 0,-41-13 32,14 13-17,0 0-15,0 0 0,-14-13 0,-26 13 16</inkml:trace>
  <inkml:trace contextRef="#ctx0" brushRef="#br1" timeOffset="136043.14">3731 5199 0,'-14'0'0,"14"13"0,27-13 31,-14 0-31,14 0 16,12 0-16,14 0 0,0 0 0,0 14 15,13-14-15,14 0 0,12 0 16,-13 0-16,14 0 0,13 0 0,-13 0 16,12 0-16,1 0 0,0 0 15,0 0-15,0 0 0,0 0 16,-1 0-16,1 0 0,0 0 0,0 0 0,0 0 15,-14 0-15,14 0 0,-13 0 0,-1 0 16,-12 0-16,-1 0 0,-13 0 16,0 0-16,-13 0 0,0 0 15,-26 0-15,12 0 0,-25 0 0,12 0 16,-13 0-16,1 0 16</inkml:trace>
  <inkml:trace contextRef="#ctx0" brushRef="#br1" timeOffset="153451.21">1508 9459 0,'66'0'16,"-26"0"-16,13 0 0,0 0 15,26 0-15,1 0 16,-1-13-16,0 13 0,1 0 0,-1-14 16,0 14-16,1-13 0,-1 13 0,1 0 15,-1-13-15,0 13 0,-13 0 16,-13-13-16,0 13 0,0 0 0,-13-14 16,0 14-16,-14 0 0,-13 0 0,14 0 15,-14-13-15,0 13 0,0 0 0,1 0 16,-1 0-1</inkml:trace>
  <inkml:trace contextRef="#ctx0" brushRef="#br1" timeOffset="154279.04">4948 9499 0,'13'26'16,"13"-26"-16,1 0 16,26 13-16,-14-13 0,14 13 15,27-13-15,-14 14 0,0-14 0,13 13 16,14-13-16,13 0 0,0 0 0,0 0 15,26 0-15,-26 0 0,-1 0 16,1-13-16,-13 13 0,13-14 0,-27 14 16,1-13-16,-1 13 0,-39 0 0,12-13 15,-25 13-15,-1 0 0,-12 0 16,-1 0-16</inkml:trace>
  <inkml:trace contextRef="#ctx0" brushRef="#br1" timeOffset="154560.71">5834 9684 0,'27'0'0,"-14"13"0,40-13 16,-14 0-16,54 0 15,-40 0-15,13 0 0,-13 0 16,13 0-16,-13 0 0,13 0 0,-13 0 16,13 0-16,-13 0 0,0 0 15,0 0-15,0 0 0,-13 0 0,-14 0 16,0 0-16,1 0 0,-1 0 0,1 0 16,-14 0-16,0 0 0,1 0 15,-1 0-15,0 0 0,0 0 16</inkml:trace>
  <inkml:trace contextRef="#ctx0" brushRef="#br1" timeOffset="155360.76">9710 9565 0,'-13'0'15,"26"0"-15,14 0 16,-14 0-16,13 0 0,1 0 16,-1 0-16,27 0 0,0-14 0,0 14 15,-13 0-15,26-13 0,-13 13 0,0-13 16,0 13-16,13 0 0,-13-13 16,0 13-16,0-13 0,26-1 15,-53 14-15,1 0 0,-1 0 16,-13-13-16,14 13 0,-14 0 0,0 0 15,1 0-15,-14-13 16</inkml:trace>
  <inkml:trace contextRef="#ctx0" brushRef="#br1" timeOffset="155625.66">9671 9644 0,'0'13'0,"145"14"31,-92-27-31,0 0 0,0 0 16,0 0-16,13 0 0,-13 0 0,13 0 16,-13 0-16,13 0 0,-13 0 0,-13 0 15,13 0-15,-14-13 0,-12 13 16,-14 0-16,13 0 0,-12 0 0,-1 0 15,0 0-15,0 0 0,0 0 16,1-14 0</inkml:trace>
  <inkml:trace contextRef="#ctx0" brushRef="#br1" timeOffset="157830.7">370 11007 0,'0'13'32,"0"0"-32,0 0 15,0 1-15,0-1 0,0 0 0,0 0 16,0 0-16,0 1 0,0 12 16,-13-13-16,13 1 0,0-1 0,0 0 15,0 0-15,0 14 0,0-14 16,0 0-16,0 0 15</inkml:trace>
  <inkml:trace contextRef="#ctx0" brushRef="#br1" timeOffset="158205.76">542 11033 0,'0'0'0,"-13"13"16,13 1-16,0-1 15,0 0-15,0 0 16,0 0-16,0 1 0,13-1 0,-13 0 16,14 0-16,-1-13 0,-13 14 0,13-1 15,0-13-15,1 0 0,-1 0 16,0 0-16,0 0 0,0 0 0,1 0 15,-1-13-15,0-1 16,-13 1-16,0 0 16,0 0-16,-13-1 0,13 1 0,-13 0 15,13 0-15,-14 0 0,1-1 0,0 1 16,13 0-16,-13 13 0,0-13 16,-1 13-16,1 0 15,-13 0-15,12 13 16,1 0-16,13 0 15,-13 1-15</inkml:trace>
  <inkml:trace contextRef="#ctx0" brushRef="#br1" timeOffset="159673.76">939 10954 0,'-26'0'47,"26"13"-47,-13-13 16,-1 13-16,14 0 15,-13-13 1,13 14-16,13-1 16,-13 0-16,14-13 15,-1 13-15,0-13 16,0 14-16,0-14 16,1 13-16,-1-13 0,0 13 15,0-13 1,-13 13-16,0 0 15,-13 1-15,0-14 16,0 13-16,-1 0 16,1-13-16,0 0 15,0 0-15,13 13 0,-13-13 16,-1 0-16,14 14 16</inkml:trace>
  <inkml:trace contextRef="#ctx0" brushRef="#br1" timeOffset="160222.6">1072 10914 0,'0'-13'31,"13"26"-15,0 0-1,-13 1-15,13-1 0,-13 0 16,13 0-16,-13 0 0,14 1 15,-14-1-15,0 0 0,13-13 0,-13 13 16,0 1-16,13-1 0</inkml:trace>
  <inkml:trace contextRef="#ctx0" brushRef="#br1" timeOffset="160706.87">1085 11086 0,'-13'-13'0,"52"-27"16,-26 27 0,1 0-16,-1-1 0,0 14 15,14-13-15,-27 0 0,13 0 0,0 13 16,0-13-16,1 13 0,-14-14 0,13 14 15,0-13-15,0 13 16,0 0 15,-13 13-15,0 1-16,0-1 16,14-13-16,-14 13 15,13 0-15,0-13 16,0 13-1,1-26-15,-1 13 16,0-13 0,0 13-1,-13-13-15,14 13 16,-14 13 15,13-13-31,-13 13 16,0 0-16,13 1 15,0-14-15</inkml:trace>
  <inkml:trace contextRef="#ctx0" brushRef="#br1" timeOffset="161231">1627 10755 0,'-13'-13'0,"13"40"47,0-14-47,0 0 0,0 0 0,0 0 16,0 1-16,0-1 0,0 0 0,0 0 15,0 1-15,0-1 0,0 0 16,0 0-16,0 1 16,0-1-16,0 0 15,-13 0 1,0 0-1,-1 1 1,14-1 0,-13 0-1,26 0 1,1-13 0,-1-13-1,0 13-15,-13-13 0,13 13 16,0-13-16,-13-1 15,14 14 1,-1 0 15,-13 14-15,13-1-16,0-13 16,-13 13-1,14-13-15,-1 0 16,0-13-1,0 13-15,-13-13 0,13 13 16,1-14-16,12 1 16</inkml:trace>
  <inkml:trace contextRef="#ctx0" brushRef="#br1" timeOffset="163097.7">3717 10067 0,'0'0'0,"27"-13"31,-1 13-15,-12 0-16,-1 0 0,0 13 15,0 1-15,0-1 16,-13 0-16,0 0 16,-13 1-16,13-1 0,-13 0 0,0 0 15,0 0-15,-1 1 16,1-1-16,0-13 0,13 13 15,-13-13-15,-1 13 16,28 1 15,-1-14-15,0 0-16,0 0 0,1 0 16,-1 0-16,0 0 15,0 0-15,14 0 16,-14 0-16,0 0 0,0-14 15,1 14 1</inkml:trace>
  <inkml:trace contextRef="#ctx0" brushRef="#br1" timeOffset="163403.72">4061 10001 0,'0'27'15,"0"-14"1,0 0-16,0 0 0,0 1 16,0-1-16,0 0 0,-13 0 15,13 1-15,0-1 0,0 0 0,0 0 16,-13 0-16,13 1 16</inkml:trace>
  <inkml:trace contextRef="#ctx0" brushRef="#br1" timeOffset="163954.73">3664 10610 0,'0'0'0,"27"-13"32,-14 13-32,0 0 15,1 13-15,-14 0 16,0 0 0,-14 0-16,14 1 0,0-1 15,-13 0-15,0 0 0,13 1 0,-13-14 16,13 13-16,-14 0 0,14 0 15,-13-13-15,13 14 0,-13-1 16,13 0 0,0 0-1,13-13-15,0 0 16,1 0-16,-1 0 0,0 0 16,0 0-16,14-13 0,-14 13 15,0 0-15,1 0 0,-1 0 0,0-13 16,0 13-16,0-13 0,1 13 15</inkml:trace>
  <inkml:trace contextRef="#ctx0" brushRef="#br1" timeOffset="164385.64">3956 10570 0,'0'-13'16,"0"26"-16,13-26 0,0 13 15,-13 13 1,13-13-16,-13 13 0,0 14 16,0-14-16,-13 0 15,13 0-15,-13 1 0,13-1 0,-13 0 16,-1-13-16,14 13 0,-13 1 16,13-1-16,-13 0 0,13 0 15,-13-13 1,39-13-1,-13 13 1,1 0-16,-1-13 0,0 13 0,0 0 16,14-13-16,-14 13 15,0 0-15,0 0 16</inkml:trace>
  <inkml:trace contextRef="#ctx0" brushRef="#br1" timeOffset="165135.29">3625 11126 0,'13'0'16,"13"0"-1,-12 0 1,-14 13-16,0 0 15,0 0-15,0 1 16,-14-1-16,14 0 0,-13-13 16,13 13-16,-13 1 0,13-1 15,-13 0-15,0-13 0,13 13 0,-14 0 16,14 1 0,-13-14-16,13 13 15,13-13 1,1 0-16,-1 0 15,0 0-15,0 0 0,14-13 16,-14 13-16,0 0 0,0-14 0,14 14 16,-14 0-16,0-13 0,1 13 15,-1 0-15,0-13 0</inkml:trace>
  <inkml:trace contextRef="#ctx0" brushRef="#br1" timeOffset="165472.75">3903 11086 0,'0'13'46,"0"0"-30,0 1-16,0-1 16,13-13-16,-13 13 0,13 0 15,0 1-15,-13-1 16,14-13-16,-14 13 16,13 0-16,-13 1 0,-13-1 15,13 0-15,0 0 0,-14-13 16,14 13-16,-13 1 15,0-1-15,0 0 0,13 0 0,-14 1 16,1-14-16,13 13 0,-13-13 0</inkml:trace>
  <inkml:trace contextRef="#ctx0" brushRef="#br1" timeOffset="166231.37">3545 11761 0,'0'0'16,"14"0"-16,-14-13 0,13 13 0,0 0 16,0 13-1,1 0-15,-14 0 16,0 0-16,0 1 0,-14-1 15,14 0-15,-13 0 0,13 1 16,-13-1-16,13 0 0,-13 0 0,-1 0 16,1 1-16,13-1 15,-13 0 1,26-13 0,0 0-1,1 0 1,-1 0-16,0 0 0,0 0 15,1-13-15,-1 13 0,0 0 0,13-13 16,-12-1-16,-1 14 0,0-13 16</inkml:trace>
  <inkml:trace contextRef="#ctx0" brushRef="#br1" timeOffset="166654.75">3876 11668 0,'27'27'31,"-27"-14"-31,0 0 16,13 0-16,-13 1 15,0-1-15,0 0 0,0 0 0,0 0 16,-13 1-16,13-1 0,0 0 0,0 0 15,-14 1-15,14-1 16,-13 0 0,40-39 15,-27 12-31,13 1 0,0 0 16,-13 0-16,13-1 0,-13 1 15,14-66 1,-14 66-16,0-1 0,0-12 0,0 13 15,-14-1-15,14 1 0,-13 0 16,0 0-16,0 0 16,-1 13-16,1 0 0,0 0 0,0 0 15,-1 0-15,14 13 0,-13-13 16,0 13 0</inkml:trace>
  <inkml:trace contextRef="#ctx0" brushRef="#br1" timeOffset="167354.53">3545 12488 0,'27'-13'0,"-54"26"0,67-26 16,-27 13-16,1 13 0,-1-13 15,-13 14-15,0-1 16,0 0-16,0 0 0,0 0 15,0 1-15,-13-1 0,-1 0 0,14 14 16,-13-14-16,13 0 0,-13 0 0,0 1 16,13-1-1,-14-13-15,14 13 0,-13 0 16,13 0-16,13-13 31,1 0-31,-1 0 16,0 0-16,0-13 0,14 0 15,-14 0-15,0 13 0,0-13 16,14-1-16,-14 1 0,0 0 16</inkml:trace>
  <inkml:trace contextRef="#ctx0" brushRef="#br1" timeOffset="167610.84">3942 12369 0,'-13'13'31,"0"1"-31,0-1 0,13 0 0,0 0 16,-14 1-16,14-1 0,0 0 16,14-13-16,-14 13 0,0 1 15,0-1-15,13-13 0,-13 13 0,13-13 16,0 13 0,1-13-16,-14-13 31,-14 0-31,1 13 15,0 0-15,0 0 16,-1 0-16,1 13 0,0 0 16,0 0-16</inkml:trace>
  <inkml:trace contextRef="#ctx0" brushRef="#br1" timeOffset="168248.65">3559 13018 0,'0'0'16,"13"-14"-16,0 14 16,0 14-16,1-14 15,-14 13-15,13-13 0,-13 13 0,0 0 16,0 0-16,0 1 15,0-1-15,-13 0 0,13 0 0,-14 1 16,14-1-16,-13 0 0,0 0 16,0 0-1,13 1 1,-14-14 0,28 13-1,-1-13 1,0 0-16,0 0 15,1-13-15,12 13 16,-13-14-16,0 14 16,1-13-16,-1 13 15</inkml:trace>
  <inkml:trace contextRef="#ctx0" brushRef="#br1" timeOffset="168617.69">3784 12991 0,'26'-13'16,"-13"13"0,0 0-16,1 13 15,-1-13-15,0 13 16,0-13-16,-13 14 16,14-1-16,-1 0 0,-13 0 15,0 0-15,13 1 16,-13-1-16,0 0 15,0 0-15,0 1 0,13-1 16,-13 0-16,0 0 16,-13-13-16</inkml:trace>
  <inkml:trace contextRef="#ctx0" brushRef="#br1" timeOffset="168810.76">3810 13150 0,'13'-13'0,"14"-1"15,-14 14-15,0-13 16,0 13-16,1 0 0,-1 0 0,0-13 16,0 13-16,1 0 0,-1 0 15,0 0-15,0 0 0,0 0 0,1-13 16</inkml:trace>
  <inkml:trace contextRef="#ctx0" brushRef="#br1" timeOffset="171773.84">5556 10358 0,'0'-26'0,"13"26"16,1 0-1,-1 13 1,-13 0-16,0 1 16,0-1-16,0 0 15,0 0-15,-13 1 0,13-1 16,-14 0-16,1 0 0,13 1 0,-13-1 16,13 0-1,0 0 1,13-13 15,0 0-15,1 0-16,-1 0 0,0 0 15,14-13-15,-14 13 0,0 0 16,0 0-16,1-13 0</inkml:trace>
  <inkml:trace contextRef="#ctx0" brushRef="#br1" timeOffset="172137.62">5953 10253 0,'-66'26'0,"26"1"16,27-27-16,0 13 16,13 0-16,-13-13 0,13 13 0,-14-13 15,14 13-15,14 1 16,-1-14-16,0 0 0,0-14 16,1 14-16,12 0 0,-13 0 0,0-13 15,1 13-15,-1 0 0,13 0 16,-26 13-1,14-13-15,-14 14 0,0-1 0,-14 0 16,14 0-16,0 1 0,0-1 16,0 0-16,-13 14 15,13-14-15,0 0 0,0 0 0,0 0 16,0 1-16</inkml:trace>
  <inkml:trace contextRef="#ctx0" brushRef="#br1" timeOffset="173628.97">5530 11060 0,'26'-14'16,"-13"14"0,1 0-16,-1 0 0,-13 14 15,13-1-15,-13 0 16,0 0-16,0 0 0,-13 1 15,13-1-15,-13 0 0,-1 0 16,14 1-16,-13-1 0,0 0 0,0 0 16,0-13-16,-1 14 0,14-1 15,-13-13-15,13 13 0,-13-13 0,0 13 16,26-13 15,0 0-15,0 0-1,1 0-15,-1 0 0,0 0 16,0 0-16,0 0 0,1-13 16,-1 13-16,0 0 15,-13-13-15</inkml:trace>
  <inkml:trace contextRef="#ctx0" brushRef="#br1" timeOffset="173950.73">5887 11033 0,'0'0'0,"-26"0"16,26 13-1,-14-13 1,14 14-16,0-1 15,14 0-15,-14 0 16,0 0-16,13 1 16,-13-1-16,-13 0 15,13 0 1,-14 1-16,1-14 0,0 13 16,0-13-16,-1 13 15,1-13-15,0 13 0,0-13 0,-1 0 16,1 14-16,0-14 0</inkml:trace>
  <inkml:trace contextRef="#ctx0" brushRef="#br1" timeOffset="178352.81">5464 11734 0,'13'0'47,"0"14"-47,-13-1 16,0 0-16,0 0 0,0 0 16,0 1-16,-13-1 0,13 0 15,-13 0-15,13 14 0,-14-14 16,1 0-16,0 0 0,13 1 0,-13-1 15,0 0-15,13 0 0,-14-13 0,14 14 16,-13-14-16,13 13 0,0 0 31,13-13-31,1 0 16,-1 0-16,0 0 16,0 0-16,0 0 0,1-13 15,-1 13-15,0 0 0,0 0 16,1 0-16,-1-13 0,0 13 15,0 0 1,0-14-16,1 14 16</inkml:trace>
  <inkml:trace contextRef="#ctx0" brushRef="#br1" timeOffset="180317.81">5768 11748 0,'0'-14'47,"13"41"109,-13-14-156,0 0 0,13-13 16,-13 13-16,14 1 0,-14-1 15,13 0-15,-13 0 0,0 1 16,0-1-16,0 0 0,0 0 15,-13 0-15,13 1 0,-14-1 16,1 0-16,0 0 0,0-13 16,13 14-16,-14-14 15,1-14 1,26 1 0,-13 0-16,14 13 15,-14-13-15,13-1 0,0 1 0,0 0 16,1 0-16,-1 0 0,0-14 0,0 14 15,1 0-15,-14-1 0,13 1 16,-13 0-16,0 0 0,13 0 0,-26-1 16,13 1-16,0 0 0,-13 13 15,-1-13-15,1 13 0,0-14 16,0 14-16,-1 0 0,1 0 16,0 14-16,0-14 0,-1 0 0,1 13 15,0-13-15,13 13 16,-13 0-16,13 1 0</inkml:trace>
  <inkml:trace contextRef="#ctx0" brushRef="#br1" timeOffset="182325.74">5517 12488 0,'0'0'0,"13"-13"0,0 13 16,-13-13-16,13 13 16,0 0-1,-39 13 16,13 0-31,0-13 16,-1 0-16,1 14 0,-13-1 16,12-13-16,1 0 15,0 13-15,0-13 16,26 13 0,0 0-1,0-13-15,1 14 0,-1-1 16,0-13-16,-13 13 0,13 0 15,-13 1 1,14-14-16,-14 13 0,-14 0 16,14 0-16,-13-13 0,13 14 15,-13-14-15,0 13 0,-1-13 16,1 13-16,0-13 0,13 13 16,-13-13-16,0 0 0,-1 13 15,1-13-15</inkml:trace>
  <inkml:trace contextRef="#ctx0" brushRef="#br1" timeOffset="182570.99">5768 12422 0,'13'0'15,"-13"13"1,0 1-16,0-1 0,0 0 16,13 0-16,-13 1 0,0-1 15,0 13-15,0-13 0,0 1 0,0-1 16,0 13-16,0-12 0,0-1 16,-13 0-16,13 0 0,0 1 15,0-1-15,0 0 0,0 0 16,13-13-16</inkml:trace>
  <inkml:trace contextRef="#ctx0" brushRef="#br1" timeOffset="198224.68">5953 12303 0,'-13'-13'156,"0"0"-156,-1 13 15,14-14-15,-13 1 16,0 13-16,13-13 16,-13 13-16,0-13 0,-1 13 15,14-13-15,-13 13 0,0-14 16,0 1 0,-1 13-16,1-13 0,0 13 15,0-13-15,-1 13 0,1 0 16,0-14-1,0 14-15,0 0 0,-14-13 16,14 13-16,0 0 16,-1 0-16,-12 0 15,13 0-15,-1 0 16,1 0-16,0 0 0,0 13 0,0-13 16,-1 0-16,1 0 0,0 14 15,-14-14-15,14 0 0,0 13 0,-13-13 16,12 0-16,-12 13 0,13-13 0,-1 13 15,-12-13-15,13 14 0,-14-1 16,1-13-16,13 13 0,-14 0 0,14 0 16,-14 1-16,14-14 0,0 13 0,0 0 15,-1 0-15,-12 1 0,13 12 16,0-13-16,-1 0 0,1 1 0,0 12 16,0-13-16,-1 14 0,1-14 15,13 14-15,-13-14 0,0 13 0,13 1 16,-14-1-16,14 1 0,0-14 15,-13 13-15,13 1 0,0-1 0,-13 1 16,13-1-16,0-13 0,13 14 0,-13-1 16,0 1-16,13-14 0,-13 13 15,14-12-15,-1 12 0,0-13 0,14 14 16,-1-1-16,-13-12 0,14-1 0,-1 13 16,1-13-16,-1 1 0,1-1 15,-1 0-15,14 0 0,-14 1 16,1-1-16,-14 0 0,13-13 0,1 13 15,-14 0-15,14-13 0,-1 0 0,-13 14 16,14-14-16,-14 0 16,0 0-16,14 0 0,-14 0 0,13 0 15,1 0-15,-14 0 0,13-14 0,14 1 16,-13 13-16,-1-13 0,0 0 0,14 0 16,-13 13-16,-1-14 0,1 1 15,-1 0-15,-13 13 0,14-13 0,-1-1 16,-13 1-16,27 0 0,-14 0 15,-12 0-15,-1-1 0,13-12 16,14-1-16,-27 14 0,14-13 16,-14-1-16,0 14 0,14-13 0,-14-1 15,0 14-15,0-14 0,1 14 0,-14 0 16,13-14-16,-13 14 0,13 0 16,-13 0-16,0-14 0,0 14 0,0 0 15,0 0-15,0-1 0,0 1 0,0 0 16,-13-14-16,13 14 0,-13 0 15,-1 0-15,1 0 0,0-1 0,0-12 16,-1 13-16,1-1 0,0 1 0,0 0 16,-14 0-16,14-1 0,0 1 15,-14 13-15,14-13 0,-13 0 16,12 13-16,-12-13 0,13 13 0,-14-14 0,14 14 16,-13 0-16,12-13 0,1 13 15,0 0-15,0 0 16,0 0-16,26 27 15,0-14 1,13-13-16</inkml:trace>
  <inkml:trace contextRef="#ctx0" brushRef="#br1" timeOffset="198749.83">6668 12541 0,'39'-13'31,"-26"13"-31,1 0 15,12-13-15,14 13 0,-1-13 16,14 13-16,14-14 0,-1 1 0,0 13 16,0-13-16,0 13 0,-13-13 0,0 13 15,0-14-15,0 14 0,-14-13 16,1 13-16,-13 0 0,-1 0 0,1-13 16,-14 13-16,13 0 0,-13 0 15,1 0-15,-1 0 0,0 0 16,0 0-16,-52 0 31,25 0-31,-12 0 16,13 0-16,-14 0 0,1 0 15,-14 0-15</inkml:trace>
  <inkml:trace contextRef="#ctx0" brushRef="#br1" timeOffset="199350.41">6720 12316 0,'-26'0'16,"26"14"-16,-13-14 15,0 13-15,-1 0 0,1 0 16,0 0-16,0 1 16,-1-14-16,1 13 0,0 0 15,0 0-15,-1 1 16,1-1-16,13 0 0,-13 0 16,13 1-1,0-1-15,0 0 16,0 0-16,13-13 0,-13 13 0,13 1 15,1-1-15,-1-13 0,0 13 0,0 0 16,14 1-16,-1-14 0,1 13 0,-1 0 16,14 0-16,-14 1 0,1-14 15,-1 13-15,1 0 0,-1-13 0,-13 13 16,14-13-16,-14 13 0,14-13 0,-14 0 16,0 14-16,0-14 15,0 0-15,1 13 0,-1-13 16,-13 13-16,0 0 15,-13-13 1,-1 14-16,1-14 0</inkml:trace>
  <inkml:trace contextRef="#ctx0" brushRef="#br1" timeOffset="204163">4313 10186 0,'0'-13'32,"0"0"-32,0 0 15,0 0 1,0-1-16,0 1 0,0 0 15,0 0-15,0-1 0,0 1 16,-14 0-16,14 0 0,0-14 16,-13 14-16,13 0 0,-13 0 0,13-1 15,-13 1-15,0 0 0,-1 0 16,1-1-16,0 1 0,0 0 0,-1 0 16,1-1-16,0 1 0,-13 0 0,12 0 15,1 13-15,0-13 0,0-1 16,-1 14-16,1-13 0,0 0 0,0 13 15,-1-13-15,1 13 0,0-14 16,0 14-16,0 0 0,-1-13 16,1 13-16,-13 0 0,12 0 0,1 0 15,0 0-15,-14 0 0,14 13 0,-13-13 16,13 0-16,-1 0 0,-12 14 16,13-14-16,-14 13 0,14-13 0,-14 13 15,14 0-15,-13 1 0,-1-1 0,14 0 16,-13 0-16,-1 0 0,1 14 15,-1-14-15,14 0 0,0 1 0,-14-1 16,1 13-16,13 1 0,-14-14 0,14 13 16,-13 1-16,12-14 15,1 14-15,-13-1 0,12-13 0,1 14 16,-13-1-16,12 1 0,-12-1 0,13 1 16,-14-1-16,14 1 0,-13-1 15,12 0-15,1 1 0,0-1 0,0 1 16,-1-1-16,1 1 0,13-1 0,-13 1 15,0 12-15,13-12 0,0 12 16,0-12-16,-13-1 0,13 1 0,0-1 16,0 1-16,0-1 0,13 14 0,-13-14 15,0 1-15,0-1 0,0 1 16,0-1-16,0 1 0,0-1 0,0 1 16,13-1-16,-13 0 0,0 1 15,0-1-15,0 1 0,0 13 16,13 158-1,-13-158-15,0-14 16,0 14-16,0 0 0,0-1 16,0 1-16,13-14 0,-13 14 0,0-13 15,0 12-15,14-12 0,-14 12 0,0-12 16,13 12-16,-13-12 0,0-1 16,13 1-16,-13-1 0,0 1 0,13 12 15,-13-12-15,0 13 0,14-14 0,-14 1 16,0-1-16,0 0 0,0 14 15,0-13-15,0-1 0,0 0 16,0 1-16,13-1 0,-13 1 0,0 13 16,0-14-16,0 0 0,0 1 0,0-1 15,0 1-15,0-1 0,0 1 16,0-1-16,13 1 0,-13-1 0,0 1 16,0-1-16,0 1 0,13-1 0,-13 0 15,14-12-15,-1 12 0,-13 1 16,13-14-16,-13 13 0,13-12 0,0 12 15,1-13-15,-1 14 0,0-14 0,-13 0 16,13 14-16,1-14 0,-1 0 16,0 13-16,0-12 0,1-1 15,-1 0-15,0 0 0,0 1 0,-13-1 16,13 0-16,1 0 0,-1 1 0,0-1 16,0-13-16,1 13 0,-1 0 15,0 0-15,0-13 0,-13 14 0,13-1 16,1-13-16,-1 13 0,-13 0 0,13-13 15,-13 14-15,13-14 0,1 13 16,-1 0-16,0 0 16,0 1-16,1-1 0,-1-13 15,-13 13-15,13-13 0,0 13 16,0 0-16,1-13 0,-1 14 16,0-14-16,-13 13 15,13-13-15,1 0 0,-1 13 16,0-13-16,0 0 0,1 0 15,-1 0-15,0 0 0,0 0 16,0 0-16,1 0 0,-1 0 0,0 0 16,14 0-16,-14 0 0,0 0 15,14 0-15,-14-13 0,13 13 0,-13-13 16,14 13-16,-14-14 0,0 1 0,14 0 16,-14 13-16,14-13 0,-14 0 15,0-1-15,0 1 0,14 13 0,-14-13 16,-13 0-16,13-1 0,0 1 0,1 0 15,-1 0-15,0-1 0,0 1 16,0 0-16,-13 0 16,14-14-16,-1 14 0,-13 0 0,13 0 15,-13-1-15,0 1 0,13-13 0,-13 12 16,14 1-16,-14 0 0,0-13 16,13 12-16,-13 1 0,0-13 0,0 12 15,13 1-15,-13 0 0,0 0 0,0-14 16,13 14-16,-13 0 0,0 0 15,0-14-15,0 14 0,0 0 16,0-1-16,0-12 0,0 13 0,0-14 0,14 1 16,-14 13-16,0-14 0,0 14 15,13-14-15,-13 14 0,0 0 16,0 0-16,13 0 0,-13-1 0,0 1 16,0 0-16,13 0 0,-13-1 0,0 1 15,13 0-15,-13 0 16,14-1-16,-14 1 0,13 0 0,0 13 15,-13-13-15,13 0 0,1-1 0,-1 1 16,-13 0-16,13 0 0,0 13 16,1-14-16,-14 1 0,13 13 0,0-13 15,0 0-15,0-1 16,1 14-16,-1-13 16,0 13-16,-13-13 0,13 13 15,1 0-15,-1-13 0,0 0 16,0 13-16,0 0 0,1-14 15,-1 14-15,0-13 0,0 13 0,1 0 16,-1-13-16,0 0 0,0 13 16,1 0-16,-1-14 0,0 14 15,0 0-15,0-13 0,1 13 16,-1 0-16,-13-13 0,13 13 0,0-13 0,1 13 16,12 0-16,-13-13 0,1 13 15,-1-14-15,0 14 0,13-13 0,-12 13 16,-1 0-16,13-13 0,-12 13 0,-1 0 15,13 0-15,-12-13 16,12 13-16,-13 0 0,14-14 0,-1 14 16,-13 0-16,14-13 0,-1 13 0,1 0 15,-1-13-15,1 13 0,-1 0 0,1 0 16,-1-13-16,0 13 0,14 0 16,-13-14-16,-1 14 0,14 0 0,-14 0 15,14-13-15,-14 13 0,1 0 0,26-13 16,-27 13-16,1 0 0,12 0 15,-12-13-15,-1 13 0,1 0 0,-1 0 16,14-13-16,-14 13 0,1 0 0,-14-14 16,13 14-16,1 0 15,-14 0-15,14-13 0,-14 13 0,0 0 16,14-13-16,-14 13 0,0-13 0,0 13 16,0 0-16,-13-14 0,14 14 15,-1 0-15,0-13 0,0 13 0,-13-13 16,14 13-16,-1-13 0,0-1 0,0 1 15,1 13-15,-14-13 16,13 0-16,0 0 0,0 13 0,-13-14 16,13 1-16,-13 0 0,14 13 0,-14-13 15,0-1-15,13 1 0,-13 0 16,13 0-16,-13 0 0,0-1 0,0-12 16,13 13-16,-13-1 0,0-12 15,0-1-15,0 14 0,0-13 16,14-1-16,-14 1 0,0-1 0,0 1 15,13-1-15,-13 1 0,0 13 0,0-14 16,0 14-16,0-13 0,0 12 16,0-12-16,0-1 0,-13 14 15,13-13-15,0 13 0,0-14 0,0 1 0,-14 12 16,14-12-16,0-1 0,0 14 16,0-13-16,0-1 0,0 1 0,0-1 15,0 14-15,-13-13 0,13-1 0,0 1 16,0-1-16,0 1 0,0 13 15,0-14-15,0 1 0,0 13 16,0-14-16,0 14 0,-13-14 0,13 14 16,0-13-16,0 12 0,0-12 0,0 13 15,0-14-15,-13 14 0,13-13 16,0 12-16,-14-12 0,14 0 0,-13 12 16,0-12-16,0 13 0,13-14 0,-13 14 15,-1-14-15,1 14 0,0-13 16,0 13-16,-1-14 0,14 14 0,-13 0 15,0-14-15,0 14 0,-1 0 0,1-14 16,13 14-16,-13 0 16,0 0-16,0-1 0,-1-12 0,1 13 0,0-1 15,0 1-15,-1 0 0,1 0 16,-13-1-16,12 1 0,-12 0 16,13 13-16,-14-13 0,1 0 0,13-1 15,-14 14-15,1-13 0,-14 0 0,14 13 16,-1-13-16,1 13 0,-1 0 15,1-14-15,-1 14 0,14 0 0,-13 0 16,12-13-16,1 13 0,0 0 0,-14 0 16,14 0-16,0 0 0,0-13 15,0 13-15,-14 0 0,14 0 16,0 0-16,-1 0 0,1 0 0,0 0 0,0-13 16,-1 13-16,1 13 15,0-13-15,0 0 16,0 0-16,-1 0 15,1 0-15,0 0 0,0 0 16,-1 13 0,1-13-16,0 0 15,0 0-15,13 13 0,-13-13 16,-1 0-16,1 0 0,0 14 16,0-14-16,-1 0 0,1 0 0,0 0 15,0 0-15,-1 13 0,1-13 0,-13 0 16,13 0-16,-14 0 0,14 0 15,-14 0-15,1 13 0,-1-13 16,14 0-16,-13 0 0,-1 13 0,14-13 16,-13 0-16,-1 0 0,14 14 15,-14-14-15,14 0 0,-13 0 0,13 13 16,-14-13-16,14 0 0,0 0 0,-1 0 16,1 0-16,-13 13 0,12-13 15,1 0-15,0 0 0,0 0 16,0 13-16,-1-13 0,1 0 0,0 0 15,0 0-15,-1 13 16,1-13-16,0 0 16,0 0-16,0 0 0,-1 0 15,14 14-15,-13-14 0,0 0 0,0 0 0,-1 13 16,1-13-16,0 0 16,0 13-16,-14-13 0,14 0 0,-13 0 15,12 13-15,1-13 16,0 0-16,0 0 0,-1 0 15,14 14-15,-13-14 0,0 0 16,0 0-16,-1 0 0,1 0 16,0 0-16,0 0 15,0 0-15,-14 0 16,27-14 0</inkml:trace>
  <inkml:trace contextRef="#ctx0" brushRef="#br1" timeOffset="206944.61">8930 10014 0,'0'-13'15,"0"53"1,0-27 0,0 0-16,0 1 0,-14-1 0,14 0 15,0 0-15,0 14 0,-13-14 16,13 0-16,0 0 0,0 1 0,-13-1 16,13 0-16,0 0 15,0 1 1</inkml:trace>
  <inkml:trace contextRef="#ctx0" brushRef="#br1" timeOffset="207221.89">9036 10054 0,'-14'27'15,"14"-14"1,0 0-16,0 0 15,14 1-15,-14-1 0,13-13 0,-13 13 16,13-13-16,0 13 0,0-13 0,1 0 16,-1 0-16,0 0 0,0 0 15,1-13-15,-1 13 0,0-13 0,0 0 16,-13-1-16,0-12 16,-13 26-1,13-13-15,-13 13 0,13-14 0,-13 14 16,-1-13-16,1 13 0,-13 0 15,12 0-15,1 13 16,0-13-16,13 14 0</inkml:trace>
  <inkml:trace contextRef="#ctx0" brushRef="#br1" timeOffset="207718.67">9353 10160 0,'13'0'0,"0"-13"16,1 13-16,-1 0 16,0 0-16,0 0 0,1 0 0,12-13 15,-13 13-15,1 0 16,-1 0-16,0 0 0,0 0 16,0 0-16,1-14 15,-1 14-15,0 0 16,-13-13-1,13 13-15</inkml:trace>
  <inkml:trace contextRef="#ctx0" brushRef="#br1" timeOffset="208132.65">9512 9975 0,'26'13'32,"-13"0"-17,1-13-15,-1 0 16,0 13-16,0 1 0,1-14 16,-1 13-16,0-13 0,0 13 15,1-13-15,-1 13 0,0 1 16,0-14-16,-13 13 0,0 0 0,0 0 15,0 1-15,-13-1 0,0 0 16,0 13-16,-1-12 0,-12-1 16,-1 13-16,14-12 0,0-1 0,0 0 15,-1 0-15,-12 1 0</inkml:trace>
  <inkml:trace contextRef="#ctx0" brushRef="#br1" timeOffset="211833.08">10583 9975 0,'-13'0'16,"40"0"31,-14 0-47,0 0 16,0-13-16,0 13 0,1 0 15,-1 0-15,13 0 16,-12 0-16,-1 13 15,0 0-15,-13 0 16,0 0-16,0 1 16,0-1-16,-13 0 0,13 0 0,0 1 15,-13 12-15,13-13 0,0 1 0,-14-1 16,14 0-16,0 0 0,-13 0 16,13 1-16,0-1 0,0 0 15,0 0 1</inkml:trace>
  <inkml:trace contextRef="#ctx0" brushRef="#br1" timeOffset="212064.78">10530 10173 0,'14'-13'31,"-1"13"-31,0 0 0,-13-13 16,13 13-16,1 0 15,-1 0-15,0 0 0,0 0 0,0 0 16,1-13-16,-1 13 0,0 0 0,0 0 16,1 0-16,-1 0 0,0-14 15,0 14-15,1 0 0,-1 0 16,0 0-16</inkml:trace>
  <inkml:trace contextRef="#ctx0" brushRef="#br1" timeOffset="212590.81">10993 10028 0,'-13'-14'16,"0"14"0,0 0-1,0 14 1,-1-14-16,1 0 16,13 13-16,-13-13 15,13 13-15,0 0 31,13 1-31,-13-1 16,13-13-16,-13 13 16,14-13-16,-14 13 0,13 1 15,-26-1 1,-1-13-16,14 13 16,-13-13-16,0 13 0,0-13 15,-1 13-15,1-13 0,0 0 16,0 14-16</inkml:trace>
  <inkml:trace contextRef="#ctx0" brushRef="#br1" timeOffset="213365.62">11205 10081 0,'0'26'16,"-13"-13"-1,13 1-15,0-1 0,-13 0 16,13 0-16,-14 0 0,1 1 15,0-1-15,0 0 16,13 0-16,-14 1 0,1-1 16</inkml:trace>
  <inkml:trace contextRef="#ctx0" brushRef="#br1" timeOffset="213750.52">11589 9948 0,'-40'14'0,"27"-14"15,13 13-15,-13 0 0,13 0 0,-14 0 16,14 14-16,-13-14 0,13 0 15,0 1-15,-13-1 0,26-13 0,-13 13 16,0 0-16,13 1 0,-13-1 16,14-13-1,-1 0 1,-13-13 0,0-1-1,0 1 1,0 0-16,-13 13 15,-1 0 1,1 0-16</inkml:trace>
  <inkml:trace contextRef="#ctx0" brushRef="#br1" timeOffset="214018.79">11642 9948 0,'13'0'0,"-13"14"32,0 12-32,0-13 15,0 0-15,0 1 0,13-1 0,-13 0 16,13 0-16,-13 1 16,14-1-1,-1-13 1,-40 0 46</inkml:trace>
  <inkml:trace contextRef="#ctx0" brushRef="#br1" timeOffset="214170.14">11748 10094 0,'13'13'0,"-26"-26"0,39 39 0,-26-12 16,13-1-16,-13 0 15,0 0-15,0 0 16,-13 1-16,13-1 16,0 0-16,0 0 15</inkml:trace>
  <inkml:trace contextRef="#ctx0" brushRef="#br1" timeOffset="-214469.94">12290 9922 0,'13'-13'0,"0"13"16,-13-14 0,-26 28 15,13-14-16,-1 13-15,1-13 0,0 0 16,13 13-16,-13-13 0,0 13 16,13 1-1,13-1 1,0 0-16,-13 0 16,13-13-16,-13 13 0,13-13 15,-13 14-15,0-1 0,0 0 16,0 0-16,0 1 15,-13-14-15,0 13 0,0 0 16,0-13-16,-1 0 0,1 13 16,0-13-16,0 14 15,-1-14-15,1 0 16</inkml:trace>
  <inkml:trace contextRef="#ctx0" brushRef="#br1" timeOffset="-214183.87">12475 9922 0,'0'0'16,"-13"0"-16,0 0 0,-1 0 16,1 13-1,13 0 1,13 1-16,-13-1 15,14 0-15,-14 0 16,13-13-16,-13 13 0,0 1 0,13-14 16,-13 13-16,0 0 0,0 0 15,-13 1-15,13-1 16,-13-13-16,13 13 0,-14-13 0,1 13 16,13 1-16,-13-14 0,0 13 0,-1-13 15,1 13 1</inkml:trace>
  <inkml:trace contextRef="#ctx0" brushRef="#br1" timeOffset="-214018.88">12607 10081 0,'27'39'15,"-27"-25"-15,0-1 0,0 0 16,-13 0-16,13 0 0,-14 1 15,1 12-15,0-13 0,0 1 0,13-1 16,-14 0-16,1 0 0</inkml:trace>
  <inkml:trace contextRef="#ctx0" brushRef="#br1" timeOffset="-212757.02">13057 9869 0,'-26'0'31,"13"13"-31,-1-13 15,14 13-15,-13 1 0,0-1 16,0 0-16,-1 0 16,14 1-16,-13-14 0,13 13 15,-13 0-15,13 0 0,0 0 16,0 1 0,0-1-16,13 0 15,0-13-15,1 13 0,-1-13 16,0 0-16,0 14 15,1-14-15,-1 0 0,0 0 0,0 0 16,0 0-16,1-14 0,-1 14 16</inkml:trace>
  <inkml:trace contextRef="#ctx0" brushRef="#br1" timeOffset="-212554.01">13110 9935 0,'-13'27'16,"0"-27"-16,13 13 16,0 0-16,-14 0 0,14 0 0,0 1 15,-13 12-15,13-13 0,-13 1 16,13-1-16,-13 0 0,13 0 0,0 1 16,-13-1-16,13 0 0,0 0 15,-14 0-15,28 1 16</inkml:trace>
  <inkml:trace contextRef="#ctx0" brushRef="#br1" timeOffset="-212246.97">13309 9922 0,'-67'26'31,"67"-12"-31,0-1 16,0 0-16,0 0 16,0 0-16,0 1 0,0-1 15,0 0-15,0 0 0,0 14 16,-13-1-1,0-12-15,13-1 0,-13 0 16,-1 0-16,14 0 0,-13-13 16,13 14-1</inkml:trace>
  <inkml:trace contextRef="#ctx0" brushRef="#br1" timeOffset="-212070.22">13428 10094 0,'13'40'15,"-13"-27"-15,0 0 16,-13 0-16,13 0 0,-14 1 16,14-1-16,0 0 0,-13 0 0,13 1 15</inkml:trace>
  <inkml:trace contextRef="#ctx0" brushRef="#br1" timeOffset="-211495.05">13626 9922 0,'0'26'47,"0"-12"-47,13-1 0,-13 0 15,0 0-15,0 0 0,0 1 16,0-1-16,0 0 0,-13 0 0,0 14 16,0-14-16,-1 0 15,1 1-15,0-14 16,0 13-16,-1-26 31,28-1-31,-1 1 16,0 0-16,0 0 15,1-1-15,-1 1 0,0 13 0,0-13 16,0 0-16,1-1 0,-14 1 0,13 0 16,-13 0-16,13 0 0,-13-1 15,0 1-15,0 0 0,0 0 16,0-1-16,-13 14 15,13-13-15,-13 13 16,-1 0-16,1 0 0,0 0 16,13 13-16,-13-13 0,13 14 15</inkml:trace>
  <inkml:trace contextRef="#ctx0" brushRef="#br1" timeOffset="-211187.07">13798 9922 0,'-13'26'15,"13"-12"-15,-13-1 0,13 0 16,0 0-16,0 0 16,0 1-16,13-1 15,-13 0-15,13-13 0,-13 13 16,13-13-16,0 0 0,14 0 15,-27-13-15,13 13 16,0 0-16,-13-13 0,0 0 16,14-1-16,-28 14 0,14-13 0,0 0 15,-13 0-15,0 0 16,0 13-16,-1 0 0,1 0 0,-13 0 16,13 0-16,-1 0 15,1 13-15,0 0 16</inkml:trace>
  <inkml:trace contextRef="#ctx0" brushRef="#br1" timeOffset="-210872.88">14116 10134 0,'0'26'15,"0"-13"1,0 0-16,-14 1 0,14-1 0,-13 0 15,13 0-15,-13 1 0,0-1 16,-1 0-16,1 0 0,13 1 0,-13-1 16,0-13-16,13 13 0,-14-13 0,14 13 15</inkml:trace>
  <inkml:trace contextRef="#ctx0" brushRef="#br1" timeOffset="-209166.65">14605 9829 0,'-13'13'32,"0"1"-32,-1-14 0,14 13 0,-13 0 15,0 0-15,13 1 0,-13 12 0,-1-13 16,14 1-16,-13-1 0,0 0 16,13 0-16,0 0 0,-13 1 15,13-1-15,0 0 0,0 0 16,0 1-1,13-1-15,0-13 16,-13 13 0,13-13-16,1 13 15,-1-13 32,0-13-31,-13 0-1,13 0 1,-26-1 0,13 1-1,-13 13 1,13-13-16,-13 13 16,13-13-16,-14 13 15,1 13 1,0-13-16</inkml:trace>
  <inkml:trace contextRef="#ctx0" brushRef="#br1" timeOffset="-208538.66">14777 9869 0,'13'-13'0,"0"-1"16,1 14 15,-14-13-16,13 13 1,-13 13 47,0 1-63,0-1 15,0 0-15,0 0 0,13 1 16,-13-1-16,0 0 0,0 0 15,0 1-15,-13-1 0,13 0 0,0 0 16,0 0-16,-13 1 0,13-1 0,0 0 16,-14 0-16,14 1 0,-13-14 15,0 0-15,13 13 16,-13-13-16,0 0 16,13-13-16,-14-1 15,28 1 1,-1 0-16,0 0 15,0-1-15,-13 1 0,13 0 16,1 0-16,-1 0 0,0-1 16,-13 1-16,13 0 0,-13 0 0,0-1 15,14 1-15,-14 0 0,0 0 0,0-1 16,-14 1-16,1 0 16,0 13-16,0 0 15,-1 13-15,1-13 0,0 0 16,0 13-16,13 1 0,-13-14 15,-1 13-15,14 0 0</inkml:trace>
  <inkml:trace contextRef="#ctx0" brushRef="#br1" timeOffset="-208362.54">14962 10028 0,'0'0'0,"0"26"0,0-13 0,0 1 16,0-1-16,0 0 0,-13 0 16,13 1-16,0-1 0,-13-13 0,13 13 15,0 0-15,0 0 0,0 1 0</inkml:trace>
  <inkml:trace contextRef="#ctx0" brushRef="#br1" timeOffset="-207919.44">15227 9842 0,'66'0'31,"-53"0"-31,14 0 15,-14 0-15,0 0 16,0 14-16,-13-1 0,14-13 16,-14 13-16,0 0 0,13-13 0,-13 14 15,0-1-15,0 0 0,0 0 0,0 1 16,0-1-16,-13 0 0,13 0 16,0 0-16,0 1 0,-14-1 0,14 0 15,0 0-15,0 1 0,0-1 0,-13 0 16,13 0-16</inkml:trace>
  <inkml:trace contextRef="#ctx0" brushRef="#br1" timeOffset="-207723.78">15227 10028 0,'0'0'0,"13"-14"16,0 14-16,0 0 0,1-13 0,-1 13 16,0 0-16,0 0 0,1-13 0,-1 13 15,13 0-15,-12 0 0,-1 0 16,13-13-16,-13 13 0,1 0 0</inkml:trace>
  <inkml:trace contextRef="#ctx0" brushRef="#br1" timeOffset="-207342.07">15637 9803 0,'0'26'32,"0"-13"-32,0 1 0,0-1 0,0 0 15,0 0-15,0 14 0,-13-14 0,-1 0 16,14 1-16,-13-1 0,0 13 0,0-13 15,0 1-15,13-1 16,-14-13-16,1 13 16,26-39 15,1 12-31,-14 1 0,13 0 16,13 0-16,-13-14 0,1 14 0,12-13 15,-13 12-15,1-12 0,-14 13 16,13-1-16,0 1 0,-13 0 0,0 0 15,0 0-15,0-1 0,0 1 16,-13 13-16,13-13 0,-13 13 16,-1 0-16,-12 0 15,13 0-15,-1 13 0,1 0 16,0 1 0</inkml:trace>
  <inkml:trace contextRef="#ctx0" brushRef="#br1" timeOffset="-206906.06">15729 10094 0,'14'13'16,"-14"0"0,0 1-16,-14-1 15,14 0-15,0 0 0,-13 0 0,13 1 16,-13-1-16,13 0 15,-13-13-15,13 13 0</inkml:trace>
  <inkml:trace contextRef="#ctx0" brushRef="#br1" timeOffset="-204890.03">16021 9856 0,'13'0'47,"-26"-14"16,-1 14-48,1 0 1,0 0 0,13 14-16,0-1 15,0 0-15,0 0 0,13 1 16,-13-1-16,0 0 0,13 0 15,-13 1-15,14-1 16,-14 0-16,0 0 0,0 0 16,-14 1-1,1-1-15,0-13 16,0 0-16,-1 0 0,1 0 16,0 0-1,0 0-15,13-13 16,13-1-1,-13 1-15,13 13 16,-13-13-16,13 0 0,1 13 0,-14-13 16,13-1-16,0 1 15,-13 0-15,13 0 16,-13-1-16,0 1 16,-13 0-16,13 0 0,-13-1 31</inkml:trace>
  <inkml:trace contextRef="#ctx0" brushRef="#br1" timeOffset="-204689.77">16113 9909 0,'0'0'0,"13"26"0,1-26 0,-1 13 15,0-13 1,-13 14-16,13-14 15,0 0-15,1 0 16,-14-14-16,0 1 16,0 0-1,0 0-15,0-1 16,-14 14-16,1-13 0,0 0 0,0 0 16,-14 13-16,14-14 0,-13 14 0,-14-13 15,14 13-15,-27 0 0,0 0 0</inkml:trace>
  <inkml:trace contextRef="#ctx0" brushRef="#br1" timeOffset="-204027.15">11576 10081 0</inkml:trace>
  <inkml:trace contextRef="#ctx0" brushRef="#br1" timeOffset="-202563.33">15438 10001 0,'14'0'16</inkml:trace>
  <inkml:trace contextRef="#ctx0" brushRef="#br1" timeOffset="-202362.8">15968 9935 0</inkml:trace>
  <inkml:trace contextRef="#ctx0" brushRef="#br1" timeOffset="-201810.81">16536 9962 0,'14'0'0,"-14"13"15,0 0-15,0 0 0,0 0 16,-14 14-16,14-14 0,-13 0 16,0 1-16,0 12 0,-14-13 15,1 14-15,-1-1 0,14-13 16,-13 14-16</inkml:trace>
  <inkml:trace contextRef="#ctx0" brushRef="#br1" timeOffset="-199303.9">16880 9935 0,'14'0'0,"-14"-13"16,0 0-1,13-1-15,-26 1 16,13 0-16,-14 0 16,1-1-1,0 14-15,0 0 0,0 0 0,-1 0 16,1 14-16,0-14 0,0 0 0,-14 13 15,14 0-15,-14-13 0,14 13 0,0 1 16,0-1-16,0-13 0,-1 13 16,14 0-16,-13-13 0,13 14 15,13-1-15,-13 0 16,14-13-16,-1 0 16,0 0-16,0 0 0,0 0 0,1 0 15,-1 0-15,0-13 0,0 13 0,1 0 16,-1-13-16,0 13 0,0 0 15,-13-14-15,14 14 0,-1 0 16,0 14 0,-13-1-16,0 0 15,0 0-15,0 0 0,0 1 16,0-1-16,0 0 0,0 0 16,0 1-16,-13-1 0,13 0 15,0 0 1,0 1-16</inkml:trace>
  <inkml:trace contextRef="#ctx0" brushRef="#br1" timeOffset="-198923.96">17145 9869 0,'-26'0'0,"12"0"0,1 0 15,0 13-15,0-13 0,-1 13 0,1-13 16,0 14-16,0-14 0,-1 13 0,1 0 16,13 0-1,-13-13-15,26 14 16,0-14-16,1 0 0,-1-14 15,0 14-15,0 0 0,1 0 16,-1 0-16,0 0 16,0 0-16,1 14 15,-14-1-15,0 0 16,0 0-16,0 0 16,0 1-16,-14-1 0,14 0 15,0 0-15,0 1 0,-13-1 0,13 0 16,0 0-16,0 1 15</inkml:trace>
  <inkml:trace contextRef="#ctx0" brushRef="#br1" timeOffset="-198715.19">17357 10094 0,'13'0'16,"0"13"-1,-13 0-15,0 1 16,0-1-16,-13 0 16,13 0-16,0 0 0,-13 1 0,13-1 15,0 0-15,-14 0 16,14 1-16</inkml:trace>
  <inkml:trace contextRef="#ctx0" brushRef="#br1" timeOffset="-198149.04">17899 9909 0,'0'0'0,"-13"-14"0,0 14 0,-14 14 15,14-14-15,0 0 0,-1 0 0,1 13 16,0-13-16,0 13 0,0-13 16,-1 13-16,1-13 0,0 14 0,0-14 15,13 13-15,-14-13 0,14 13 16,14-13 0,-1 0-16,0 0 0,0 0 15,1 0-15,12-13 0,-13 13 0,14 0 16,-14-13-16,0 13 0,0 0 15,1 0-15,-1-14 0,0 14 0,0 0 16,1 14-16,-1-1 16,-13 0-1,0 0-15,0 0 0,0 1 16,0-1-16,0 0 0,0 0 16,-13 1-16,13-1 15,0 0-15,0 0 16,13 1-1</inkml:trace>
  <inkml:trace contextRef="#ctx0" brushRef="#br1" timeOffset="-197770.11">18269 9935 0,'0'0'0,"-13"-13"0,0 13 15,0 0-15,-14 13 16,14-13-16,0 0 0,0 13 0,-1-13 16,1 0-16,13 14 0,-13-14 15,0 13-15,0-13 0,13 13 16,26-13-1,0 0 1,-12-13-16,-1 13 0,0 0 16,14 0-16,-27 13 15,13-13-15,-13 13 0,0 0 16,0 1 0,0-1-16,-13 0 15,13 0-15,0 1 0,-14-1 0,14 0 16,0 0-16,-13 1 15,13-1-15,13 0 16</inkml:trace>
  <inkml:trace contextRef="#ctx0" brushRef="#br1" timeOffset="-195806.88">10411 9988 0,'-26'159'32,"26"-120"-32,-13 1 0,-1 0 0,1 13 0,13-14 15,-13 1-15,0 0 16,13-14-16,-13 14 0,13-14 0,0 1 16,-14-14-16,14 14 0,0-14 0,14 0 15,-14 0-15,13 0 16</inkml:trace>
  <inkml:trace contextRef="#ctx0" brushRef="#br1" timeOffset="-193227.98">10372 9988 0,'13'-13'16,"0"13"-16,0 0 0,1-13 0,-1 13 16,0-14-16,0 14 15,14-13-15,-1 0 0,1 13 0,-1-13 16,14 13-16,-1-14 0,1 1 0,0 13 16,0-13-16,-1 0 0,14 13 15,-13-14-15,13 1 0,0 13 0,-14-13 16,14 13-16,0 0 0,0-13 0,0 13 15,0-13-15,0 13 0,0-14 16,0 14-16,0 0 0,13-13 0,-13 13 16,0-13-16,0 13 0,13 0 0,-13-13 15,-1 13-15,1 0 0,0-14 16,0 14-16,0 0 0,0-13 0,0 13 16,0 0-16,0-13 0,-14 13 15,1 0-15,13-13 0,-26 13 16,25-13-16,-25 13 0,-1-14 0,1 14 15,-1 0-15,1-13 0,-1 13 0,1-13 16,-14 13-16,13-13 0,-12 13 16,-1-14-16,13 14 0,-12 0 0,12-13 15,-13 13-15,0-13 0,14 13 0,-14 0 16,14-13-16,-14 13 0,13-14 16,1 14-16,-1 0 0,1-13 15,-1 13-15,1 0 0,-1 0 0,14-13 0,-1 13 16,1 0-16,-13 0 0,12-13 15,-12 13-15,12 0 0,-12 0 16,13 0-16,-14 0 0,27 0 0,-13-13 16,12 13-16,1 0 0,-13 0 15,13 0-15,-13 0 0,-1 0 0,1 0 16,-13 0-16,12 0 0,-12 0 0,12 0 16,1 0-16,-13 0 0,12 0 15,-12 0-15,12 0 0,-12 0 0,13-14 16,-14 14-16,14 0 0,-14 0 0,1 0 15,12 0-15,-12 0 16,-1 0-16,1 0 0,-1 0 0,1 0 0,-1-13 16,-13 13-16,14 0 0,-14 0 0,13 0 15,-12 0-15,-1 0 16,0 0-16,0 0 0,1 0 0,-1 0 16,0 0-16,0-13 0,0 13 0,1 0 15,-1 0-15,0 0 16,0 0-16,1 0 0,-1 0 0,0 0 15,0 0-15,0 0 0,1-13 16,-1 13-16,0 0 0,0 0 16,1 0-16,-1 0 0,13 0 0,-12 13 15,-1-26-15,13 13 0,1 0 16,-1 13-16,-13-13 0,14 0 0,-1 0 16,1 0-16,-1 0 0,14 0 15,-14 0-15,1 0 0,13 0 0,-14 0 16,14 0-16,-14 0 0,14 0 15,0 13-15,-1-13 0,1 0 0,0 0 16,-14 0-16,0 0 0,14 0 0,-13 0 16,-1 13-16,-13-13 0,14 0 15,-14 0-15,0 0 0,14 0 0,-14 0 16,0 0-16,0 0 0,1 0 16,-1 0-16,0 0 0,14 0 15,-14 0 1,0 14-16,0-14 0,0 0 15,1 0-15,-1 0 16,0 0 0,0 13-16,1-13 15,-1 0-15,0 13 16,0-13 0,-13 13-16,13-13 0,1 0 0,-1 13 15,0-13-15,-13 14 16,13-14-16,1 13 15,-1 0 1,0 0 0,-13 1-16,0-1 15,0 0 1,13-13-16,-13 13 0,0 1 0,0-1 16,0 0-16,0 0 15,-13 0-15,13 1 0,0-1 16,0 0-16,0 0 0,0 1 0,0-1 15,0 0-15,0 0 0,0 0 16,0 1-16,0-1 0,0 0 16,0 0-16,0 1 0,0-1 15,0 0-15,0 0 16,-13 1-16,13-1 0,0 0 0,0 0 16,0 0-16,0 1 15,-13-1-15,13 0 0,0 0 0,0 1 16,0-1-16,0 0 15,0 0-15,0 1 0,0-1 16,0 0-16,0 0 0,0 0 16,-14 1-16,14 12 15,0-13 1,0 1-16,0-1 16,0 0-1,0 0 1,0 1-1,-13-14 1,13 13 0,-13-13-16,0 13 15,-1-13 1,-12 0 0,13 0-16,0 13 0,-1-13 15,1 0-15,0 0 0,0 0 16,-1 0-16,-12 0 0,13 0 15,-14 0-15,14 0 0,-13 13 0,-1-13 16,14 0-16,-14 0 0,1 0 16,0 0-16,-14 14 0,0-14 15,27 0-15,-27 0 0,14 13 16,-1-13-16,14 0 0,-27 13 0,14-13 16,0 0-16,-1 13 0,1-13 0,-1 14 15,-13-14-15,14 13 0,0-13 16,-14 13-16,13-13 0,-12 0 0,12 13 15,1-13-15,-1 14 0,1-14 0,-1 0 16,1 13-16,-1-13 0,1 0 16,-14 13-16,14-13 0,-14 13 0,14-13 15,-14 13-15,0 1 0,1-14 16,-1 13-16,0 0 0,-13-13 0,14 13 0,-1 1 16,0-1-16,1-13 15,12 13-15,-13 0 0,1 0 0,-1-13 16,0 14-16,1-1 0,-1-13 0,0 13 15,1 0-15,-1-13 0,-53 27 16,54-27-16,-1 13 0,-13 0 16,0-13-16,13 14 0,-12-1 0,-1-13 15,13 13-15,-13-13 0,0 13 0,0-13 16,0 13-16,0-13 0,0 14 16,14-14-16,-14 13 0,0-13 0,13 0 15,-13 13-15,14-13 0,-14 0 16,13 13-16,-13-13 0,0 0 0,14 0 15,-14 0-15,0 14 0,13-14 0,-13 0 16,13 0-16,-13 13 0,14-13 16,-1 0-16,0 0 0,1 0 15,-1 0-15,14 13 0,-14-13 0,13 0 16,-12 0-16,12 0 0,1 0 0,-1 0 16,1 0-16,-1 0 0,14 0 0,-13 0 15,-1 0-15,14 0 0,0 0 16,-14-13-16,14 13 0,0 0 0,0 0 15,-14 0-15,14 0 0,0 0 0,0 0 16,-14 0-16,14 0 0,0 0 16,-1 0-16,-12 0 0,13 0 15,0 0-15,-1 0 0,-12 0 0,13 0 16,-1 0-16,1 0 0,-13-13 16,12 13-16,1 0 0,0 0 0,-13 0 15,12 0-15,-12 0 0,13 0 0,-14-14 16,1 14-16,-14 0 0,14 0 15,-1 0-15,-13 0 0,14 0 0,-1-13 16,-12 13-16,12 0 0,1 0 0,-1-13 16,1 13-16,13 0 0,-14 0 0,1 0 15,13-13-15,-14 13 0,1 0 16,12 0-16,-12 0 0,0-14 0,-1 14 16,14 0-16,-14 0 0,1 0 15,-1 0-15,-12 0 0,12 0 16,-12 14-16,12-14 0,1 0 0,-14 0 15,14 0-15,12 0 0,-12 13 0,-1-13 16,14 0-16,-13 0 0,13 0 16,-1 13-16,1-13 0,0 0 0,39 0 31</inkml:trace>
  <inkml:trace contextRef="#ctx0" brushRef="#br1" timeOffset="-191777.57">16947 9512 0,'0'0'0,"-27"0"0,-39 0 32,53 13-32,0-13 0,-1 0 15,-12 13-15,13-13 0,-1 13 0,1 1 16,-13-1-16,12 0 0,-12 0 0,13 1 15,-14-1-15,14 13 0,-13-12 16,12 12-16,-12 0 0,-1-12 0,14 12 16,0 1-16,0-1 0,0-13 0,-1 14 15,14-1-15,-13 1 0,13-14 16,0 13-16,0 1 0,0-1 0,0 1 16,0-1-16,0 1 0,13 12 15,-13 1-15,14-14 0,-1 14 16,0-13-16,0-1 0,14 1 0,-14-1 15,0 0-15,0 1 0,1-14 0,-1 14 16,13-14-16,-12 0 0,-1 0 16,13 1-16,1 12 0,-1-13 0,1 0 15,-1-13-15,1 14 0,12-1 0,1 0 16,0-13-16,12 13 0,-12-13 16,0 14-16,13-14 0,-14 0 0,1 13 15,-13-13-15,12 0 0,1 13 0,0-13 16,-14 0-16,14 0 0,-14 0 15,14 0-15,-14 0 0,14 0 16,13 0-16,-13-13 0,-1 13 0,1 0 16,-13 0-16,12-13 0,1 13 15,0-14-15,-1 14 0,1-13 0,0 0 16,-14 13-16,1-13 0,12 13 0,1-14 16,0 1-16,-14 0 0,14 0 15,-1 0-15,-12-1 0,13 1 16,-14 0-16,1 0 0,12-1 0,-12 1 15,-1 0-15,1 0 0,-1-1 0,1-12 16,-14 13-16,13 0 0,-13-1 0,1 1 16,-1 0-16,0 0 0,-13-1 15,13-12-15,1 13 0,-14-1 0,0 1 16,13-13-16,-13 13 0,-13-1 16,13 1-16,0-13 0,-14 12 0,1 1 15,13-13-15,-13-1 0,0 14 0,-14-13 16,14-1-16,-13 14 0,12-14 15,-12 1-15,-1 13 0,1-14 0,-1 14 16,1-13-16,-14 12 0,14-12 0,-14 13 16,0-1-16,1-12 0,-14 13 15,0-14-15,-13 14 0,13 0 0,-13 0 16,0-1-16,-1 1 0,1 0 16,0 0-16,13 13 0,0-14 0,-13 14 0,13-13 15,14 13-15,-14 0 16,13 0-16,14 0 0,-14 0 0,13 0 15,1 0-15,13 0 0,-14 0 0,1 0 16</inkml:trace>
  <inkml:trace contextRef="#ctx0" brushRef="#br1" timeOffset="-191326.88">17171 9578 0,'0'-27'0,"0"54"0,14-67 16,-28 27-16,14-13 0,0 12 0,0 1 16,0-13-16,0 12 0,0-12 0,0-1 15,-13 1-15,13-14 0,0 1 16,0-1-16,0 14 0,-13-1 16,13 1-16,0-1 0,0 1 0,0-1 15,0 1-15,0 13 0,0-1 0,0-12 16,0 13-16,0-1 15,0 1-15,0 0 0,0 0 16,0-1-16,13 1 16,0 0-1,1 13 1,-1 0-16,0 0 16,0 0-16</inkml:trace>
  <inkml:trace contextRef="#ctx0" brushRef="#br1" timeOffset="-191118.11">17277 8877 0,'0'0'0,"0"-13"0,0-1 16,0 1 0,-13 13-1,-13 0-15,12 0 0,14 13 16,-26-13-16,13 14 0,-1-1 16,-12 13-16,0-13 0,-1 14 0,1-1 15,-1-12-15,1 12 0,-1 1 16,1-14-16,13 13 0,-1-13 15,1 1-15,0-1 0,0 0 0,-1 0 0,1-13 16,13 14-16,-13-1 0,13 0 16</inkml:trace>
  <inkml:trace contextRef="#ctx0" brushRef="#br1" timeOffset="-190943.72">17132 8930 0,'13'13'0,"53"27"31,-39-27-31,-14 0 0,13-13 16,1 13-16,-14 1 0,13-14 0,1 13 16,-14-13-16,14 13 0,-14-13 15,13 13-15,1-13 0,-14 0 0</inkml:trace>
  <inkml:trace contextRef="#ctx0" brushRef="#br1" timeOffset="-183855.6">16999 10610 0,'-13'0'0,"0"0"32,0 13-17,0-13 32,-1 0-31,1 13 15,0-13-31,0 0 16,-1 13-1,1-13 1,13 14-16,-13-14 0,0 13 16,0-13-1,-14 26 1,14-26-16,13 14 0,-13-14 15,-1 13-15,1-13 0,13 13 0,-13 0 16,0-13-16,-1 14 0,1-1 0,0-13 16,0 13-16,0-13 0,13 13 15,-14-13-15,1 13 0,0-13 16,0 14-16,-1-14 0,14 13 16,-13-13-16,0 0 0,13 13 15,-13-13-15,-1 13 16,1-13-1,0 14-15,0-14 16,0 0-16,-1 13 16,1-13-1,0 13-15,0-13 16,-1 0-16,1 0 16,0 0-1,0 0-15,-1 0 16,14 13-16,-13-13 15,-13 0-15,13 0 16,-1 0 0,1 0-16,0 0 15,0 0-15,-1-13 0,1 13 16,0 0-16,0 0 16,13-13-16,-14 13 15,1 0-15,0 0 0,0-13 0,0 13 16,-1-14-16,1 14 15,0 0-15,13-13 0,-13 13 16,-1-13-16,1 13 0,0 0 0,0-13 16,13-1-16,-13 14 0,-1-13 0,1 13 15,0-13-15,0 0 0,-1 0 16,1 13-16,13-14 0,-13 1 0,0 13 16,-1-13-16,1 0 0,0 13 15,13-14-15,-13 14 16,13-13-16,-13 13 0,13-13 0,-14 13 15,1-13-15,13-1 16,-13 14-16,13-13 0,-13 13 16,13-13-16,-14 13 15,14-13-15,-13 0 0,0-1 16,13 1 0,-13 13-16,13-13 15,-27 0 1,27-1-1,0 41 48</inkml:trace>
  <inkml:trace contextRef="#ctx0" brushRef="#br1" timeOffset="-183499.86">15743 10491 0,'-14'-13'16,"1"26"-1,13 0-15,0 0 0,-13-13 16,13 13-16,0 1 0,-13-1 0,13 0 16,-13 0-16,13 1 0,0-1 15,-14 0-15,14 0 0,0 0 16,-13 1-16,13-1 0,-13 0 15,13 0-15,0 1 0,-13-14 16,13 13-16</inkml:trace>
  <inkml:trace contextRef="#ctx0" brushRef="#br1" timeOffset="-183161.12">15716 10464 0,'0'-13'16,"13"13"-1,1 13-15,-1-13 0,0 0 16,0 14-16,1-14 0,12 0 0,-13 13 15,1-13-15,12 13 0,-13-13 16,0 0-16,14 13 0,-14-13 0,0 0 16,1 13-16,-1-13 0,0 0 15,0 0-15,1 14 16,-1-14 0,0 0-1,-13 13 1,0 0-1</inkml:trace>
  <inkml:trace contextRef="#ctx0" brushRef="#br1" timeOffset="-181323.05">10544 10901 0,'-27'0'16,"14"0"-1,0 13-15,0-13 16,-1 0-16,1 13 0,0 1 0,0-14 16,-1 13-16,1 0 0,-13 0 0,12 0 15,-12 1-15,0-1 0,-1 0 16,-13 14-16,14-14 0,-1 0 15,-12 0-15,12 14 0,-12-14 0,-67 40 16,66-27-16,-13-12 0,13 12 16,1-13-16,-14 0 0,13 1 15,1 12-15,-1-13 0,-13 1 0,13-1 16,1-13-16,-1 13 0,-13 0 0,13-13 16,1 0-16,-1 14 0,13-14 15,-12 0-15,12 0 0,1 0 0,-1 0 16,-12 13-16,12-13 0,1 0 0,-1 0 15,1 0-15,-1 0 16,14 0-16,-13 0 0,-1 0 0,1 0 16,13 0-16,-14 0 0,14 0 0,0 0 0,-1 0 15,1 0-15,0 0 16,0 0-16,-1 0 0,1 0 0,0 0 16,0 0-16,0 0 15,-1 0-15,1 0 16,0 0-1,0 0 17,39 0-1,-13 0-15,14-13-16,-14 13 15,13 0-15,1 0 0</inkml:trace>
  <inkml:trace contextRef="#ctx0" brushRef="#br1" timeOffset="-180561.94">8837 11549 0,'0'13'16,"-13"-13"-1,0-13 1,-1 13-16,1 0 16,0 0-16,0-13 0,-14 0 0,14 13 15,-13-14-15,-1 1 16,1-13-16,-14 12 0,27 1 0,-14 0 0,14 0 16,-13-14-16,12 14 0,1 0 0,0 13 15,0-13-15,-1-1 16,1 14-16,13-13 0,-13 13 0,13-13 15,-13 13-15,13-13 0,13-1 16,0 14 0,-13-13-16,13 13 0,1 0 15,-1 0-15,13-13 0,-12 13 0,-1 0 16,0 0-16,13 0 0,-12 0 0,12-13 16,-13 13-16,14 0 0,-14 0 15,14 0-15,-14 0 0,0-13 0,13 13 16</inkml:trace>
  <inkml:trace contextRef="#ctx0" brushRef="#br1" timeOffset="-179010">8070 10755 0,'-27'66'32,"27"-52"-32,-13-1 15,13 0-15,-13 14 0,13-14 0,-13 13 16,13-12-16,-14-1 0,14 0 15,-13 13-15,0-12 0,13-1 0,-13 0 16,13 0-16</inkml:trace>
  <inkml:trace contextRef="#ctx0" brushRef="#br1" timeOffset="-178697.03">8162 10861 0,'-13'27'16,"0"-27"-16,13 13 0,0 0 0,0 0 15,0 1 1,13-1-16,-13 0 0,13-13 0,-13 13 16,14-13-16,-1 0 0,0 0 15,0 0-15,1 0 16,-1-13-16,0 13 0,0-13 15,-13 0-15,13 13 0,-13-14 0,0 1 16,0 0-16,0 0 0,-13-1 16,13 1-16,0 0 0,-13 0 15,13-1-15,-13 14 0,0 0 16,-1 0-16,1 14 16,0-1-16,13 0 15,0 0-15</inkml:trace>
  <inkml:trace contextRef="#ctx0" brushRef="#br1" timeOffset="-178479.09">8480 10888 0,'26'13'15,"-26"0"1,0 0-16,0 1 0,0-1 15,0 0-15,-13 0 0,13 14 0,-13-14 16,13 0-16,-13 0 0,-1 1 16,14-1-16,-13 0 0,13 0 15,-13 0-15</inkml:trace>
  <inkml:trace contextRef="#ctx0" brushRef="#br1" timeOffset="-178194.04">8903 10848 0,'0'0'0,"0"13"31,0 0-31,0 1 16,0-1-16,0 0 0,0 0 15,-13 1-15,13-1 0,0 0 0,-13 0 16,13 0-16,-13 1 16,13-1-16,-14-13 15</inkml:trace>
  <inkml:trace contextRef="#ctx0" brushRef="#br1" timeOffset="-177874.82">9115 10808 0,'-13'-13'0,"-1"13"15,1 13 1,13 0 0,0 1-1,0-1 1,0 0-16,0 0 16,0 1-16,0-1 15,0 0-15,-13 0 16,0 1-16,0-1 15,-1-13-15,1 13 0,0-13 16,0 0-16,-14 13 0,14 0 0,-14 1 16,1-14-16,0 13 15,-14 0-15</inkml:trace>
  <inkml:trace contextRef="#ctx0" brushRef="#br1" timeOffset="-177177.09">7898 11284 0,'53'0'0,"92"-13"31,-92 13-31,0 0 0,0 0 16,0-13-16,0 13 0,0 0 0,0-13 15,0 13-15,-1-13 0,-12 13 16,0-14-16,0 14 0,-1 0 16,-12-13-16,-1 13 0,1-13 0,-1 13 15,1-13-15,-1 13 0,0-14 16,1 1-16,-1 13 0,1-13 0,-1 0 16,1 13-16,-14-14 0,13 1 0,1 13 15,-1-13-15,-12 13 0,12-13 16,-13 13-16,1-13 0,12-1 0,-13 14 15,0-13-15,14 13 0,-14-13 0,0 13 16,1-13-16,-1-1 0,13 14 16,-13-13-16,1 13 0,-1-13 0,-13 0 15,13 13-15,0-13 0,1-1 16,-1 1-16,-13 0 0,13 0 16,0-1-16,-13 1 0,0 0 15,0 0-15,0-1 0,0 1 16,0 0-16,0 0 0,-13-14 0,0 14 15,0-13-15,-1 12 0,-12-12 16,-1-1-16,-12 1 0,12 13 0,-26-14 16,14 1-16,-14 13 0,-13-14 0,13 14 15,-13 0-15,-14 0 0,14 13 16,0-14-16,-13 14 0,12 0 0,1 14 16,13-14-16,-13 13 0,13-13 15,0 13-15,0 0 0,14-13 16,12 13-16,1-13 0,13 0 0</inkml:trace>
  <inkml:trace contextRef="#ctx0" brushRef="#br1" timeOffset="-176066.11">8996 9948 0,'0'-13'0,"0"0"0,13 13 16,0-13-1,1 13-15,-14-14 0,13 14 0,0 0 16,0 0-16,0-13 15,1 13-15,12 0 16,-13 0-16,1 0 0,-14 13 16,13-13-16,0 0 15,0 14-15,1-1 0,-1-13 16,-13 13-16,13 0 0,0 1 16,-13-1-16,0 0 15,13 0-15,-13 0 0,0 1 16,0-1-16,-13 0 0,13 0 15,0 1-15,-13-1 0,13 0 16,-13-13-16,13 13 0,-13 1 0,-1-1 16,14 0-16,-13-13 0,0 13 15,0 0-15,-1-13 16,14 14-16,-13-14 0,0 0 16,13 13-16,-13-13 0,-1 0 0,1 0 15,0 0 1,0 0-1,0 0-15,13-13 16,0-14-16,0 14 16,0 0-1,0 0-15,13-1 0,-13 1 0,13 13 16,-13-13-16,13 0 0,0-1 16,1 1-16,-1 13 15,0-13-15,0 13 16,1 13-16,-1-13 0,0 13 15,0-13 1,1 14-16,-1-1 0,0-13 16,0 13-16,0-13 0,1 13 0,-1-13 15,0 0-15,0 14 0,1-14 16,-1 0-16,0 0 0,0 13 0,14-13 16,-14 0-16,0 0 0,0 0 0,1 0 15,-1-13-15,0 13 0</inkml:trace>
  <inkml:trace contextRef="#ctx0" brushRef="#br1" timeOffset="-174931.08">7871 11351 0,'-13'0'0,"0"-14"15,0 1 1,-1 13 0,1-13-16,0 0 15,13-1-15,-13 1 0,0 0 0,13 0 16,-14-14-16,1 1 0,13 13 0,-13-14 15,13 1-15,0-1 0,-13 1 16,13-14-16,0 14 0,0-14 16,0 0-16,13 1 0,-13-1 0,26 0 15,-12 1-15,-1-14 0,13 26 16,1-13-16,-14 1 0,13 12 0,1 1 16,-1 13-16,-12-14 0,12 27 0,-13-13 15,0 13-15,1-13 0,-1 13 16,0 0-16,-13 13 0</inkml:trace>
  <inkml:trace contextRef="#ctx0" brushRef="#br1" timeOffset="-174059.53">8255 11390 0,'13'0'0,"-26"0"0,26-13 32,-13 53-17,0-27-15,0 13 0,0 14 16,13 13-16,-13-13 0,-13 13 15,13 0-15,0 0 0,0-1 16,0-12-16,0 13 0,0 0 0,0-13 16,0-1-16,0 1 0,0-14 0,0 1 15,0-1-15,-13 1 0,13-14 16,0 0-16,0 1 0,0-1 0,-13-26 47,13-1-47</inkml:trace>
  <inkml:trace contextRef="#ctx0" brushRef="#br1" timeOffset="-173797.94">8281 11364 0,'-66'92'15,"53"-65"1,-13-1-16,12 14 0,1-13 16,-13 12-16,12-12 0,-12 12 15,13-12-15,0-1 0,-1 1 0,14-1 16,-13-13-16,13 1 0</inkml:trace>
  <inkml:trace contextRef="#ctx0" brushRef="#br1" timeOffset="-173596.99">8215 11390 0,'0'27'0,"14"-27"15,-14 13-15,0 0 16,13 14-16,0-14 0,-13 13 0,13-12 16,0 12-16,14 14 0,-14-14 0,0 1 15,1-1-15,12 1 0,-13-1 16,1 1-16,-1-14 0,0 13 16</inkml:trace>
  <inkml:trace contextRef="#ctx0" brushRef="#br1" timeOffset="-172518.26">8202 12515 0,'0'0'16,"-13"0"-16,0 13 0,13 0 0,-14 0 16,14 1-16,0-1 0,0 13 0,0-12 15,0 12-15,0-13 0,0 14 16,0-14-16,14 0 0,-14 0 15,13 1-15,-13-1 0,13 0 0,0 0 16,1-13-16,-1 0 0,0 0 16,0 0-16,0-13 0,1 13 15,-1-13-15,-13 0 0,13-1 0,-13 1 16,0 0-16,0 0 0,-13-14 16,13 14-16,0-13 0,-13 12 0,13 1 15,-14-13-15,1 12 0,0 1 16,0 0-16,0 13 15,-14 0-15,27 13 16,-13-13-16,13 13 0,-13 1 16,13-1-16,0 0 15,13-13-15,-13 13 16,13-13-16,0 0 0,1 0 16,-1 0-16,0 0 0,0 0 15,0-13-15,1 13 16,-1 0-16,0 0 0,0 0 15,-13 13-15,14-13 0,-1 14 16,0-1-16,-13 0 16,13-13-16,-13 13 0,14 1 15,-1-14-15,-13 13 0,13-13 16,0 0 0,0-13-16,1 13 0,-14-14 15,13 14-15,0-13 0,0 0 0,-13 0 16,14-1-16,-1 1 15,0 0-15,-13 0 16,26 26 0,-12-13-1,-14 13-15,13-13 0,-13 13 0,13-13 16,0 0-16,1 0 0,-1 0 16,0 0-16,0-13 15,1 13-15,-1-13 0,-13 0 0,13-1 16,0-12-16,0 0 0,1 12 15,-14-25-15,13 12 0,0 1 0,-13-1 16,0 14-16,13 0 0,-13 0 16,0-1-16,0 1 0,0 0 0,0 53 31,0-27-31,0 0 16,0 13-16,0-12 0,0 12 15,0 1-15,0-1 0,0 1 0,0-1 0,0 0 16,0-12-16,0-1 0,0 0 15,0 0-15,0 1 0,0-1 0,0 0 16</inkml:trace>
  <inkml:trace contextRef="#ctx0" brushRef="#br1" timeOffset="-172301.87">8718 12568 0,'26'-27'16,"-12"27"-16,-1 0 16,0 0-16,0 0 0,1 0 15,-1 0-15,0 0 16,0 0-16,1 0 0,-1 0 16,0 0-16,-13 13 15,13-13 1,-13 14-16</inkml:trace>
  <inkml:trace contextRef="#ctx0" brushRef="#br1" timeOffset="-172117.57">8983 12449 0,'0'13'0,"0"66"32,0-66-17,13 1-15</inkml:trace>
  <inkml:trace contextRef="#ctx0" brushRef="#br1" timeOffset="-171402.51">16999 10808 0,'0'-13'0,"-13"39"32,0-12-32,0 12 0,0 14 15,-14-14-15,1 27 0,-1-13 16,14 13-16,-13 0 0,-1-14 0,1 14 16,-1-13-16,1 0 0,12-1 0,-12 1 15,13-13-15,0-1 0,-1 0 16,1-12-16,0-1 0,0 0 0,13 0 15,0 1-15,-14-14 0</inkml:trace>
  <inkml:trace contextRef="#ctx0" brushRef="#br1" timeOffset="-171070.98">16788 10901 0,'13'0'16,"-26"0"-16,26-13 0,0 13 0,1 0 15,-1-14-15,13 28 16,-13-14-1,1 13-15,-1 0 0,-13 0 16,13 1-16,-13-1 0,13 13 16,-13-13-16,0 1 0,14 12 0,-14-13 15,0 1-15,0 12 0,0-13 0,0 0 16,0 1-16,13-1 0,-13 0 16,0 0-16,0 1 0,0-1 0,0 0 15</inkml:trace>
  <inkml:trace contextRef="#ctx0" brushRef="#br1" timeOffset="-169889.23">15901 11959 0,'0'0'16,"-13"13"-16,0-13 0,13 14 16,-13-14-16,13 13 15,0 0-15,-13 0 0,13 1 16,0-1-16,13-13 0,-13 13 15,13 0 1,13-26-16,-12 13 16,-1 0-16,0-13 0,0 13 15,1-13 1,-1 13-16,0 13 16,-13 0-1,13-13-15,-13 13 16,14 0-16,-1-13 15,0 0 1,0 0-16,0 0 0,1-13 16,-1 0-16,0 0 0,0 0 15,-13-1-15,14-12 0,-1 13 16,0-1-16,-13-12 0,13 13 0,0-1 16,-13-12-16,14 13 0,-14 0 15,0 26 1,0 0-16,0 0 15,0 14-15,-14-1 16,14-13-16,-13 14 0,13-1 0,-13 1 16,13-1-16,-13 1 0,13-1 0,0-13 15,-13 1-15,13-1 0,0 0 16,0 0-16,0 1 0,0-1 0,-14-13 16,28-27 15,-14 14-31,13 0 0,0-27 15,0 14-15,0-1 0,14-12 0,-14 12 16,14 1-16,-14 12 0,0 1 0,14 0 16,-14 0-16,0 13 0,0-14 0,0 14 15,1 14-15,-1-1 16,-13 0-16,0 0 16,-13 1-16,13 12 0,-27 14 15,27-27-15,-26 0 16,13 14-16,-1-14 0,1 0 0,0 0 0,0 1 15,-1-1-15,1-13 0,0 13 16</inkml:trace>
  <inkml:trace contextRef="#ctx0" brushRef="#br1" timeOffset="-169126.36">16417 11748 0,'14'39'32,"-1"-26"-32,-13 14 15,0-14-15,0 14 0,0-14 0,0 13 16,0 1-16,13-14 0,-13 13 16,0 1-16,-13-14 0,13 14 0,0-14 15,0 0-15,0 0 0,0 0 0,0 1 16,0-1-16,0 0 0,-13-13 15,13 13-15,-14-39 32,14 13-32,14-14 15,-14 14-15,0-13 0,13-1 0,-13 14 16,13-14-16,-13 14 0,13 0 0,-13 0 16,14-1-16,-1 1 0,-13 0 15,13 13-15,0 0 16,0 0-16,1 0 15,-14 13-15,0 0 0,0 1 16,13-1-16,-13 0 16,0 0-16,0 1 15,0-1-15,0 0 16,0 0-16,13 1 16,0-1-1,1-26 1,-1 13-16,0 0 15,-13-14-15,13 14 0,-13-13 0,14 0 16,-1 0-16,-13-1 0,13 1 16,-13 0-16,0 0 15,0-1-15,13 1 16,-13 0 0,13 13 15,1 13-16,-1 0-15,0 1 16,0-14 0,-13 13-16,14-13 0,-14 13 15,13-13-15,-13 13 16,13-26 0,0 13-1,-13-13-15,14 0 0,-1-1 16,-13 1-16,13 0 0,0 13 15,-13-13-15,13 13 0,-13-13 16,-13 39 15</inkml:trace>
  <inkml:trace contextRef="#ctx0" brushRef="#br1" timeOffset="-168565.32">16272 12435 0,'0'27'31,"0"-14"-31,0 0 16,0 1-16,-13-14 15,13 13-15,0 0 16,-14 0-16,1 0 0,0 1 15,0-14-15,-1 0 0,1 13 16,0-13-16,0 0 0,0 0 16,-1 0-16,-12 0 0,26-13 15,0-14 1,13 14-16,0 0 16,1-14-16,-1 14 0,13 13 0,-13-13 15,1 0-15,-1 13 0,0-14 16,0 14-16,1-13 0,-1 13 0,0 0 15,0 0 1,14 13-16,-14-13 16,-13 14-16,13-1 15,-13 0-15,0 0 16,0 1-16,0-1 0,0 0 16,-13 0-1</inkml:trace>
  <inkml:trace contextRef="#ctx0" brushRef="#br1" timeOffset="-168435.44">16378 12356 0,'0'-13'0,"0"26"16,-14-39-16,28 12 31</inkml:trace>
  <inkml:trace contextRef="#ctx0" brushRef="#br1" timeOffset="-167853.99">16576 12197 0,'-13'0'0,"26"0"0,0 14 32,-13-1-32,-13 0 0,13 0 15,0 0-15,0 1 16,-13 12-16,13-13 0,0 1 15,0-1-15,0 0 0,0 0 16,0 0-16,0 1 16,-13-1-16,13 0 15,-14-13 1,1 13 0,0 1-1,0-1 1,13 0-1,13-13 1,0 0-16,14 0 16,-14-13-16,0 13 15,0 0-15,1 0 0,-14-13 0,13 13 16,13 0-16,54 13 94,-67-13-94,0-13 15,0 13 1,-13 13 31,0 0-16,27-26 16</inkml:trace>
  <inkml:trace contextRef="#ctx0" brushRef="#br1" timeOffset="-167713.26">16907 12449 0,'0'0'0,"-27"-14"47</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0.933"/>
    </inkml:context>
    <inkml:brush xml:id="br0">
      <inkml:brushProperty name="width" value="0.025" units="cm"/>
      <inkml:brushProperty name="height" value="0.025" units="cm"/>
      <inkml:brushProperty name="ignorePressure" value="1"/>
    </inkml:brush>
  </inkml:definitions>
  <inkml:trace contextRef="#ctx0" brushRef="#br0">37 1,'0'3,"0"5,0 4,0 3,-3 3,-1 1,0 0,1 2,0-1,2 0,-3 0,-1 0,1-1,0 1,2-4</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2.038"/>
    </inkml:context>
    <inkml:brush xml:id="br0">
      <inkml:brushProperty name="width" value="0.025" units="cm"/>
      <inkml:brushProperty name="height" value="0.025" units="cm"/>
      <inkml:brushProperty name="ignorePressure" value="1"/>
    </inkml:brush>
  </inkml:definitions>
  <inkml:trace contextRef="#ctx0" brushRef="#br0">75 1,'-9'8,"1"2,0-1,0 1,1 1,1-1,-11 23,15-29,0-1,1 1,0-1,-1 1,1 0,0-1,1 1,-1 0,1 0,-1-1,1 1,0 0,0 0,1 0,-1-1,1 1,0 0,0 0,0-1,1 1,-1-1,1 1,0-1,0 0,0 1,5 4,-4-5,1-1,0 1,0-1,0 0,0 0,0 0,0 0,1-1,-1 0,1 0,-1 0,1 0,-1-1,1 0,-1 0,1 0,-1 0,1-1,0 1,-1-1,0-1,1 1,-1-1,8-3,-7 3,-1 0,1 0,-1-1,1 0,-1 0,0 0,0 0,0-1,-1 1,1-1,-1 0,0 0,0-1,0 1,-1 0,1-1,-1 0,0 0,0 1,-1-1,2-9,-2 10,-1 0,1 0,-1 0,0 0,-1-1,1 1,-1 0,1 0,-1 0,0 0,-1 0,1 0,-1 0,0 0,0 0,0 1,-4-6,2 6,1 0,-1 1,1-1,-1 1,0 0,0 0,0 0,0 1,-1-1,1 1,0 0,0 0,-1 1,1-1,-1 1,-6 0,-6 1</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1.678"/>
    </inkml:context>
    <inkml:brush xml:id="br0">
      <inkml:brushProperty name="width" value="0.025" units="cm"/>
      <inkml:brushProperty name="height" value="0.025" units="cm"/>
      <inkml:brushProperty name="ignorePressure" value="1"/>
    </inkml:brush>
  </inkml:definitions>
  <inkml:trace contextRef="#ctx0" brushRef="#br0">52 0,'-4'7,"0"5,0 4,-2-1,-1 0,1 2,2 0,-2 1,0 1,1-3</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037"/>
    </inkml:context>
    <inkml:brush xml:id="br0">
      <inkml:brushProperty name="width" value="0.025" units="cm"/>
      <inkml:brushProperty name="height" value="0.025" units="cm"/>
      <inkml:brushProperty name="ignorePressure" value="1"/>
    </inkml:brush>
  </inkml:definitions>
  <inkml:trace contextRef="#ctx0" brushRef="#br0">21 1,'2'0,"1"0,0-1,0 1,0 1,0-1,-1 0,1 1,0-1,0 1,-1 0,1 0,0 0,-1 0,1 0,-1 1,1-1,-1 1,0 0,0-1,0 1,0 0,0 0,3 4,-4-3,-1 0,1 0,-1 0,1 0,-1 0,0 0,0 0,0 0,-1 0,1 0,-1 0,0 0,1-1,-1 1,-1 0,1 0,0-1,-1 1,1 0,-1-1,0 1,-2 1,-25 27,24-27,0 0,1 1,0-1,0 1,0-1,1 1,-6 10,9-15,0 0,0 1,0-1,0 0,0 0,0 1,0-1,0 0,0 0,0 1,0-1,0 0,0 0,0 0,0 1,0-1,0 0,0 0,0 1,0-1,1 0,-1 0,0 0,0 1,0-1,0 0,1 0,-1 0,0 0,0 1,0-1,1 0,-1 0,0 0,0 0,1 0,-1 0,0 0,0 0,1 0,-1 0,17 1,15-5,29-11,-43 12</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598"/>
    </inkml:context>
    <inkml:brush xml:id="br0">
      <inkml:brushProperty name="width" value="0.025" units="cm"/>
      <inkml:brushProperty name="height" value="0.025" units="cm"/>
      <inkml:brushProperty name="ignorePressure" value="1"/>
    </inkml:brush>
  </inkml:definitions>
  <inkml:trace contextRef="#ctx0" brushRef="#br0">53 0,'-4'3,"1"-1,-1 1,1 0,0 0,-1 0,1 0,1 0,-1 1,0-1,1 1,0 0,0 0,0 0,0 0,1 0,0 0,-2 7,3-9,-1 0,1-1,-1 1,1 0,0 0,0 0,0-1,0 1,0 0,0 0,1 0,-1-1,1 1,-1 0,1-1,-1 1,1 0,0-1,0 1,0-1,0 1,0-1,0 1,0-1,1 0,-1 1,0-1,1 0,-1 0,1 0,-1 0,1 0,0-1,-1 1,1 0,0-1,-1 1,1-1,0 0,0 1,0-1,-1 0,3 0,-2 0,0 0,-1 0,1 0,-1 0,1-1,-1 1,1 0,0-1,-1 1,1-1,-1 1,0-1,1 0,-1 0,1 0,-1 0,0 1,0-2,0 1,1 0,-1 0,0 0,0 0,-1-1,1 1,0-1,0 1,-1 0,1-1,0 1,-1-1,0 0,1 1,-1-1,0 1,0-1,0 1,0-1,0-3,0 2,0 1,-1-1,1 0,-1 0,0 0,1 0,-1 1,0-1,-1 0,1 1,0-1,-1 1,0 0,1-1,-1 1,0 0,0 0,0 0,0 0,-1 0,1 1,-3-3,-31-4,19 7</inkml:trace>
</inkml:ink>
</file>

<file path=ppt/ink/ink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40:52.982"/>
    </inkml:context>
    <inkml:brush xml:id="br0">
      <inkml:brushProperty name="width" value="0.05292" units="cm"/>
      <inkml:brushProperty name="height" value="0.05292" units="cm"/>
      <inkml:brushProperty name="color" value="#0070C0"/>
    </inkml:brush>
  </inkml:definitions>
  <inkml:trace contextRef="#ctx0" brushRef="#br0">6853 4617 0,'13'-13'31,"0"13"-15,0 0-16,1 13 0,-1-13 15,0 0-15,0 0 0,14 0 16,-1 0-16,1 0 0,-1 0 0,14 13 16,-14-13-16,14 0 0,-14 0 0,14 0 15,-13 0-15,12 0 0,-12 0 16,12 0-16,-12 0 0,13 0 0,-14 0 16,14 0-16,-14 0 0,14 0 0,-14 0 15,14 0-15,0 0 0,-1 13 16,1-13-16,-13 0 0,25 0 0,-12 0 15,-13 0-15,12 0 0,-12 14 16,-1-14-16,14 0 0,-14 0 16,1 0-16,12 0 0,-12 0 0,-1 0 15,14 0-15,-13 0 0,12 0 0,-12 0 16,12 0-16,-12 0 0,13 0 16,-14 0-16,14 0 0,-14 0 0,1 0 15,12 13-15,-12-13 0,-1 0 0,1 0 16,-1 0-16,14 0 0,-14 0 15,1 0-15,-14 0 0,13 13 0,1-13 16,13 0-16,-14 0 0,0 0 0,14 0 16,-13 0-16,-1 13 15,14-13-15,-14 0 0,14 0 0,-14 0 16,14 0-16,-13 0 0,12 0 0,-12 14 16,12-14-16,-12 0 0,-1 0 0,14 0 15,-14 0-15,1 0 0,-1 0 16,14 13-16,-14-13 0,1 0 0,13 0 15,-14 0-15,14 0 0,-14 0 0,1 0 16,12 0-16,-12 13 0,12-13 16,-12 0-16,-1 0 0,1 0 0,-1 0 15,1 0-15,-1 0 0,1 0 0,-1-13 16,1 13-16,12 0 16,-12 0-16,-1 0 0,1 0 0,12 0 15,-12 0-15,-14-13 0,14 13 0,-1 0 16,0 0-16,1 0 0,-1 0 15,1 0-15,-1 0 0,1-14 0,-1 14 16,1 0-16,12 0 16,-12 0-16,-1 0 0,1-13 0,-1 13 15,-13 0-15,14 0 0,-14 0 0,14 0 16,-14 0-16,13 0 0,-13 0 0,1-13 16,-1 13-16,0 0 15,14 0-15,-14 0 0,0 0 0,0 0 0,1 0 16,-1 0-16,0 0 0,0 0 0,0 0 15,1 0-15,-1 0 16,0 0-16,0 0 0,1 0 0,-1 0 16,0 0-16,0 0 0,0 0 0,1 0 15,-1 0-15,0 0 0,0 0 16,1 0-16,-1 0 0,13 0 0,-12 0 16,-1 0-16,0 0 0,13-13 0,-12 13 15,12 0-15,-13 0 0,1 0 16,12 13-16,-13-13 0,14 0 0,-14 0 15,13 0-15,-12 0 0,12 0 0,-13 0 16,14 0-16,-1 0 0,-12 0 16,12 0-16,-13 0 0,14 0 15,-1 0-15,-13 0 0,14 0 0,-14 0 16,14 0-16,-14 0 0,13 0 0,1 0 16,-14 0-16,13 0 0,1 0 15,-14 0-15,0 0 0,14 0 0,-14 0 16,13 0-16,-12 13 0,12-13 0,-13 0 15,1 0-15,12 0 0,-13 0 16,0 0-16,14 0 0,-14 0 0,0 0 16,1 0-16,12 0 0,-13 0 0,1 0 15,-1 0-15,0 0 0,0 0 16,0 0-16,1 0 0,-1 13 0,0-13 16,0 0-16,14 0 0,-1 0 15,-13 0-15,1 0 16,-1 0-16,0 0 0,0 0 0,1 0 15,-1 0-15,13 0 0,-12 0 0,-1 0 16,0 0-16,13 0 0,-12 0 16,-1 0-16,13 0 0,-12 0 0,-1 0 15,13 0-15,-12 0 0,12 0 0,-13 0 16,14 0-16,-14 0 0,0 0 16,0 0-16,14 0 0,-14 0 0,0 0 15,1 0-15,-1 0 0,0 0 0,0 0 16,0 0-16,1 0 0,-1 0 15,13 0 1,-12 0-16,-1 0 16,0 0-16,0 0 31,-13-13-15</inkml:trace>
  <inkml:trace contextRef="#ctx0" brushRef="#br0" timeOffset="2903.15">595 5278 0,'27'0'63,"-14"0"-63,0 0 0,0 0 15,1 0-15,-1 0 0,0-13 0,0 13 16,14 0-16,-14 0 0,14 0 0,-1 0 16,0 0-16,1 0 0,-1-13 15,1 13-15,-1 0 0,14 0 0,-14-13 16,1 13-16,-1 0 0,1 0 0,-1 0 16,14-13-16,-14 13 15,1 0-15,-1 0 0,1 0 0,-1 0 16,1 0-16,-1 0 0,1 0 0,-1 0 15,1 0-15,-1 0 0,0 0 16,1 0-16,-1 0 0,1-14 0,13 14 16,-14 0-16,0 0 0,1 0 0,-1 0 15,14 0-15,-14-13 0,1 13 16,-1 0-16,1 0 0,13 0 0,-14 0 16,0 0-16,1-13 0,-1 13 0,1 0 15,-1 0-15,-12 0 0,12 0 16,0 0-16,1 0 0,-1 0 0,1 13 15,-14-13-15,13 0 0,1 0 0,-1 0 16,-12 0-16,12 0 0,1 0 16,-1 0-16,-13 13 0,14-13 15,-1 0-15,-13 0 0,14 0 0,-1 0 16,1 0-16,-14 0 0,13 14 16,1-14-16,-14 0 0,14 0 0,-1 0 15,1 0-15,-1 0 0,-13 0 0,14 0 16,-1 0-16,1 0 0,-1 0 15,-13 0-15,14 0 0,-1 0 0,1 0 16,-14 0-16,13 0 0,1 0 0,-14 0 16,13 0-16,-12 0 0,12 0 15,-13 0-15,14 0 0,-14 0 0,14 0 16,-1 0-16,-13 13 0,14-13 0,-1 0 16,1 0-16,-14 0 15,13 0-15,1 0 0,-1 0 0,1 0 16,-1 0-16,-13 0 0,14 0 0,-1 0 15,1 0-15,-14 0 0,13 0 16,27 0-16,-39 0 0,12 0 16,0 0-16,1 0 0,-1 0 0,1 0 15,-14 0-15,14 0 16,12 13-16,-12-13 0,39 0 0,-40 0 16,1 0-16,-1 0 0,14 0 0,-14 0 15,1 0-15,-1 0 0,1 0 16,-1 0-16,-13 0 0,14 0 0,-1 13 15,1-13-15,-1 0 0,-13 0 16,14 0-16,-1 0 0,-12 0 16,12 0-16,-13 0 0,14 0 0,-14 13 15,13-13-15,1 0 0,-14 0 0,0 0 16,14 0-16,-1 0 0,-12 0 16,12 0-16,-13 0 0,0 0 0,14 0 15,-14 0-15,0 0 0,1 0 16,12 0-16,-13 0 0,0 0 0,14 0 15,-14 0-15,0 0 0,1 0 0,12 0 16,-13 0-16,14 0 0,-14 0 0,0 0 16,14 0-16,-14 0 0,13 0 15,-12 0-15,12 0 0,-13 0 16,14 0-16,-14 0 0,13 0 0,-12 0 16,12 0-16,-13 0 0,14 0 15,-14 0-15,0 0 0,14 0 0,-14 0 16,0-13-16,14 13 0,-14 0 0,13 0 15,-12 0-15,-1 0 0,13 0 0,-12 0 16,-1 0-16,0 0 0,0 0 16,0 0-16,14 0 0,-14 0 0,0 0 15,1 0-15,-1 0 0,0 0 0,0 13 16,0-13-16,1 0 16,-1 0-16,0 0 0,0 0 15,1 0-15,-1 0 0,0 0 0,0 0 16,1 0-16,-1 0 0,0 0 15,0 0-15,0 0 0,1 0 0,-1 14 16,0-14-16,0 0 0,1 0 0,-1 0 16,0 0-16,0 0 0,1 0 15,-14 13-15,13-13 0,0 0 0,0 0 16,0 0 0,-39-13 15,0 13-31,12-14 0,-25 14 0,-1-13 15</inkml:trace>
  <inkml:trace contextRef="#ctx0" brushRef="#br0" timeOffset="3779.68">2368 4670 0,'0'13'16,"0"14"-16,0-14 0,0 0 0,0 13 16,-13 1-16,13-1 0,0 14 0,0-13 15,-13 12-15,13 1 0,-14 0 0,14-14 16,0 1-16,-13-1 0,13 0 16,0-12-16,0 12 0,0-13 15,-13 1-15,13 12 0,0-13 0,0 1 16,0-1-16,0 0 15,0 0-15</inkml:trace>
  <inkml:trace contextRef="#ctx0" brushRef="#br0" timeOffset="4592.32">2289 4643 0,'13'0'0,"79"0"31,-65 0-31,-1 0 0,14 0 16,13 0-16,-13 0 0,13 14 0,0-14 16,-1 0-16,1 0 0,0 0 15,0 13-15,0-13 0,0 0 0,0 0 16,-13 0-16,13 0 0,-14 0 16,1 0-16,-14 0 0,14 0 0,-13 0 15,-1 0-15,0 0 0,1 0 16,-14 0-16,14 0 0,-14 0 15,0 13-15,0-13 0,0 0 0,1 0 16,-1 0-16,0 0 16,0 0-1,1 0-15,-1 0 16,0 13 0,0-13-1,-13 14-15,14-1 16,-14 0-1,13 0-15,-13 0 0,0 1 16,0-1-16,13 0 0,-13 0 0,0 1 16,0-1-16,0 13 0,13-12 15,-13-1-15,0 13 0,0-13 0,0 14 16,0-14-16,0 14 0,0-14 16,0 27-16,0-27 0,0 0 15,0 0-15,0 0 0,0 1 0,0-1 16,0 0-16,0 0 15,0 1-15,0-1 0,0 0 32,-13-13-32,0 0 15,0 13-15,-1-13 0,1 0 16,0 0-16,0 0 0,-1 0 16,1 0-16,-13 0 0,12 0 0,-12 0 15,0 0-15,-14 0 0,13 0 0,1 0 16,-14 14-16,1-14 0,-1 0 15,13 13-15,-12-13 0,12 0 0,1 0 16,-1 0-16,1 0 0,-1 0 0,1 0 16,13 0-16,-14 0 0,1-13 15,13 13-15,-14 0 0,14-14 16,0 1-16,0 13 0</inkml:trace>
  <inkml:trace contextRef="#ctx0" brushRef="#br0" timeOffset="5680.8">9750 4154 0,'-13'26'31,"13"1"-31,0-14 0,0 14 0,0 12 16,-14 1-16,14 13 0,-13-13 0,13-1 15,-13 1-15,13 13 16,0-13-16,-13-1 0,13-12 0,-13 12 16,13-25-16,0 12 0,0-13 0,0 0 15,0 1-15,-14-1 0,14 0 16,14-39 15,-14 12-31,0 1 0,13 0 16</inkml:trace>
  <inkml:trace contextRef="#ctx0" brushRef="#br0" timeOffset="6629.37">9750 4141 0,'0'-13'0,"0"26"0,13-26 16,0 13-16,1-14 0,-1 14 0,13 0 15,-13 0-15,14 0 16,13-13-16,-14 13 0,14 0 0,13-13 16,-14 13-16,14 0 0,-13-13 0,13 13 15,0 0-15,0-14 0,0 14 16,0 0-16,-14-13 0,14 13 0,0 0 16,-13-13-16,-1 13 0,1 0 0,-13 0 15,-1 0-15,14 0 0,-14 0 16,1 0-16,-1-13 0,-13 13 0,14 0 15,-1 0-15,-12 0 0,12 0 0,0-14 16,-12 14-16,-1 0 0,0 0 16,0 0-16,14 0 0,-14 0 15,0 0-15,0 0 16,1 0-16,-1-13 16,0 13-16,0 13 31,-13 1 0,0-1-31,0 0 16,0 0-16,0 1 0,0-1 15,0 0-15,0 0 0,0 1 0,0-1 16,-13 0-16,13 0 0,0 0 0,0 1 16,-13 12-16,13-13 0,0 1 15,-13-1-15,13 13 0,0-13 16,-14 1-16,14-1 0,0 13 0,-13-12 15,13-1-15,0 0 0,-13 0 0,13 1 16,0-1-16,0 0 0,-13 0 16,13 0-16,0 1 0,0-1 15,-13 0-15,13 0 16,0 1 0,0-1-1,0 0-15,-14-13 31,14 13-15,0 1 15,-13-14-15,13 13 0,-13-13 15,0 0 63,-1 0-94,1 0 15,0 0-15</inkml:trace>
  <inkml:trace contextRef="#ctx0" brushRef="#br0" timeOffset="12644.41">7620 5596 0,'26'0'0,"-12"0"0,12 0 0,-13 0 16,14 0-16,-1 0 0,1 0 16,-1 0-16,1 0 0,-14 0 15,13 0-15,1 13 0,-14-13 0,14 0 16,-14 0-16,0 0 0,0 0 16,0 0-16,1 0 0,-1 0 0,0 0 15,0-13-15,1 13 16,-1 0-16</inkml:trace>
  <inkml:trace contextRef="#ctx0" brushRef="#br0" timeOffset="13001.5">7938 5490 0,'-14'-13'16,"41"26"-1,-14-13-15,0 0 16,0 13-16,1-13 0,-1 0 0,0 14 16,0-14-16,1 13 0,-1-13 15,0 13-15,13 0 0,-12-13 0,-1 13 16,0-13-16,0 14 0,1-14 15,-14 13-15,13 0 0,-13 0 16,0 1-16,0-1 16,-13 0-16,13 0 0,-14 1 15,1 12-15,13-13 0,-13 0 0,0 1 16,-1-14-16,14 13 0,-13 0 16,13 0-16,-13-13 0,13 14 0,-13-1 15</inkml:trace>
  <inkml:trace contextRef="#ctx0" brushRef="#br0" timeOffset="15501.1">13375 3717 0,'-14'0'15,"41"0"17,-27-13-32,13 13 0,0-13 15,1 13-15,-14-13 0,13 13 0,13-14 16,-12 14-16,-1-13 0,0 0 0,0 13 15,0-13-15,1 13 16,-1-13-16,0 13 0,0-14 0,1 14 16,-1 0-16,0-13 0,0 13 15,0-13 1,1 13-16,-1 0 0,0 0 31</inkml:trace>
  <inkml:trace contextRef="#ctx0" brushRef="#br0" timeOffset="15823.19">13613 3413 0,'13'-13'0,"27"26"32,-27-13-32,0 13 0,0-13 0,1 0 15,-1 14-15,0-1 0,0-13 0,1 13 16,-1 0-16,-13 0 15,0 1-15,0-1 0,0 0 16,0 0-16,0 1 0,-13-1 0,13 0 16,-14 0-16,14 1 0,-13-1 15,13 0-15</inkml:trace>
  <inkml:trace contextRef="#ctx0" brushRef="#br0" timeOffset="21696.28">15849 2672 0,'0'27'31,"13"-14"-15,-13 0-16,13-13 0,0 13 15,0 1-15,1-14 0,-1 13 0,0 0 16,0-13-16,1 13 0,-1-13 0,0 14 16,0-14-16,14 0 0,-14 0 15,0 0-15,0 0 0,1-14 0,12 14 16,-13-13-16,1 13 0,-1-13 0,0 13 15,-13-13-15,13-1 0,0 1 16,-13 0-16,0 0 16,-13 13-1,0 13 1,0 0-16,0 0 0,-1 1 16,1-1-16,0 13 0,-14 1 0,14-1 15,-13 1-15,13-1 0,-1-13 16,14 14-16,-13-14 0,0 0 0,0 14 15,13-14-15,-14 0 0,14 0 0,0 1 16,0-1 0,14 0-16</inkml:trace>
  <inkml:trace contextRef="#ctx0" brushRef="#br0" timeOffset="22151.29">16457 3082 0,'13'-13'0,"-13"0"15,0 0 1,0-1-16,0 1 0,0 0 16,0 0-16,0 0 0,14-1 15,-14 1 1,13 13 0,0 0-16,0 0 15,-13 13-15,13-13 0,1 14 16,-1-14-16,-13 13 15,13-13-15,0 0 0,1 0 16,-1-13 0,0-1-16,0 1 15,-13 0-15,14 0 16,-14-1-16,0 1 0,13 0 0,-13 0 16,0 0-16,0-1 0,13 1 15,-13 0-15,0 0 0,0-1 0,0 1 16,-13 0-16,13 0 0,-13-1 15</inkml:trace>
  <inkml:trace contextRef="#ctx0" brushRef="#br0" timeOffset="22509.22">16404 2408 0,'0'0'16,"-26"26"-16,12 1 0,1-14 0,0 0 15,0 27-15,0-1 0,-14-12 0,14 26 16,-14 0-16,14-27 0,0 27 0,0-13 16,-14 0-16,14-14 0,0 14 15,0-14-15,-1 14 0,14-14 16,-13-13-16,0 14 0,13-14 0,-13 0 0,13 1 15,-14 12-15,14-13 16,-13-13-16,13 14 0,0-1 0,0 0 16,-13 0-1,39-39 32</inkml:trace>
  <inkml:trace contextRef="#ctx0" brushRef="#br0" timeOffset="23927.56">16021 3413 0,'0'27'32,"0"-14"-17,0 0-15,13 0 0,-13 0 0,0 1 0,0-1 16,0 0-16,13 0 15,-13 1-15,0-1 0,13-13 0,-13 13 16,13 0-16,1-13 0,-1 0 16</inkml:trace>
  <inkml:trace contextRef="#ctx0" brushRef="#br0" timeOffset="24159.2">16312 3440 0,'-40'26'47,"-13"40"-47,40-39 16,-14-1-16,1 14 0,-1-14 0,14 1 15,-13 12-15,-1-12 0,14 13 16,-13-14-16,12 0 0,-12 1 0,13-1 16,-1 1-16,1-1 0,0-12 0,13-1 15,-13 0-15,13 0 0,-14-13 16,14 13-16,0 1 15</inkml:trace>
  <inkml:trace contextRef="#ctx0" brushRef="#br0" timeOffset="24599.07">16603 3334 0,'0'0'0,"-14"39"16,14-25-1,0-1-15,0 13 0,-13 14 0,0 0 16,0-14-16,-1 14 0,1 0 0,0-1 15,0-12-15,0 12 0,-14 1 16,14-13-16,0-1 0,-1 14 0,1-14 16,13-13-16,-13 1 0,13-1 15,-13 0-15,13 0 0</inkml:trace>
  <inkml:trace contextRef="#ctx0" brushRef="#br0" timeOffset="25084.99">16801 3797 0,'-13'-27'32,"13"14"-32,0 0 0,0 0 15,0-1-15,0 1 0,0 0 16,0 0-16,0-1 0,13 14 16,-13-13-16,0 0 0,27 26 31,-27 0-31,0 1 15,13-1-15,-13 0 16,13 0-16,-13 1 16,13-14-16,0 13 0,1-13 15,-1 0 1,0 0-16,-13-13 16,0-1-16,13 14 15,-13-13-15,0 0 0,0 0 0,0-1 16,0 1-16,0 0 0,0 0 15,14 0-15,-14-1 16,13 14 15</inkml:trace>
  <inkml:trace contextRef="#ctx0" brushRef="#br0" timeOffset="38955.25">5847 5900 0,'133'0'16,"12"0"-1,-105 0-15,-1 0 0,1 0 16,-13 0-16,12 0 0,1 0 16,-14 13-16,1-13 0,-1 0 0,1 0 15,-14 0-15,14 0 0</inkml:trace>
  <inkml:trace contextRef="#ctx0" brushRef="#br0" timeOffset="39332.17">5966 6059 0,'0'0'0,"53"-13"0,-26 13 0,-1 0 0,1-14 15,12 14-15,-12 0 0,-1 0 0,27 0 16,-26 0-16,12-13 0,-12 13 15,-1 0-15,14 0 0,-14 0 0,1 0 16,-14 0-16,14 0 0,-1 0 0,-13 0 16,0 0-16,1-13 0,-1 13 15,0 0-15,0 0 0,1 0 16,-1 0 0,0 0-16,0 0 15,1 0 1,-1-13 46</inkml:trace>
  <inkml:trace contextRef="#ctx0" brushRef="#br0" timeOffset="41309.97">3836 6456 0,'0'-13'16,"-13"-1"-16,13 1 15,0 0-15,0 0 16,0-14-16,0 1 16,0 13-16,0-1 0,0-12 0,0 13 15,0-14-15,0 14 16,-13-14-16,13 14 0,0-13 0,0 13 0,0-1 16,0 1-16,0 0 0,0 0 15,0-1-15,0 1 16,-13 13-16,13-13 15,-13 0 17</inkml:trace>
  <inkml:trace contextRef="#ctx0" brushRef="#br0" timeOffset="41543.82">3889 5940 0,'-26'13'16,"26"0"-16,-13-13 0,-1 14 15,1-1-15,0-13 0,0 13 0,0 0 16,-1 0-16,1 14 0,0-14 0,0 0 16,-1 1-16,1-1 0,0 0 15,0 0-15,13 1 0,-14-1 0,14 0 16,-13 0-16,0-13 0,13 13 0,0 1 15,-13-14-15</inkml:trace>
  <inkml:trace contextRef="#ctx0" brushRef="#br0" timeOffset="41767.97">3731 6072 0,'26'0'0,"-52"0"0,65 0 0,-25 0 16,-1 0-16,0 13 0,0-13 0,0 0 15,1 0-15,-1 14 16,0-14-16,0 0 0,1 0 0,-1 0 16,0 0-16,-13 13 0,13-13 15,1 0-15,-1 0 0,0 0 16,0 0-16</inkml:trace>
  <inkml:trace contextRef="#ctx0" brushRef="#br0" timeOffset="45457.28">12634 6826 0,'13'0'15,"0"13"-15,1-13 16,-1 0-16,0 0 0,0 0 0,0 0 0,14 0 16,-1 0-16,1 0 0,-1 0 0,14 0 15,-14 0-15,27 0 0,0 0 16,0 0-16,13 14 0,-13-14 0,0 0 16,0 0-16,13 0 0,-13 0 15,0 0-15,0 0 0,0 0 16,0 0-16,0 0 0,0 0 0,-14 0 15,1 0-15,0 0 0,-14 0 0,1 0 16,-14-14-16,13 14 0,1 0 16,-14 0-16,0 0 0,0 0 0,1 0 15,-1 0-15,0 0 0,0 0 0,1 0 16,-1 0-16,0 0 16,0 14-16,1-14 31,-1 0-16</inkml:trace>
  <inkml:trace contextRef="#ctx0" brushRef="#br0" timeOffset="47090.16">410 7302 0,'-13'0'0,"39"0"47,-12 0-32,-1 0-15,0 0 0,0 0 16,14 0-16,-14 0 0,13 0 0,1 0 15,-1 0-15,1 0 0,12 0 16,-12 0-16,13 0 0,-14 0 0,14 0 16,-1 0-16,-12 0 0,26 0 15,-14 14-15,1-14 0,79 13 16,-53-13 0,-13 0-16,-26 13 0,26-13 0,119 0 31,-146 13-31,14-13 0,-14 0 15,14 0-15,-14-13 0,14 13 0,-13 0 16,-1 0-16,14 0 0,-14 0 16,14 0-16,-14 0 0,14 0 0,-14 0 15,1 0-15,-1 0 0,1 0 0,-1 0 16,1 0-16,-1 0 0,1 0 16,-14 0-16,13 0 0,1 0 0,-14 0 15,0 0-15,14 0 0,-14 0 0,0 0 16,14 0-16,-14 0 0,0 0 15,14 0-15,-14 0 0,0 0 16,0 0-16,0 0 0,1 0 16,-1-13-16,0 13 15,0 0-15,1 0 16,-1 0 0,0 0 15,0 0 16</inkml:trace>
  <inkml:trace contextRef="#ctx0" brushRef="#br0" timeOffset="48304.21">5173 7250 0,'39'0'47,"-25"0"-47,-1 0 16,0 0-16,13 0 0,1 0 15,-1 13-15,14-13 0,-13 0 0,12 0 16,-12 0-16,12 0 0,14 0 0,-13 0 15,13-13-15,-13 13 0,12 0 0,1 0 16,-13 0-16,-13 0 16,25 0-16,-12 0 0,0 0 0,-1 0 0,1 0 15,13 0-15,0 0 0,-13 0 16,-14 0-16,14 0 0,0 0 16,-14 0-16,14 0 0,-14 0 0,14 0 15,-14 0-15,1 0 0,-1 0 0,1 0 16,-1 0-16,-13 0 0,1 0 15,12 0-15,-13 0 0,1 0 16,-1 0-16,0 0 0,0 0 16,0 0-16,1 0 15,-1 0-15,0 0 16,0 0 31,1 0-16</inkml:trace>
  <inkml:trace contextRef="#ctx0" brushRef="#br0" timeOffset="49804.45">10001 7276 0,'27'-13'0,"-1"13"15,-13 0-15,1 0 0,-1 0 16,0 0-16,14 0 0,-14 0 16,0 0-16,13 13 0,1-13 15,-1 0-15,1 0 0,-1 0 0,1 0 16,-1 0-16,40 0 0,-26 0 15,-13 0-15,12 0 0,1 0 16,-14 0-16,14 0 0,-14 0 0,14 0 16,-13 0-16,12 0 0,-12 0 15,12 0-15,-12 0 0,13 0 0,-14 0 16,14 0-16,-14 0 0,40 0 16,-39 0-16,-1 0 0,14 0 0,-14 0 15,1 0-15,-1 0 16,-12 0-16,12 0 0,0 0 0,1 0 15,-1 0-15,-12 0 0,12 0 0,-13 0 16,14 0-16,-14 0 0,0 0 16,14 0-16,-14 0 0,0 0 0,0 0 15,1 0-15,-1 0 0,0 0 0,0 0 16,14 0 0,-14 0-1,0 0-15,0 0 16,1 0-1,-1 0 32</inkml:trace>
  <inkml:trace contextRef="#ctx0" brushRef="#br0" timeOffset="51656.42">10663 10041 0,'13'26'16,"-13"-12"-16,0-1 0,0 0 15,0 0-15,0 14 0,0-14 16,0 27-16,0-14 0,0-13 16,0 27-16,0-27 0,0 14 15,0-14-15,0 40 31</inkml:trace>
  <inkml:trace contextRef="#ctx0" brushRef="#br0" timeOffset="52204.16">10438 9895 0,'-40'27'16,"-13"13"-16,-119 184 31,159-184-31,-13 0 0,26 0 16,-14-1-16,14 1 0,0 0 15,0-1-15,27 27 0,-1-26 16,-13-13-16,14-1 0,-1 0 0,1-12 16,-1 12-16,1-26 0,12 13 15,-12 1-15,-1-14 0,1 0 0,-1 0 16,1 0-16,-1 0 0,1-14 0,12 1 16,-12 0-16,12 0 0,-12-1 15,-1 1-15,14-13 0,-27 13 16,14-14-16,-1 14 0,1-14 0,-14 1 15,0 0-15,14-1 0,-14 14 0,0-14 16,0 1-16,1-1 0,-1 1 0,0 0 16,-13-1-16,13 1 0,-13-1 15,0 1-15,0-1 0,-13 1 16,0-14-16,0 0 0,-1 14 0,1-1 16,0 1-16,-14 0 0,1-1 0,-1 14 15,1-14-15,0 14 0,-14 0 0,13 0 16,1-1-16,-14 14 0,14 0 15,-1 0-15,1 0 0,-1 0 0,1 0 16,13 0-16,-14 0 0,14 0 0,-13 14 16,12-1-16,1-13 0,13 13 15,0 0-15</inkml:trace>
  <inkml:trace contextRef="#ctx0" brushRef="#br0" timeOffset="52852.99">13295 10001 0,'27'-13'0,"-14"13"0,0 0 0,0 0 15,1 0-15,-1 0 0,-13 13 0,13-13 16,0 13-16,-13 1 0,14-1 15,-14 0-15,0 14 0,-14-14 0,14 13 16,-26 1-16,13-1 0,-14 1 0,1-1 16,-1 1-16,14-14 0,-13 0 15,12 0-15,1 1 0,0-1 16,0 0-16,-1-13 16,14 13-16,14-13 31,-1 0-31,0 0 0,0 0 0,14 0 15,-1 0-15,-12-13 0,12 13 16,0 0-16,1 0 0,-1-13 0,-12 13 16,12 0-16,1-13 0,-14 13 0,13-14 15,-13 14-15,1-13 0,12 0 16,-13 0-16,-13-1 0,14 1 16</inkml:trace>
  <inkml:trace contextRef="#ctx0" brushRef="#br0" timeOffset="53296.44">13004 9776 0,'-79'27'16,"39"-1"-16,1 1 0,-1 12 0,0 1 15,0 0-15,14 13 0,0 13 16,-1-13-16,1 0 0,-1 66 15,27-66-15,0 0 0,13 0 16,14-14-16,-1 14 0,1-13 0,12-1 16,1 1-16,0-13 0,0-14 15,-1 13-15,1-12 0,13-14 0,0 0 16,0 0-16,0 0 0,-1 0 0,15-14 16,-14 1-16,13 0 0,-13 0 15,-14-14-15,1 14 0,0 0 0,-1-14 16,1 1-16,0 13 0,-14-14 0,1 1 15,-1-1-15,1-12 0,-1 12 0,-13 1 16,14-14-16,-14 0 0,0 1 16,-13-1-16,0 0 0,0-13 0,-13 14 15,0-14-15,-14 13 0,1-13 0,-1 13 16,-12 14-16,12-14 16,-26 14-16,14-1 0,-14 14 0,-13-13 15,13 12-15,-14 1 0,15 13 0,-1-13 0,0 13 16,0 0-16,0 0 15,0 0-15,13 13 0,1-13 0,-1 13 16,0 1-16,27-14 0</inkml:trace>
  <inkml:trace contextRef="#ctx0" brushRef="#br0" timeOffset="56014.18">714 7832 0,'67'0'31,"-41"-14"-31,27 14 0,-13 0 16,26 0-16,0 0 0,13-13 0,14 13 16,-14-13-16,14 13 0,-1 0 0,1-13 15,0 13-15,-1 0 0,14 0 16,-27 0-16,14 0 0,-14 0 0,14 0 15,-14 0-15,-26 0 0,13 13 16,-13-13-16,0 0 0,0 0 16,-13 0-16,0 13 0,-14-13 0,1 0 15,-1 0-15,-13 0 0,0 0 0,1 13 16,-1-13-16,0 0 0,0 0 16,-39 14-1,13-14 1,-1 0-16</inkml:trace>
  <inkml:trace contextRef="#ctx0" brushRef="#br0" timeOffset="56319.41">1455 7951 0,'66'-13'0,"265"-1"31,-252 14-31,1 0 0,-1-13 0,14 13 16,-14 0-16,1 0 0,-14 0 0,0 0 16,-13 0-16,13 0 0,-26 0 15,13 0-15,-14 0 0,-12 0 16,-1 0-16,1 0 0,-14 0 0,0 0 15,0 0-15,1 13 0,-1-13 0,-13 14 16,-13-1 0,-1 0-16,14 0 0,-13 0 15</inkml:trace>
  <inkml:trace contextRef="#ctx0" brushRef="#br0" timeOffset="57263.42">5913 12025 0,'14'14'15,"-14"-1"-15,0 13 0,0 1 0,0 12 16,0 14-16,0 13 0,0 1 15,0-1-15,0 0 0,-14 13 0,14-13 16,0 1-16,-13-1 0,13-27 0,0 14 16,0-13-16,0 0 0,0-1 15,0 1-15,0-13 0,0-14 0,0 13 16,0-13-16,0 1 0,0-1 0,0 0 16,0-39 15</inkml:trace>
  <inkml:trace contextRef="#ctx0" brushRef="#br0" timeOffset="57952.38">5794 12078 0,'80'-13'16,"-41"0"-16,14 13 15,0 0-15,0-13 0,27 13 0,-1 0 16,0-14-16,14 14 0,0-13 16,-1 0-16,27 0 0,13-1 0,-12 1 15,12 0-15,-13 0 0,0-14 0,0 14 16,0 0-16,-26 0 0,-1-1 15,1 14-15,-14-13 0,1 0 0,-14 13 16,-13-13-16,-14 13 0,1 0 0,0 0 16,-27 0-16,13 0 0,-12 0 15,-1 0-15,0 0 0,0 13 16,1-13-16,-1 0 0,-13 13 0,13 0 16,-13 1-16,0-1 15,0 0-15,-13 0 0,13 14 0,0-1 16,0 14-16,-13 13 0,13-14 0,0 1 15,0 13-15,-14 0 0,14-13 16,0 13-16,0-14 0,0 14 0,0 0 16,-13-13-16,26 13 0,-13-14 0,0 1 15,0 0-15,0 13 0,14-14 16,-14-12-16,0 13 0,13-1 0,-13-12 16,0-1-16,13 1 0,-13 12 15,13-12-15,-13-1 0,0-13 0,14 14 16,-14-1-16,13-12 0,-13 12 15,0-13-15,0 14 0,0-14 0,0 0 16,0 0-16,0 1 0,0-1 0,-13 0 16,-1 0-16,1 1 15,0-14-15,-14 13 0,14-13 16,-27 13-16,1-13 0,-1 0 0,-13 13 16,-13-13-16,0 0 0,0 0 0,-14 13 15,1-13-15,-14 0 0,1 0 16,-1 14-16,-13-14 0,14 13 0,-14-13 15,0 13-15,13-13 0,-12 0 16,12 0-16,0 0 0,1 0 0,12-13 16,1 0-16,13-1 0,-13 1 15,26-13-15,-14-14 0</inkml:trace>
  <inkml:trace contextRef="#ctx0" brushRef="#br0" timeOffset="58496.18">5927 11324 0,'13'0'15,"27"27"1,-40-14-16,13 13 16,0-12-16,-13-1 0,13 13 0,-13-13 15,13 14-15,-13-14 0,0 0 16,0 14-16,0-14 0,0 0 16,0 1-16,0-1 0,0 0 0,0 0 15,0-39 16,0-1-15,14 14-16,-14-13 0,13 12 16,0-25-16,0 25 0,1 1 15,-14 0-15,13 0 0,0 0 0,0-1 16,1 14-16,-14-13 0,13 13 16,0 0-16,0 0 0,0 13 15</inkml:trace>
  <inkml:trace contextRef="#ctx0" brushRef="#br0" timeOffset="59349.04">6310 11615 0,'14'-13'0,"-14"0"15,13 0-15,-13-1 0,13 1 16,-13 0-16,0 0 0,0-1 0,13 1 15,-13 0-15,0 0 16,0-1-16,-13 41 31,13-14-15,0 0-16,-13 1 16,13-1-16,0 0 0,0 0 15,13-13-15,-13 14 0,0-1 16,13-13-16,0 13 0,1-13 15,-1 13-15,0-13 0,0-13 0,1 13 16,12 0-16,-13 0 0,14-13 16,-14 13-16,0-13 0,14-1 0,-14 14 15,0-13-15,0 0 0,1 13 16,-14-13-16,13 13 0,-13-14 0,13 14 16,-13-13-1,-13 26 16,13 1-31,0-1 0,-13-13 16,13 13-16,0 0 0,0 1 0,0-1 16,-14-13-16,14 13 0,14 0 0,-14 0 15,13-13-15,-13 14 16,13-14-16,14 0 16,-14-14-16,0 14 0,0 0 0,0-13 15,1 13-15,-14-13 0,13 13 16,0-13-16,0 13 0,-13-13 15,14 13-15,-14-14 0,13 14 16,-13-13 0,-13 0-1,-1 0 1,28-1 15,-1 14-15,0 0-1,0 0-15,-13 14 0,13-14 16,1 13-16,-1 0 0,0-13 16,-13 13-16,13 1 0,-13-1 15,14-13-15,-14 13 0,13-13 0,-13 13 16,13 0-16,-13 1 31,13-41 0,-13 14-31,14 0 16,-14 0-16,13-1 0,0 1 16,-13 0-16,13 13 0,0-13 15,1-1-15,-1 1 16,0 0-16,0 13 16</inkml:trace>
  <inkml:trace contextRef="#ctx0" brushRef="#br0" timeOffset="59740.2">7302 11232 0,'-39'0'0,"39"13"16,-13 0-16,-1-13 0,-52 106 31,53-80-31,0-12 0,13-1 0,0 13 16,-13-13-16,13 1 0,0-1 15,13 0-15,-13 0 16,13-13-16,0 0 0,0-13 16,1 0-16,-1 13 0,0-27 15,0 1-15,1-14 0,-1 14 16,0-27-16,0 13 0,0-13 0,1 14 16,-1-1-16,-13 13 0,13 14 15,-13-13-15,0 13 0,13 13 0,-13-14 16,-13 54-1,13-14-15,-13 14 0,13 0 16,-13 0-16,13-1 0,0 14 0,0-13 16,0 13-16,0-14 0,13 1 0,-13 0 15,13 0-15,0-14 0,-13 0 16,14-12-16,-14 12 0,13-13 16,0 1-16,0-14 0</inkml:trace>
  <inkml:trace contextRef="#ctx0" brushRef="#br0" timeOffset="59880.49">7726 11576 0</inkml:trace>
  <inkml:trace contextRef="#ctx0" brushRef="#br0" timeOffset="66800.23">9684 11496 0,'0'53'31,"0"-40"-31,0 14 16,0-1-16,0 1 0,0-1 0,0 1 15,0-1-15,0-13 0,0 14 0,0-1 16,0-13-16,0 14 0,0-14 15,0 0-15,0 1 0,0-1 0,13-13 16,-13 13-16,0 0 0,0 0 16,-13-26 15,0 0-31,-1 0 0,14 0 16,-13-1-16,0 14 0,0-13 0,-1 0 15,1 13-15,0-13 0,0 13 16,-14 0-16,14 0 0,0 0 0,0 0 15,-1 0-15,-12 13 0,13 0 0,-1 0 16,1-13-16,13 14 0,-13-1 16,13 0-16,0 0 0,0 0 0,0 1 15,0-1-15,13 0 0,-13 0 0,13 1 16,1-1-16,-1-13 0,-13 13 16,13-13-16,0 0 0,1 0 0,12 13 15,-13-13-15,0 0 0,1 0 0,-1-13 16,13 13-16,-12 0 0,-1-13 15,13 13-15,-12-13 0,-1 13 16,0 0-16,0-14 0,0 14 0</inkml:trace>
  <inkml:trace contextRef="#ctx0" brushRef="#br0" timeOffset="67225">9869 11814 0,'0'0'0,"0"-14"31,0 41-15,0-14-16,0 14 16,0-14-16,13 0 15,-13 0-15,13-13 16,-13 13-16,14-13 0,-1 0 0,13 0 15,-12 0 1,-1-13-16,-13 0 0,13 13 16,0-13-16,-13 0 0,13-1 15,-13-12-15,14 13 0,-14-1 16,13 1 0,0 26 15,-13 1-31,0-1 15,0 0-15,0 0 16,-13 1-16,26-1 0,-13 0 0,0 0 16,0 0-1,0 1-15,13-14 16,1 13-16</inkml:trace>
  <inkml:trace contextRef="#ctx0" brushRef="#br0" timeOffset="67553.2">10213 11761 0,'-13'26'31,"13"27"0,0-40-31,0 1 0,0-1 0,0 0 16,0 0-16,0 0 16,0 1-1,13-41 17,0 14-32,-13 0 0,0 0 0,13-1 15,-13 1-15,14 0 0,-14 0 0,13-1 16,-13 1-16,13 0 0,0 0 15,1 13-15,-1-13 16</inkml:trace>
  <inkml:trace contextRef="#ctx0" brushRef="#br0" timeOffset="68387.23">10530 11748 0,'-13'-14'0,"13"1"31,-26 26 1,26 1-17,-13-14-15,13 13 0,-14-13 16,14 13-16,-13 0 0,13 0 16,-13 1-16,13-1 15,0 0 1,13-13 15,0-13-31,1 13 16,-1 0-16,0 0 15,0 13 1,0 0 0,1-13-1,-1 14-15,0-14 16,0-14-16,1 1 15,-1 13-15,0-13 0,-13 0 16,13-1-16,0-12 0,1 13 16,-14-14-16,13 14 0,0-27 0,0 14 15,-13-1-15,14 14 0,-14-13 16,0 13-16,13-1 0,-13 1 0,0 0 16,0 0-16,0 52 31,0-12-31,-13-14 15,13 13-15,-14 1 0,14 13 16,0-14-16,0 1 0,-13-14 0,13 13 16,0-13-16,0 14 0,13-14 0,-13 0 15,0 1-15,0-1 0,0 0 16,0 0-16,14-13 0,-14 13 0,13 1 16</inkml:trace>
  <inkml:trace contextRef="#ctx0" brushRef="#br0" timeOffset="68709.35">10597 11721 0,'0'0'15,"26"0"1,-13 0-1,0-13-15,14 13 0,-14 0 16,0-13-16,1 13 0,-1 0 16,0 0-16,0 0 0,1-14 0,-1 14 15,0 0-15,0 14 16,0-14-16,-13 13 16,14-13-16,-14 13 15,0 0-15,0 1 0,0-1 16,0 0-16,0 0 0,0 0 0,0 1 15,13-1-15,-13 0 0,0 0 16,0 1-16,0-1 16,0 0-1</inkml:trace>
  <inkml:trace contextRef="#ctx0" brushRef="#br0" timeOffset="68833.42">10914 11562 0</inkml:trace>
  <inkml:trace contextRef="#ctx0" brushRef="#br0" timeOffset="69476.33">11033 11668 0,'-13'53'15,"0"-40"1,13 1-16,0-1 0,0 0 15,0 0-15,0 0 16,0 1-16,0-1 16,13-13-16,0 0 15,14 0 1,-27-13-16,13-1 16,0 1-16,-13 0 15,13 0-15,-13 0 0,13-1 0,-13 1 16,0 0-16,0 0 0,0-1 15,0 1-15,0 0 16,0 0-16,0-1 16,-13 14-16,0 14 47,13-1-47,13 0 31,-13 0-16,13-13-15,-13 14 16,14-14-16,-1 13 31,0-13-15,-13 13-16,13-13 16,1 13-16,-1-13 15,-13 14 1,13-14-16,0 13 15,1-13 1,-1 0 0,0 0-1,0-13 1,-13-1-16,13 14 16</inkml:trace>
  <inkml:trace contextRef="#ctx0" brushRef="#br0" timeOffset="71269.34">12660 11509 0,'27'93'31,"-14"-80"-15,-13 14-16,0-14 0,13 0 16,-13 0-16,13 14 0,1-14 0,-1 0 15,-13 1-15,13-14 0,-13 13 16,13-13-16,1 0 0,-1 0 15,0-13-15,0-1 16,-13 1-16,14 0 16,-14 0-16,13-1 0,-13 1 0,0 0 15,0 0-15,13-1 0,-13 1 0,0 0 16,0 0-16,0 0 16,13-1-1</inkml:trace>
  <inkml:trace contextRef="#ctx0" brushRef="#br0" timeOffset="71628.7">12965 11576 0,'13'0'0,"-13"13"16,0 0-1,0 0-15,0 0 16,0 1-16,0-1 16,0 0-16,0 0 0,0 1 15,0-1-15,0 0 0,0 0 16,13-13 0,0-13-1,-13 0 1,14 13-16,-1-13 15,0 13-15,0-14 16,0 14-16,1 14 16,-1-14-1,-13 13-15,13-13 0,-13 13 16,13-13-16,-13 13 0,14-13 16,-1 14-1</inkml:trace>
  <inkml:trace contextRef="#ctx0" brushRef="#br0" timeOffset="72408.27">13401 11430 0,'-13'26'31,"13"-12"-31,-13 12 16,13-13-16,0 1 0,-14 12 16,14 1-16,-13-14 0,13 0 0,0 13 15,0-12-15,0-1 0,0 0 0,0 0 16,0 1-16,13-14 16,-13 13-16,-13-40 46,0 14-46,0 13 16,13-13-16,-13 13 0,-14 0 16,14 0-1,0 13-15,-1-13 0,1 13 0,0 1 16,0-1-16,-1 0 16,14 0-16,0 1 15,0-1-15,0 0 0,14-13 16,-14 13-16,13-13 0,0 0 0,0 0 15,1 0-15,12 0 0,1-13 16,-14 13-16,13-13 0,1 13 0,-1-13 16,-13-1-16,14 1 0,-14 0 0,14 0 15,-14-1-15,0 14 16,-13-13-16,13 0 0,0 0 16,-13-1-16,0 1 31,-26 26-16,26 1 1,0-1 0,13-13-1,0 13-15,1-13 16,-14 13-16,13-13 16,-13 14-16,13-14 0,-13 13 15,13 0-15,1 0 16,-14 1-16,0-1 0,13 0 31,0-26 0,0 0-15,-13-1-16,13 14 0,-13-13 0,14 0 16,-1 0-16,0-1 0,0 1 15,1 0-15,-1 13 0,-13-13 16,13 13-16,0 0 0,1-14 15,-1 14-15</inkml:trace>
  <inkml:trace contextRef="#ctx0" brushRef="#br0" timeOffset="72900.86">13851 11628 0,'-27'14'16,"41"25"15,-1-39-31,-13 14 0,13-1 0,-13 0 15,13-13-15,-13 13 0,14-13 0,-14 14 16,0-1-16,13 0 16,-26 0-16,13 0 15,-14-13-15,1 0 0,13 14 16,-13-14-16,0 0 0,-1 0 16,1 0-16,0 0 15,0 0-15,0 0 0,13-14 16,0 1-16,0 0 15</inkml:trace>
  <inkml:trace contextRef="#ctx0" brushRef="#br0" timeOffset="73109.11">14116 11417 0,'0'0'0,"13"13"31,-26 0-31,13 0 0,0 14 15,0-14-15,0 0 0,0 14 16,0-14-16,0 14 0,-14-14 0,14 13 16,0-13-16,0 1 0,0 12 0,0-13 15,0 1-15,0-1 16,0 0-16,0 0 0,0 1 16,0-1-16</inkml:trace>
  <inkml:trace contextRef="#ctx0" brushRef="#br0" timeOffset="73308.59">14023 11642 0,'0'0'0,"0"-14"0,13 14 0,0 0 16,14 0-1,-14 0-15,0 0 16,1 0-16,-1 0 0,0 0 0,0 0 16</inkml:trace>
  <inkml:trace contextRef="#ctx0" brushRef="#br0" timeOffset="74083.1">14380 11602 0,'-13'0'16,"-14"0"0,27 13-1,-13-13-15,0 13 16,0-13-1,0 14-15,13-1 16,-14-13-16,14 13 16,0 0-1,-13-13 1,13 14-16,13-1 16,1-13 15,-1 0-16,-13-13-15,13 13 0,-13-14 16,13 14-16,-13-13 16,13 0-16,1 0 15,-14-1 17,13 14-17,-13 14 32,0-1-31,0 0-16,0 0 15,0 1 1,0-1 0,26-26 62,-12 13-63,-14-14-15,13 14 16,0 0 0,0 14 15,0-1-16,1 0 1,-1-13 0</inkml:trace>
  <inkml:trace contextRef="#ctx0" brushRef="#br0" timeOffset="74547.38">14817 11430 0,'-40'26'15,"40"-12"1,-13-1-16,13 0 0,0 0 16,-13 1-16,13-1 0,0 0 0,-14 0 15,14 1-15,0-1 0,0 0 0,0 0 16,0 0 0,0 1-16,-26-28 46,13 14-30,-1 0-16,1 0 16,0 0-16,0 14 0,-1-14 15,1 0-15,13 13 0,-13-13 16,0 13-16,0-13 0,13 13 16,0 1-16,0-1 15,13-13 1,-13 13-16,13-13 0,0 0 15,0 0-15,1 0 0,-1 0 16,0-13-16,0 13 0</inkml:trace>
  <inkml:trace contextRef="#ctx0" brushRef="#br0" timeOffset="74741.36">14909 11576 0,'0'26'31,"-13"-26"-31,13 13 0,0 0 16,0 1-16,-13-14 0,13 13 15,0 0-15,0 0 0,-13 1 16,13-1-16,0 0 16</inkml:trace>
  <inkml:trace contextRef="#ctx0" brushRef="#br0" timeOffset="74875.47">14909 11509 0,'0'0'0,"-13"0"0,0-13 0</inkml:trace>
  <inkml:trace contextRef="#ctx0" brushRef="#br0" timeOffset="75185.25">14962 11589 0,'0'13'0,"0"-26"0,0 39 15,0-13-15,-13-13 16,13 14-1,0-1-15,13-13 16,0 0 15,1 0-31,-14-13 16,13 13 0,0 0-16,0 13 15,1-13 1,-1 0-1</inkml:trace>
  <inkml:trace contextRef="#ctx0" brushRef="#br0" timeOffset="78353.22">9393 11377 0,'53'0'32,"-27"0"-32,1-13 0,12 13 15,14 0-15,0 0 0,26-13 0,-12 13 16,12 0-16,0-14 0,1 14 16,-1 0-16,0 0 0,14-13 0,-14 13 15,14 0-15,-14 0 0,1 0 0,-1-13 16,-13 13-16,14 0 0,-14 0 15,0-13-15,-13 13 0,13 0 16,-13-14-16,0 14 0,-13 0 0,12-13 16,-25 13-16,-1 0 0,1 0 15,-1 0-15,-12 0 0,-1 0 0,13-13 16,-13 13-16,1 0 0,-1 0 16,0 0-16,0 0 15,1 0-15,-1 0 16,0 13-16,0-13 15,-13 13-15,14-13 16,-1 0-16,-13 14 16,13-14-16,0 13 0,14 0 15,-14 0 1,0 1-16,-13-1 16,13-13-16,-13 13 0,0 0 0,14 1 15,-14-1-15,0 0 0,0 0 16,0 0-16,0 14 0,0-14 0,0 14 15,0-14-15,0 13 0,0 1 0,0-14 16,-14 13-16,14 1 0,0-14 0,0 14 16,0-14-16,-13 13 0,13-12 15,0 12-15,0-13 0,-13 0 0,13 1 16,0-1-16,0 0 0,0 0 0,0 1 16,-13-1-1,13 0-15,0 0 16,0 0-16,0 1 31,-14-1-15,14 0-1,-13-13-15,13 13 16,-13-13-16,0 14 16,0-14-16,-1 0 0,1 13 0,-13-13 15,12 13-15,-12-13 0,13 13 0,-14-13 16,1 14-16,-1-14 0,1 0 15,-14 13-15,14-13 0,-14 13 0,-13-13 16,13 0-16,1 13 0,-1-13 16,-13 13-16,13-13 0,1 0 0,-14 14 15,13-14-15,-13 0 0,14 13 16,-14-13-16,13 0 0,0 0 0,-13 13 16,0-13-16,14 0 0,-14 0 0,13 0 15,-13 0-15,0 13 0,0-13 16,14 0-16,-14 0 0,0 14 0,13-14 15,0 0-15,1 0 0,12 0 0,-12 0 16,12 0-16,1 0 0,-1 0 16,1 0-16,13 0 0,-14 0 15,1 13-15,12-13 0,1 0 0,-13 0 16,13 0-16,-1 0 0,-12 0 0,13 13 16,-1-13-16,-12 0 0,13 0 15,-14 13-15,14-13 0,0 0 0,-14 14 16,14-14-16,0 0 0,0 0 0,-14 13 15,14-13-15,0 0 0,-14 0 16,14 13-16,0-13 0,0 0 0,-1 0 16,1 0-16,0 0 0,0 0 0,-1 0 15,14-13-15,-13 13 0,0 0 0,0-13 16,0-1-16,-1 1 16,1 0-16,13 0 0,-13-1 15,13 1-15,-13 0 0,13-14 16,0 1-16,0 0 0,-14-1 15,14-13-15,0-13 0,0 14 0,0-1 16,0-13-16,-13 14 0,13-14 0,0 13 16,0 0-16,13 1 0,-13 12 15,14 1-15,-14 12 0,13-12 0,13-1 16,1 14-16,12-13 0,1 13 0,-13-1 16</inkml:trace>
  <inkml:trace contextRef="#ctx0" brushRef="#br0" timeOffset="80429.38">11536 11337 0,'40'0'0,"-27"0"0,13 0 16,1 0-16,12 0 0,14 0 0,0 0 15,0 0-15,13 0 0,-13 0 16,27 0-16,-1 0 0,0 0 0,1 0 16,-1 0-16,14 0 0,-14 0 15,14 0-15,-1 0 0,1 0 0,13 0 16,0 0-16,-14 0 0,14-13 0,-13 13 15,-1 0-15,14-13 0,-13 13 16,-1 0-16,1-13 0,-1-1 0,1 14 16,-14-13-16,1 0 0,12 13 0,-12-13 15,-14 0-15,13 13 0,-13-14 16,1 1-16,-1 13 0,-13 0 16,0-13-16,-1 13 0,-12 0 0,13-13 15,-13 13-15,-1 0 0,-12-14 0,-1 14 16,-12 0-16,12 0 0,0 0 15,-12 0-15,12 0 0,-13 0 16,1 0-16,-1-13 0,0 13 0,0 0 0,1 0 16,-1 0-16,0 0 15,0 0-15,0 0 16,1 0-16,-1 0 16,0 0 15,0 13-16,1 1 1,-14-1 0,0 0-16,0 0 0,0 1 15,0 12-15,0-13 0,0 0 16,0 14-16,0-14 0,0 14 0,0-1 16,0 1-16,0-14 0,0 13 0,13 1 15,-13-1-15,0-13 0,0 14 0,0-1 16,0-12-16,0 12 0,0-13 15,13 0-15,-13 14 0,0-14 0,0 0 16,0 1-16,0-1 0,0 0 16,0 0-16,13 1 0,-13-1 15,0 0-15,0 0 0,0 0 16,0 1-16,0-1 0,0 0 16,14-13-16,-14 13 15,0 1-15,0-1 16,0 0 31,-14 0 0,1-13-47,0 0 0,0 0 15,-1 0-15,1 0 0,-13 13 0,12-13 16,-12 0-16,0 0 0,-1 14 15,-13-14-15,1 0 0,-1 13 0,-13-13 16,13 13-16,-13-13 0,14 0 0,-14 13 16,0-13-16,13 0 0,-13 14 15,0-14-15,14 0 0,-14 13 0,0-13 16,13 0-16,-13 0 0,14 13 16,-1-13-16,14 0 0,-14 0 0,-13 0 15,13 0-15,1 13 0,12-13 16,-13 0-16,14 0 0,-14 0 0,14 0 15,-14 0-15,14 14 0,-1-14 0,1 0 16,-1 0-16,-12 13 0,12-13 16,1 0-16,-14 0 0,0 13 0,1-13 15,-1 0-15,0 13 0,-13-13 16,14 0-16,-1 13 0,0-13 0,1 0 16,-1 0-16,13 14 0,-12-14 0,12 0 15,1 0-15,-14 0 0,-13 13 16,27-13-16,-14 0 0,14 0 15,-1 0-15,1 0 0,-1 0 16,1 0-16,-14 0 0,14 0 0,-1 0 16,14 0-16,-14 0 0,1 0 0,13 0 15,-14 13-15,1-13 0,13 0 16,-1 0-16,-12 0 0,13 0 0,-1 0 16,-12 0-16,13 0 0,0 0 0,-14 13 15,14-13-15,-14 0 0,14 0 16,0 0-16,-14 0 0,1 0 15,13 14-15,-14-14 0,14 0 0,0 0 0,-14 0 16,14 0-16,0 0 16,-13 0-16,12 0 0,-12 0 0,13 0 15,-1 0-15,1-14 0,-13 14 0,12 0 16,1 0-16,0 0 0,0 0 0,-14 0 16,14 0-16,0 0 0,0 0 15,-1 0-15,1 0 0,0 0 16,0 0-16,-1 0 0,1 0 15,0 0-15,0 0 16,0 0-16,-1 0 0,1 0 16,0 0-16,0 0 0,-1 0 15,-12 0 1,13 0-16,0 0 0,-1 0 16,1 0-16,0-13 0,0 13 15,-1 0 1,1 0-16,0 0 15,0 0 1,-1 0-16,1-13 31,13 0 1,0-1-17,0 1 1,0 0-16,0 0 15,0 0-15,13 13 0,-13-14 16,0 1-16</inkml:trace>
  <inkml:trace contextRef="#ctx0" brushRef="#br0" timeOffset="86372.17">8903 12515 0,'0'13'31,"13"0"-31,-13 0 16,-13 1-16,13-1 0,0 0 15,0 0-15,0 1 0,0-1 16,0 0-16,0 0 16,0 1-16</inkml:trace>
  <inkml:trace contextRef="#ctx0" brushRef="#br0" timeOffset="86797.14">8625 12462 0,'0'0'16,"-39"66"-16,39-53 0,0 0 0,-14 14 16,14-14-16,14 14 0,-14-1 15,0 1-15,13 12 0,13-12 0,-12-1 16,-1 1-16,13-1 0,-12-13 16,12 1-16,-13-1 0,14 0 15,-1 0-15,-13-13 0,14 0 0,-14 0 16,14 0-16,-1 0 0,-13-13 0,14 13 15,-14-13-15,13 0 0,1 13 16,-14-14-16,0-12 0,1 13 16,-1-1-16,0 1 0,0-13 0,-13 12 0,13-12 15,-13 13-15,0 0 0,0-14 16,-13 14-16,13-14 0,-13 14 0,0 0 16,0-14-16,-14 14 0,14 13 15,-14-13-15,1 0 0,-1 13 16,1-13-16,-14 13 0,14 0 0,-1 0 15,1 0-15,-1 0 0,14 0 16,0 0-16,0 13 0</inkml:trace>
  <inkml:trace contextRef="#ctx0" brushRef="#br0" timeOffset="88693.42">10610 10769 0,'-13'26'31,"13"-13"-31,-14-13 16,14 13-16,-13 14 0,0-1 16,0-12-16,-1 12 0,1 1 15,13-14-15,-13 26 0,0-25 0,0 12 16,-1-13-16,14 14 0,-13-14 15,0 13-15,13-12 0,-13-1 0,-1 0 16,14 0-16,0 1 16,-13-1-16</inkml:trace>
  <inkml:trace contextRef="#ctx0" brushRef="#br0" timeOffset="89187.59">10398 11007 0,'-13'26'31,"13"-13"-15,-13 1-16,13-1 0,0 0 15,0 0-15,-14 0 0,14 1 16,0-1-16,-13 0 16,13 0-16,0 1 15,-13-1-15,13 0 16,13 0 15,14-26-15,-14 0-1,0 13-15,0-13 0,14 13 0,-14-14 16,14 14-16,-14-13 0,13 13 0,-13-13 16</inkml:trace>
  <inkml:trace contextRef="#ctx0" brushRef="#br0" timeOffset="90913.47">10186 12541 0,'14'0'16,"25"27"-1,-39-14 1,14-13-16,-14 13 0,0 0 16,0 1-16,0-1 0,-14-13 15,14 13-15,0 0 0,-13-13 0,13 14 16,-13-1-16,26 0 47,0-13-47,1 13 15,-1-13-15,0 13 16,0 1 0,-13-1-1,-13 0-15,0 0 16,0 1-16,-1-14 0,1 0 16,0 13-16,0-13 0,-1 0 15,1 0-15,0 0 0,0 0 16,0-13-16,-1 13 0,14-14 15</inkml:trace>
  <inkml:trace contextRef="#ctx0" brushRef="#br0" timeOffset="91244.11">10398 12581 0,'0'66'31,"13"-53"-15,1 1-16,-1-1 0,0 0 15,0 0-15,1-13 0,12 13 0,-13-13 16,14 0-16,-14 0 0,13 0 16,-12 0-16,12 0 0,-13-13 0,14 13 15,-14-13-15,0 0 0,0 13 0,1-13 16,-14-1-16,0 1 0,0 0 15,-14 0-15,1-1 16,0 14-16,0-13 0,-1 13 0,-12 0 16,13 0-16,-14 0 0,14 0 15,-13 0-15,12 0 0,-12 0 0,13 0 16,0 13-16,-14-13 0,14 14 16,0-1-16</inkml:trace>
  <inkml:trace contextRef="#ctx0" brushRef="#br0" timeOffset="94911.59">11060 8996 0,'39'0'0,"80"0"32,-79 0-32,-14 0 0,1 0 0,13 0 15,-14 0-15,1 0 0,12 0 0,-12 0 16,12 0-16,-12-13 0,-1 13 16,1 0-16,-14 0 0,13 0 15,-12 0-15,-1 0 0,0 0 16,-39 13 15</inkml:trace>
  <inkml:trace contextRef="#ctx0" brushRef="#br0" timeOffset="95183.35">10967 9062 0,'0'0'0,"53"0"16,-27 0-1,1 0-15,12 0 0,1 0 16,0 0-16,13 0 0,-14 0 0,-12 0 0,13 0 16,-14 0-16,14 0 0,-14 0 15,1 0-15,-1 0 0,1 0 16,-14 0-16,0 0 0,14 0 0,-14 0 16,-13-13-16,13 13 0,0 0 15,0 0-15,1 0 16,-1 0-1,0 0 1,0 0 0,1 0-16</inkml:trace>
  <inkml:trace contextRef="#ctx0" brushRef="#br0" timeOffset="95916.23">12237 8983 0,'26'13'16,"-12"-13"0,12 0-16,1 0 0,25 0 0,-12 13 15,26-13-15,-13 0 0,13 0 16,14 0-16,-14 0 0,27 0 15,-14 0-15,0 0 0,14 0 0,-14-13 16,1 13-16,-1 0 0,-26 0 0,0 0 16,13 0-16,-13 0 0,-13 0 15,12-13-15,-12 13 0,-13 0 0,-1 0 16,1 0-16,-1 0 0,-13 0 0,0 0 16,1 0-16,-1 0 0,0 0 15,-53 0 16,27 13-31,-13-13 0,-1 0 16,-12 0-16</inkml:trace>
  <inkml:trace contextRef="#ctx0" brushRef="#br0" timeOffset="96220.22">12502 9075 0,'39'0'0,"-12"0"16,-1 0-16,27 0 0,0 0 0,0 13 16,13-13-16,0 0 0,14 0 0,-1 0 15,0 14-15,1-14 0,-14 0 16,0 0-16,0 13 0,-13-13 0,0 0 16,-13 0-16,13 0 0,-14 0 0,-12 13 15,-1-13-15,1 0 0,-1 0 16,-13 0-16,14 0 0,-14 0 0,0 0 15,0 0-15,1 0 0,-1 0 16,-40 13 15,14 1-31,0-14 0,0 0 16,-14 0-16</inkml:trace>
  <inkml:trace contextRef="#ctx0" brushRef="#br0" timeOffset="97100.06">595 9499 0,'119'0'0,"-238"0"0,291 0 0,-106 0 16,1 0-16,12 0 0,14 0 15,-1-14-15,1 14 0,-1 0 16,1 0-16,13-13 0,-14 13 0,1 0 0,0-13 15,-1 13-15,-12 0 0,-1 0 16,-26 0-16,0 0 0,-14 0 16,1 0-16,-27 0 0,14 0 0,-14 0 15,0-13-15,1 13 0,-1 13 16</inkml:trace>
  <inkml:trace contextRef="#ctx0" brushRef="#br0" timeOffset="97453.17">807 9697 0,'0'0'0,"26"0"15,-12 0 1,12 0-16,14 0 0,13 0 0,0 0 15,26-13-15,0 13 0,1 0 0,12 0 16,-12 0-16,-1-13 16,1 13-16,-1 0 0,0-14 0,1 14 0,-1 0 15,-13-13-15,0 13 0,-13 0 16,-13-13-16,0 13 0,-14 0 0,0 0 16,1 0-16,-1 0 0,-12-13 0,-1 13 15,0 0-15,0 0 0,1 0 16,-1 0-16,0 0 15,0 0-15,0 0 16,-13 13 0,14-13-16,-1 13 0,-13 0 15,13-13-15</inkml:trace>
  <inkml:trace contextRef="#ctx0" brushRef="#br0" timeOffset="99185.38">13666 12409 0,'13'0'31,"-40"0"47,14 13-62,0-13-16,13 13 15,-13-13-15,13 14 16,0-1-16,0 0 16,0 0-16,0 1 15,13-1-15,0 0 16,-13 0-16,13 0 0,-13 1 0,14-14 15,-14 13-15,0 0 0,13-13 16,-13 13-16,0 1 0,0 12 16,-13-26-16,-1 13 15,1-13-15,0 0 16,0 0-16,0 0 16,-1 0-16,14-13 15,-13 13-15,26-13 16,-13 0-16,14-1 15,-14 1-15,13 13 0,0-13 16,-13 0-16,13-1 0,0 14 0,1-13 0,-1 0 16,0 0-16,0 0 0,1 13 15,-14-14-15,13 1 0,0 13 16,-13-13-16,0 0 0,13-1 0,-13 1 16,0 0-16,0 0 15,-13 13-15,13-14 16,-13 1-16,0 13 0,-1-13 15,1 13-15,0 0 16,0 0-16,-1 0 16</inkml:trace>
  <inkml:trace contextRef="#ctx0" brushRef="#br0" timeOffset="100784.36">13772 10319 0,'13'13'0,"0"-13"0,106 13 31,-66-13-31,0 13 0,0-13 0,13 14 16,13-14-16,-12 13 0,25-13 0,-13 13 15,14 0-15,0 1 0,-1-14 16,1 13-16,13 0 0,13-13 0,0 13 16,13 1-16,-13-1 0,14 0 0,-14-13 15,13 13-15,-13 0 0,13 1 0,0-1 16,1-13-16,-14 13 0,-27 0 15,1 1-15,13-1 0,-13-13 0,78 26 16,-104-13-16,-1-13 16,-13 14-16,0-14 0,-14 13 0,-12-13 15,-1 13-15,-13-13 0,1 0 0,-1 0 16,0 0-16,0 0 0,-13-13 47,-13 0-47,13-1 0,-13 14 15</inkml:trace>
  <inkml:trace contextRef="#ctx0" brushRef="#br0" timeOffset="101077.66">17198 10530 0,'13'-13'0,"14"26"0,65 14 15,-52-14 1,-14 0-16,1 1 0,12-1 16,-12 0-16,-1 0 0,1 14 0,-1-14 15,-12 0-15,-1 0 0,0 1 0,0-1 16,-13 0-16,0 0 15,-13 1-15,0 12 0,0-13 0,-14 0 16,-13 14-16,14-14 0,-27 14 16,13-1-16,1-13 0,12 1 0,-12-1 15,12-13-15</inkml:trace>
  <inkml:trace contextRef="#ctx0" brushRef="#br0" timeOffset="101768.39">17687 11165 0,'14'27'31,"-14"-14"-31,0 0 0,0 14 0,0-1 16,0-13-16,0 14 0,0-1 0,-14 1 16,14-1-16,0 1 0,0-1 15,0-13-15,0 14 0,0-14 0,0 0 16,-13 1-16,13-1 0,0 0 16,0 0-16</inkml:trace>
  <inkml:trace contextRef="#ctx0" brushRef="#br0" timeOffset="102664.39">17767 11112 0,'66'0'0,"-132"0"0,158 0 0,-52-13 15,13 13-15,0 0 0,26 0 0,1 0 16,-1 0-16,0-13 0,14 13 15,-14 0-15,14-13 0,0 13 0,-1 0 16,1-13-16,-1 13 0,-12 0 0,12-14 16,-12 14-16,-14-13 0,13 13 15,-13-13-15,1 13 0,-15-13 16,15 13-16,-14 0 0,-14-14 0,14 14 16,-13 0-16,13-13 0,-27 13 0,14 0 15,-14 0-15,1-13 0,-1 13 16,14 0-16,-27 0 0,14 0 0,-1 0 15,-13 0-15,1 0 0,-1-13 0,0 13 16,0 0-16,0 0 0,1 13 16,-1-13-16,0 13 15,-13 0-15,0 1 16,0-1-16,0 0 0,0 0 16,0 1-16,0-1 0,0 0 0,0 13 15,0-12-15,0 12 0,0-13 16,0 14-16,0-14 0,0 14 0,13-14 15,-13 13-15,0-13 0,0 1 16,0 12-16,0-13 0,14 1 0,-14-1 16,0 0-16,0 0 0,0 1 0,0-1 15,0 0-15,0 0 0,-14 0 16,14 1-16,0-1 0,-13 0 0,0 0 16,13 1-16,-13-1 15,-14-13-15,14 13 0,0 0 0,-14 1 16,-12-14-16,-1 13 0,0 0 0,1 0 15,-14 0-15,13-13 0,-13 14 0,0-14 16,0 13-16,-13-13 0,13 0 16,0 13-16,-26-13 0,13 0 0,0 0 15,-1 0-15,1 0 0,0 0 16,0 0-16,13 0 0,-13 0 0,13 0 16,0 0-16,0 0 0,0 0 0,14 0 15,-14 0-15,0 0 0,13 0 16,-13-13-16,13 13 0,-12 0 0,12 0 15,-13 0-15,13 0 0,14 0 0,-14 0 16,0 0-16,14 0 0,-14 0 16,14 0-16,-27 0 0,26 0 0,1 13 15,0-13-15,-1 0 0,1 0 16,12 0-16,1 0 0,0 0 0,0 0 16,-1 0-16,-12 0 15,13 13 1</inkml:trace>
  <inkml:trace contextRef="#ctx0" brushRef="#br0" timeOffset="102917.62">18666 11351 0,'-13'39'31,"0"-25"-31,13-1 0,-13 0 16,-1 13-16,14-12 0,-13-14 16,13 13-16,0 0 0,-13 0 15,13 1-15,0-1 0,0 0 16,0 0-16,-13-13 15,26 14-15</inkml:trace>
  <inkml:trace contextRef="#ctx0" brushRef="#br0" timeOffset="103226.25">18574 11271 0,'26'-13'0,"54"26"31,-54 0-31,-13 1 0,14-1 0,-1 0 16,1 14-16,-14-14 16,13 13-16,-12-12 0,-1-1 0,0 0 15,0 0-15,-13 14 0,13-14 0,-26 0 16,13 0-16,-13 1 15,0-1-15,0 0 0,-1 0 0,-12 1 16,-1-1-16,14-13 0,-13 13 0,-1-13 16,14 0-16,-13 13 0,12-26 15,1 13-15,0 0 0,13-13 16,13 0-16</inkml:trace>
  <inkml:trace contextRef="#ctx0" brushRef="#br0" timeOffset="104273.34">20267 10941 0,'450'0'15,"-358"0"1,1 0-16,13-14 0,-13 14 0,-1 0 15,14-13-15,13 0 0,0 13 16,-26-13-16,-1-1 0,1 1 0,0 13 16,-14-13-16,0 0 0,1 13 0,-14-14 15,-13 14-15,0-13 0,-14 13 16,1 0-16,-14 0 0,1 0 0,-14 0 16,14 0-16,-14 0 0,0 0 0,0 0 15,0 13-15,1 1 16,-1-14-16,-13 13 0,0 0 15,13 0-15,-13 14 0,0-14 0,0 14 16,0-1-16,0 0 0,13 1 16,-13 13-16,0-1 0,0 1 0,0 0 15,14-14-15,-14 14 0,0-14 0,13 1 16,-13-1-16,0-13 0,13 14 16,-13-1-16,0-12 0,13-1 0,-13 0 15,0 0-15,0 0 0,14 1 0,-14-1 16,0 0-16,0 0 15,0 1-15,-14-1 16,1-13-16,0 13 16,-14-13-16,14 0 0,-13 0 15,-1 0-15,1 0 0,-14 0 16,-13-13-16,0 13 0,0 0 0,-13 0 16,-13 0-16,-1 0 0,1-13 0,0 13 15,-1 0-15,1 0 0,-14 0 16,1-14-16,-1 14 0,1 0 0,-14 0 15,13-13-15,14 13 0,-14 0 0,27 0 16,0 0-16,13 0 0,0 0 16,0 13-16,0-13 0,14 0 0,-1 14 15,0-14-15,14 13 0,12-13 16,-12 13-16,13-13 0,0 0 0,-1 13 16,1-13-16,0 0 0,13 14 0,-13-14 15</inkml:trace>
  <inkml:trace contextRef="#ctx0" brushRef="#br0" timeOffset="104667.52">21008 11126 0,'0'53'31,"0"-40"-31,0 0 0,13 0 0,-13 14 0,13-14 16,-13 0-16,14 14 0,-1-14 15,0 0-15,0 14 0,1-27 0,12 13 16,-13 0-16,0-13 0,1 0 16,-1 0-16,13 0 0,-12 0 0,-1 0 15,0-13-15,0 0 0,0-1 16,1 1-16,-14 0 0,13 0 0,-13-14 16,13 14-16,-13 0 0,0 0 0,0-1 15,0 1-15,0 0 16,-13 13-1,0 0-15,-1 0 0,1 13 16</inkml:trace>
  <inkml:trace contextRef="#ctx0" brushRef="#br0" timeOffset="105941.62">18785 12144 0,'0'-13'16,"40"26"-1,-27 1 1,-13-1-16,14-13 0,-14 13 0,0 0 16,0 1-16,0-1 15,-14 0-15,14 0 0,-13 0 0,13 1 16,-13-1-16,0 0 0,13 0 15,-14 1 1,28-14-16,-1 13 16,0-13-16,0 0 15,1 0-15,-1 13 16,0-13-16,-13 13 0,0 0 16,0 1-1,-13-14-15,13 13 0,-13-13 16,-1 13-16,1-13 0,0 0 0,0 0 15,-1 13-15,1-13 16,0 0-16,0-13 16,13 0-16</inkml:trace>
  <inkml:trace contextRef="#ctx0" brushRef="#br0" timeOffset="106236.45">18984 12237 0,'13'0'15,"-13"13"-15,0 0 16,0 1-16,13-1 16,-13 0-16,0 0 0,14 1 0,-1-1 15,0 0-15,0-13 16,14 13-16,-14-13 0,0 0 16,0 0-16,1 0 0,-1 0 0,0 0 15,0-13-15,1 13 0,-1-13 0,0 0 16,0-1-16,-13 1 15,-13 0-15,13 0 0,-13-1 16,-14 14-16,14-13 0,-13 0 16,-1 13-16,1 0 0,-1-13 0,1 13 15,-1 0-15,1 0 0,-1 13 0,1-13 16,13 0-16,-14 0 0,14 13 0,0-13 16,-14 13-16</inkml:trace>
  <inkml:trace contextRef="#ctx0" brushRef="#br0" timeOffset="109309.34">21352 11906 0,'40'0'47,"-27"0"-47,0-13 0,0 13 0,0 0 15,1 0-15,-1-13 0,0 13 0,0 0 16,1 0-16,-1 0 16,0 0-16,-13 13 0,13 0 15,-13 0-15,0 1 16,0-1-16,0 0 0,0 0 16,0 1-16,0-1 0,0 13 0,0-12 0,0-1 15,0 0-15,0 0 0,0 0 16,0 1-16,0-1 0,0 0 15,0 0-15,0 1 0,14-14 16,-14 13-16,0 0 0</inkml:trace>
  <inkml:trace contextRef="#ctx0" brushRef="#br0" timeOffset="109521.59">21378 12091 0,'66'-13'16,"-39"13"-16,-1 0 15,-12 0-15,12 0 0,1 0 16,-1 0-16,0 0 0,1-13 0,-1 13 16,14 0-16,-27 0 0,14 0 0,-1-13 15,-13 13-15,1 0 0,12 0 16,-13 0-16,1 0 0,-1-13 0</inkml:trace>
  <inkml:trace contextRef="#ctx0" brushRef="#br0" timeOffset="110557.43">8890 13229 0,'26'0'16,"-12"13"-1,-1 1-15,-13-1 16,0 0-1,-13 0-15,13 1 0,-14-1 16,1 0-16,13 0 0,-13-13 16,13 13-16,-13-13 0,13 14 15,-13-1 1,39-26 0,-13 13-1,0 0-15,1-14 0,-1 14 0,0 0 16,0 0-16,1-13 0,-1 13 0,0 0 15,0-13-15,1 13 16,-1-13-16,0 13 0,-13-13 16</inkml:trace>
  <inkml:trace contextRef="#ctx0" brushRef="#br0" timeOffset="110904.27">8903 13031 0,'-39'0'15,"78"0"-15,-92 13 0,27-13 0,13 13 16,-1-13-16,1 13 0,0 14 0,0-14 16,-1 14-16,1-14 0,0 13 0,13 1 15,0-1-15,0 1 0,0 12 16,13 1-16,0 0 0,1-14 16,12 14-16,1-14 0,-14 1 0,27-1 15,-14-13-15,14 14 0,-1-14 16,1 0-16,13-13 0,0 0 0,-13 0 15,13-13-15,-1 0 0,-12 0 0,0-1 16,-14-12-16,1 13 0,-1-14 16,-13 1-16,1-1 0,-14 1 0,0-1 15,0 14-15,-14-26 0,1 12 0,-13 1 16,12-1-16,-25 1 0,12 12 16,-12 1-16,12 0 0,-12 0 0,12 13 15,1-13-15,-14 13 0,27 0 16,-40 0-16,26 0 0,1 13 0,13-13 15,-1 0-15</inkml:trace>
  <inkml:trace contextRef="#ctx0" brushRef="#br0" timeOffset="111825.24">10358 13163 0,'-26'13'0,"13"0"16,0 1-16,13-1 0,-14-13 15,1 13-15,13 0 0,-13-13 16,0 14-16,-1-1 0,1 0 16,0 0-1,13 1 1,0-1-16,13-13 16,0 0-16,1 0 15,12 0-15,1 0 16,-1 0-16,0-13 0,-12 13 15,12 0-15,1 0 0,-14 0 0,13-14 16,-12 14-16,-1 0 0,0 0 16,0 0-16,0 0 0,1-13 15</inkml:trace>
  <inkml:trace contextRef="#ctx0" brushRef="#br0" timeOffset="112051.64">10451 13203 0,'-13'26'0,"-14"27"16,27-40 0,0 1-16,0-1 0,-13 13 0,13-13 15,0 1-15,0-1 0,0 0 16,0 0-16,0 1 0,0-1 15,13 0-15,-13 0 16,14-13-16</inkml:trace>
  <inkml:trace contextRef="#ctx0" brushRef="#br0" timeOffset="112413.4">10716 13163 0,'-40'26'15,"27"-12"1,13-1-16,0 0 16,0 0-16,0 1 0,0-1 0,0 0 15,13 0-15,-13 1 0,13-1 0,0 0 16,1 0-16,-1-13 0,0 13 15,0-13-15,14 0 0,-14-13 0,13 13 16,-12 0-16,-1-13 0,0 0 0,0 0 16,-13-1-16,14 1 0,-14 0 15,0 0-15,0-1 0,-14-12 0,1 13 16,13-14-16,-13 14 0,-14-13 0,14 12 16,-13 1-16,13 0 0,-14 0 15,14-1-15,-14 14 0,14 0 0,0-13 16,0 26-16</inkml:trace>
  <inkml:trace contextRef="#ctx0" brushRef="#br0" timeOffset="113139.51">13481 13031 0,'13'-13'16,"0"13"-16,0 0 16,0 0-16,1-14 0,-1 14 15,0 0-15,0 0 16,1 14-16,-1-14 15,-13 13-15,0 0 16,0 0-16,13 0 0,-13 14 16,-13-14-16,13 0 0,0 1 0,0-1 15,0 0-15,0 13 0,0-12 16,0-1-16,0 0 0,0 0 0,0 1 16,0-1-16,0 0 0,0 0 15,13 1 1</inkml:trace>
  <inkml:trace contextRef="#ctx0" brushRef="#br0" timeOffset="113375.29">13388 13269 0,'40'0'15,"-27"0"1,0 0-16,0-13 0,14 13 16,-14 0-16,13 0 0,1-14 15,26 14-15,-27-13 0,1 13 0,-1 0 16,1-13-16,-1 13 16,1 0-16,-1-13 0,14 13 0,-14 0 15,14-14-15,0 14 0</inkml:trace>
  <inkml:trace contextRef="#ctx0" brushRef="#br0" timeOffset="114341.6">18984 12872 0,'-27'26'16,"14"-26"-1,0 14-15,0-1 16,-1-13-16,1 13 0,-13 14 16,13-14-16,-14 0 0,14 0 15,0 1-15,-1-1 0,14 0 16,-13 0-16,0-13 0,13 13 0,-13-13 16,13 14-16,0-1 15,13 0-15,0-13 16,0 0-16,1 0 0,-1 0 15,27 0-15,-1 0 16,-12 0-16,-1-13 16,54 0 15</inkml:trace>
  <inkml:trace contextRef="#ctx0" brushRef="#br0" timeOffset="114548.72">19050 12912 0,'-26'26'16,"52"-52"-16,-66 65 0,27-12 16,13-14-16,0 0 0,-13 1 15,13-1-15,-13 0 0,13 0 0,-14 14 16,14-14-16,0 13 15,0-12-15,0-1 0,0 0 16,27 0-16</inkml:trace>
  <inkml:trace contextRef="#ctx0" brushRef="#br0" timeOffset="114841.62">19209 13084 0,'0'-14'0,"13"14"15,-79 80-15,119-146 16,-53 66-1,-13 13 1,26 0-16,-13 0 0,13-13 16,-13 14-16,13-14 15,0 0-15,14 0 16,-27-14-16,26 1 16,-12 13-16,-14-13 0,13 13 15,-13-13-15,0-1 0,0 1 0,0 0 16,0 0-16,0 0 0,-13-1 15,-1 1-15,1 0 0,0 13 0,0-13 16,-1 13-16,1 0 16,0-14-16,13 28 0,-13-14 15,0 13-15</inkml:trace>
  <inkml:trace contextRef="#ctx0" brushRef="#br0" timeOffset="115668.87">21802 12700 0,'0'53'31,"-14"-40"-31,14 0 16,0 1-16,0-1 0,-13 0 15,13 0-15,-13 1 0,0-1 16,13 0-16,-13 0 0,-1-13 16,14 13-16,14-26 31,-1 13-31,13-13 15,-13 0-15,14 0 16,-1-1-16,-12 1 0,25-13 16,-25-1-16,-1 14 0,-13 0 15,0-1-15,0 1 16,-13 0-16,-1 13 0,1-13 0,-13 0 16,12 13-16,1-14 0,-13 14 15,-1 0-15,14 0 16,0 0-16,0 14 0,-1-14 15,1 13-15,0-13 16</inkml:trace>
  <inkml:trace contextRef="#ctx0" brushRef="#br0" timeOffset="116360.28">10755 13705 0,'-13'40'16,"13"-27"0,0 1-16</inkml:trace>
  <inkml:trace contextRef="#ctx0" brushRef="#br0" timeOffset="116484.4">10808 14010 0,'0'0'16,"0"13"-16,-13-13 0,13 13 16</inkml:trace>
  <inkml:trace contextRef="#ctx0" brushRef="#br0" timeOffset="116567.68">10848 14142 0</inkml:trace>
  <inkml:trace contextRef="#ctx0" brushRef="#br0" timeOffset="116897.38">13758 13732 0,'-13'13'16,"13"0"-1</inkml:trace>
  <inkml:trace contextRef="#ctx0" brushRef="#br0" timeOffset="117032.05">13798 14116 0,'-13'26'31</inkml:trace>
  <inkml:trace contextRef="#ctx0" brushRef="#br0" timeOffset="117182.49">13917 14274 0,'53'-26'16</inkml:trace>
  <inkml:trace contextRef="#ctx0" brushRef="#br0" timeOffset="119371.57">8758 10888 0,'13'13'0,"-26"-26"0,39 26 0,-26 0 16,0 0 0,0 14-16,0-14 15,0 0 1,0 0-16,13 1 15,-13-1-15,14-13 16,-14 13-16,13 0 16,-13 1-16,0-1 15,0 0-15,-13-13 0,13 13 0,-14-13 16,14 13-16,-13-13 0,13 14 16,-13-14-16,0 13 0</inkml:trace>
  <inkml:trace contextRef="#ctx0" brushRef="#br0" timeOffset="119625.01">8956 10927 0,'40'27'31,"-40"-14"-31,13-13 0,0 0 0,1 0 15,-1-13-15,0 13 0,0 0 16,0-13-16,-13-1 16,0 1-1,-13 13-15,13-13 0,-13 13 0,0-13 16,0 13-16,-1 0 16,1-14-16,0 14 0,0-13 15,-1 13-15,1 0 0</inkml:trace>
  <inkml:trace contextRef="#ctx0" brushRef="#br0" timeOffset="119995.6">8665 10782 0,'-53'39'16,"106"-78"-16,-132 105 0,39-40 0,27 1 15,-27 13-15,14-1 0,12 1 16,1 0-16,0-1 0,13 1 0,0 0 15,13-14-15,0 14 0,14-14 16,-1 1-16,14 12 0,13-25 0,-13 12 16,-1-13-16,14 1 0,-13-14 0,13 0 15,0 0-15,13-14 0,0 1 16,0 0-16,-13-14 0,13 14 0,-13-27 16,0 14-16,-13-14 0,-1 14 15,1-14-15,-13 0 0,-14 1 0,0-1 16,0 14-16,-13-14 0,0 14 0,-13-1 15,0-13-15,-14 14 0,-12-1 0,-14 1 16,13 0-16,-26-1 16,13 14-16,0 0 0,0-1 0,0 14 15,-13 0-15,13 0 0,-13 0 0,26 0 16,-13 0-16,14 14 0,-1-14 16,14 13-16,12-13 0,1 13 0</inkml:trace>
  <inkml:trace contextRef="#ctx0" brushRef="#br0" timeOffset="121124.35">15280 10226 0,'-14'0'47,"41"0"-32,-14-13 1,0 13-16,1 0 16,-14 13-16,13-13 0,0 0 15,-13 13-15,13-13 0,-13 14 16,-13-1 0,0 0-16,0 0 15,-1 1-15,1-14 0,13 13 16,-13-13-16,0 13 15,-1-13-15,1 13 16,0-13 0,13 13-16,-13-13 0,0 14 15,-1-14 1,1 0-16</inkml:trace>
  <inkml:trace contextRef="#ctx0" brushRef="#br0" timeOffset="121625.07">15399 10279 0,'13'-13'0,"0"13"31,-13-13-31,13 13 31,1 0-15,-1 13-16,0-13 0,0 0 16,1 13-1,-1-13 1,0 13 0,-26 1 46,13-1-46,-13-13-1,-1 13 17,1 0-1,0 0-16,0-13-15,13 14 0,-14-14 16,1 13-16,0 0 16,0-13-16,0 0 15,-1 13-15,1-13 0</inkml:trace>
  <inkml:trace contextRef="#ctx0" brushRef="#br0" timeOffset="122140.1">15253 10160 0,'-13'-13'0,"39"0"16,1 26-1,-14 0 17,-13 0-17,0 0-15,-13-13 16,13 14-16,-13-14 0,-1 13 16,1 0-16,0-13 0,0 0 15,13 13-15,-13-13 0,-1 0 16</inkml:trace>
  <inkml:trace contextRef="#ctx0" brushRef="#br0" timeOffset="122677.23">15452 10266 0,'-14'0'0,"1"13"0,0-13 16,13 13-16,-13 1 15,13-1-15,0 0 16,0 0-1,0 0-15,13 1 16,0-1 0,0-13-16,1 0 0,-1 0 15,0 0-15,-13-13 16,13 13-16,-13-14 16,14 14-16,-14-13 0,0 0 15,0 0 1,0 0-16,-14-1 15,1 14 1</inkml:trace>
  <inkml:trace contextRef="#ctx0" brushRef="#br0" timeOffset="123243.4">15094 9988 0,'0'0'0,"-52"26"0,38-12 0,-12 12 16,-1-13-16,14 27 0,-13-13 0,12 12 15,1-12-15,0 12 0,13 1 16,-13 0-16,13-1 0,13 1 0,-13 0 15,13 0-15,0-14 0,14 14 0,-1-14 16,1 14-16,13-14 0,-1 1 16,1-1-16,0-13 0,-1 1 15,1-1-15,0 0 0,-14-13 0,14 0 0,-14 0 16,27 0-16,-13-13 16,13 0-16,0-1 0,13-12 0,-13 13 15,-14-14-15,14-12 0,0 12 0,-13-13 16,-14 1-16,1 12 0,-1-12 15,-12 12-15,-14-13 0,0 1 0,0-1 16,-14 0-16,1 1 0,-27-1 0,1 0 16,-1 14-16,-13-1 0,13 1 15,-12-1-15,-15 14 0,15 0 0,-1 0 16,0 13-16,0 0 0,0-13 0,13 13 16,-13 13-16,0-13 0,14 0 15</inkml:trace>
  <inkml:trace contextRef="#ctx0" brushRef="#br0" timeOffset="129087.6">7501 1429 0,'93'0'31,"-41"0"-31,1 0 0,27 0 16,-1-13-16,14 13 0,-1 0 15,1 0-15,39-14 0,1 14 0,-1-13 16,13 13-16,1-13 0,-1 13 0,1-13 15,13-1-15,-1 14 0,1-13 16,-13 13-16,12-13 0,1 13 16,-13-13-16,-1 13 0,1-14 0,-1 14 15,-12 0-15,-41 0 0,14-13 0,-13 13 16,-14 0-16,0 0 0,-26 0 16,0 0-16,0 0 0,-13 13 0,-1-13 15,-25 0-15,12 0 0,-13 0 0,14 0 16,-14 0-16,0 0 0,1 0 0,-1 0 15,-13-13 1,-13 0 0,-1 13-1</inkml:trace>
  <inkml:trace contextRef="#ctx0" brushRef="#br0" timeOffset="129856.02">17502 1204 0,'66'-13'0,"-13"-1"0,13 14 15,1-13-15,25 13 0,1-13 0,39 0 16,0 13-16,1-14 0,-1 1 16,13 13-16,14-13 0,-13 13 0,-1 0 15,14-13-15,-13 13 0,-1 0 0,1 13 16,-27-13-16,-14 0 0,1 0 15,0 13-15,-13-13 0,-1 13 0,-12-13 16,-1 0-16,-13 14 0,-13-14 16,0 13-16,-13-13 0,-14 0 0,-13 0 15,14 0-15,-14 13 0,0-13 0,1 0 16</inkml:trace>
  <inkml:trace contextRef="#ctx0" brushRef="#br0" timeOffset="197116.06">15544 2738 0,'0'53'47,"106"331"-31,-40-159-16,-13 13 15,-26-53-15,-14-79 16,-13 0-16,0-13 15,0-1-15,0-39 16,0-40-16,0 14 16,0-14-16,-13-13 31,-1-13-15,1-40-16,0-27 15</inkml:trace>
  <inkml:trace contextRef="#ctx0" brushRef="#br0" timeOffset="198068.25">15253 2527 0,'80'-13'16,"39"-1"-16,39-12 16,67-1-16,53-39 15,26 53-15,-39-27 16,26-13-16,-159 40 16,-52 0-16,-54 13 15,-13 26 79,-13 80-94,14 27 16,-14 39-1,13 0-15,40 13 16,-40-13-16,0-14 15,27-12-15,-27-40 16,0 0-16,1-40 16,12-40-16,-26-13 109,-40-13-93,-39 0-1,-80 0-15,-79 0 16,-119 93-16,13-40 16,66-13-16,0 13 15,40-14-15,79-25 16,27 12-16,66-13 15,13-13-15,27 0 16</inkml:trace>
  <inkml:trace contextRef="#ctx0" brushRef="#br0" timeOffset="201110.01">14367 3744 0,'13'0'63,"27"0"-63,-14 0 16,14 13-16,-14-13 15,1 0 1,-14 13 46,0-13-62,40 53 16,-26 27-16,-27-41 16,26 54-16,-13 0 15,-13-14-15,0 27 16,0 26-16,0-26 15,0 26-15,0 0 16,0-13-16,0 27 16,0-27-16,0 13 15,27 40-15,-27-66 16,13 0-16,14-40 16,-27-13-1,0-26-15,0-14 94,-27-13-32,14 0-46,-14 0-16,-26-13 16,-39-1-16,-14 1 15,-53 13-15,-39 0 16,26 0-16,26 0 16,40 0-16,1 0 15,-1 0-15,40 0 16,26 0-16,27 0 15</inkml:trace>
  <inkml:trace contextRef="#ctx0" brushRef="#br0" timeOffset="203533.59">16153 11126 0,'26'13'31,"-13"40"-15,14 66-16,-1 0 16,-12 40-16,12 26 15,-13-13-15,27 26 16,-40 1-16,0 39 16,40 0-16,-14-66 15,1-13-15,-27-27 16,26-13-16,-13-26 15,1-27-15,-14-13 16,13-40 0,-13 0-16</inkml:trace>
  <inkml:trace contextRef="#ctx0" brushRef="#br0" timeOffset="205405.27">16140 11152 0,'0'27'78,"0"12"-78,-14 1 15,14-14-15,-13 27 16,0-26-16,13-1 16,0 1-1,0-40 79,0-14-78,0-13-16,0 1 15,0-14-15,0 40 16,0-27-16,13 27 16,0-14-16,-13 14 15,0-14-15,0 14 16,14 13 62,25 13-78,1 14 16,0 39-16,-1-26 15,1 26 1,0-26-16,-27-1 15,13-12-15,-12-14 16</inkml:trace>
  <inkml:trace contextRef="#ctx0" brushRef="#br0" timeOffset="206781.29">16351 13600 0,'13'0'31,"1"0"-31,12 0 16,-13 0-1,14 26-15,-14-13 16,0-13 0,1 27-16,-1-14 31,0-13-16,0 13 1,-13 0 0,13-13-1,1 14 48,-1-14-63,0 0 15,0-27 64,-13-26-64,0 14-15,14-1 16,-1 13-16,-13-12 15,0-1-15,0 27 16,0 0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2.645"/>
    </inkml:context>
    <inkml:brush xml:id="br0">
      <inkml:brushProperty name="width" value="0.025" units="cm"/>
      <inkml:brushProperty name="height" value="0.025" units="cm"/>
      <inkml:brushProperty name="ignorePressure" value="1"/>
    </inkml:brush>
  </inkml:definitions>
  <inkml:trace contextRef="#ctx0" brushRef="#br0">18 1,'0'3,"-3"4,-1 5,-1 4,2 1,0-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8.773"/>
    </inkml:context>
    <inkml:brush xml:id="br0">
      <inkml:brushProperty name="width" value="0.025" units="cm"/>
      <inkml:brushProperty name="height" value="0.025" units="cm"/>
      <inkml:brushProperty name="ignorePressure" value="1"/>
    </inkml:brush>
  </inkml:definitions>
  <inkml:trace contextRef="#ctx0" brushRef="#br0">35 1,'4'2,"1"1,-1-1,0 0,1-1,0 1,-1-1,7 1,-3 0,0 0,0 0,-1 1,1 0,9 5,-16-7,0 0,0-1,0 1,0 0,0 0,0 0,-1 0,1 0,0 0,-1 0,1 0,0 0,-1 0,1 0,-1 0,0 0,1 0,-1 0,0 1,0-1,0 0,1 0,-1 0,0 1,-1-1,1 0,0 0,0 0,0 1,-1-1,1 0,-1 0,1 0,-1 0,1 0,-1 0,0 0,1 0,-1 0,-1 1,-1 1,0 1,0-1,-1 0,1 0,-1-1,1 1,-1-1,0 1,-6 1,6-2,1 0,-1 0,0 0,1 0,-1 1,1 0,-6 5,48 8,-38-16,1 1,0 0,-1 0,1 0,-1 0,0 0,1 0,-1 0,0 0,0 0,1 1,-1-1,0 0,0 1,-1-1,1 1,0 0,0-1,-1 1,1-1,-1 1,1 0,-1 0,0-1,0 1,1 0,-1-1,0 1,-1 0,1 0,0-1,0 1,-1 0,1-1,-1 1,0 0,1-1,-1 1,0-1,0 1,0-1,0 1,0-1,0 0,-3 2,0 1,-1 0,1 0,-1-1,0 0,0 0,-1 0,1-1,-1 1,1-1,-1-1,0 1,-8 0,-5 0,1-2</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9.737"/>
    </inkml:context>
    <inkml:brush xml:id="br0">
      <inkml:brushProperty name="width" value="0.025" units="cm"/>
      <inkml:brushProperty name="height" value="0.025" units="cm"/>
      <inkml:brushProperty name="ignorePressure" value="1"/>
    </inkml:brush>
  </inkml:definitions>
  <inkml:trace contextRef="#ctx0" brushRef="#br0">56 5,'-4'2,"0"1,0 0,0 0,0 0,1 1,0-1,-1 1,1 0,0-1,1 2,-1-1,1 0,0 0,0 1,0-1,1 1,-2 7,2-10,1 0,-1 0,1 0,0 0,0 1,0-1,0 0,0 0,1 0,-1 0,1 0,-1 0,1 0,0 0,-1 0,1 0,0 0,0 0,1 0,-1-1,0 1,1 0,-1-1,1 1,-1-1,1 0,0 1,-1-1,1 0,0 0,0 0,0 0,0-1,0 1,0 0,0-1,0 1,0-1,0 0,0 0,3 0,0 0,0 0,1-1,-1 0,0 0,0 0,0-1,0 1,0-1,0-1,0 1,-1-1,1 1,-1-1,1-1,4-4,-6 6,-1 1,0-1,0 0,0 0,0 0,0 0,-1-1,1 1,-1 0,1-1,-1 1,0-1,0 1,0-1,0 0,0 1,-1-1,1 0,-1 1,0-1,0 0,0 0,0 0,0 1,-1-1,1 0,-1 0,1 1,-1-1,-2-3,0 3,1 1,-1-1,0 1,-1 0,1 0,0 0,-1 0,1 0,-1 1,1 0,-1 0,0 0,0 0,1 0,-1 1,0 0,0-1,0 1,0 1,-3 0,6-1,-16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0.938"/>
    </inkml:context>
    <inkml:brush xml:id="br0">
      <inkml:brushProperty name="width" value="0.025" units="cm"/>
      <inkml:brushProperty name="height" value="0.025" units="cm"/>
      <inkml:brushProperty name="ignorePressure" value="1"/>
    </inkml:brush>
  </inkml:definitions>
  <inkml:trace contextRef="#ctx0" brushRef="#br0">102 0,'-46'61,"0"1,45-62,1 0,-1 1,0-1,1 1,-1-1,1 1,-1-1,1 1,-1-1,1 1,-1 0,1-1,0 1,-1 0,1-1,0 1,0 0,-1 0,1-1,0 1,0 0,0-1,0 1,0 0,0 0,0-1,0 1,0 0,0 0,0-1,1 1,-1 0,1 1,0-1,1 0,-1 0,1 0,0 0,-1 0,1 0,0-1,0 1,0-1,-1 1,1-1,0 1,2-1,76 1,-68-2,48 0,-43 1</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1.573"/>
    </inkml:context>
    <inkml:brush xml:id="br0">
      <inkml:brushProperty name="width" value="0.025" units="cm"/>
      <inkml:brushProperty name="height" value="0.025" units="cm"/>
      <inkml:brushProperty name="ignorePressure" value="1"/>
    </inkml:brush>
  </inkml:definitions>
  <inkml:trace contextRef="#ctx0" brushRef="#br0">41 1,'-4'3,"0"5,0 4,0 3,2 3,-3 1,0 1,0 0,2 1,0-1,2-4</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2.273"/>
    </inkml:context>
    <inkml:brush xml:id="br0">
      <inkml:brushProperty name="width" value="0.025" units="cm"/>
      <inkml:brushProperty name="height" value="0.025" units="cm"/>
      <inkml:brushProperty name="ignorePressure" value="1"/>
    </inkml:brush>
  </inkml:definitions>
  <inkml:trace contextRef="#ctx0" brushRef="#br0">19 4,'-2'2,"0"0,0 0,1 0,-1 0,1 0,0 1,-1-1,1 0,0 1,0-1,1 1,-1 0,0-1,1 1,0 0,0-1,-1 1,1 0,1-1,-1 1,0 0,1-1,-1 1,1-1,0 1,0-1,0 1,0-1,0 1,1-1,-1 0,1 0,-1 0,1 0,0 0,0 0,0 0,0 0,0-1,0 1,5 2,-5-3,-1 0,1 1,0-1,0 0,-1 0,1 0,0-1,0 1,0 0,0-1,0 1,0-1,0 1,0-1,0 0,0 0,0 0,1 0,-1 0,0-1,0 1,0-1,0 1,0-1,0 0,-1 1,1-1,0 0,0 0,0-1,-1 1,1 0,0 0,-1-1,0 1,1-1,-1 0,0 1,1-1,-1 0,0 0,0 0,-1 1,1-1,0 0,-1 0,1 0,-1 0,1 0,-1-1,0 1,0-2,0 1,0 1,0 0,0-1,0 1,0-1,-1 1,1-1,-1 1,0 0,1-1,-1 1,0 0,-1 0,1 0,0 0,0 0,-1 0,1 0,-1 0,0 0,0 1,1-1,-1 0,0 1,0 0,-1 0,1-1,0 1,0 0,0 1,-1-1,1 0,0 1,-1-1,1 1,-4-1,-1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251"/>
    </inkml:context>
    <inkml:brush xml:id="br0">
      <inkml:brushProperty name="width" value="0.025" units="cm"/>
      <inkml:brushProperty name="height" value="0.025" units="cm"/>
      <inkml:brushProperty name="ignorePressure" value="1"/>
    </inkml:brush>
  </inkml:definitions>
  <inkml:trace contextRef="#ctx0" brushRef="#br0">142 0,'-11'8,"0"0,0 1,1 0,0 1,1 0,-12 15,-11 12,29-35,1 0,-1 1,1-1,0 1,0 0,0 0,0 0,0 0,1 0,-1 0,1 1,-1 2,2-5,0 0,0 0,0-1,0 1,0 0,0-1,0 1,1 0,-1-1,0 1,0 0,1-1,-1 1,0-1,1 1,-1-1,1 1,-1 0,0-1,1 1,0-1,-1 0,2 1,27 7,74-11,-85 3</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701"/>
    </inkml:context>
    <inkml:brush xml:id="br0">
      <inkml:brushProperty name="width" value="0.025" units="cm"/>
      <inkml:brushProperty name="height" value="0.025" units="cm"/>
      <inkml:brushProperty name="ignorePressure" value="1"/>
    </inkml:brush>
  </inkml:definitions>
  <inkml:trace contextRef="#ctx0" brushRef="#br0">97 1,'-3'3,"-4"5,-2 4,2 3,-2 3,0 1,-1-2,2-1,1 0,-1-3,1 0,1 2,2 0,2-2</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4.734"/>
    </inkml:context>
    <inkml:brush xml:id="br0">
      <inkml:brushProperty name="width" value="0.025" units="cm"/>
      <inkml:brushProperty name="height" value="0.025" units="cm"/>
      <inkml:brushProperty name="ignorePressure" value="1"/>
    </inkml:brush>
  </inkml:definitions>
  <inkml:trace contextRef="#ctx0" brushRef="#br0">81 17,'25'-11,"-11"5,-30 12,12-5,1 0,0 0,0 0,1 1,-1 0,0-1,0 1,1 0,-1 0,1 0,-1 1,1-1,0 1,0-1,0 1,-3 5,5-6,-1 0,1 1,-1-1,1 0,-1 0,1 0,0 1,0-1,0 0,1 0,-1 1,0-1,1 0,0 0,-1 0,1 0,0 0,0 0,0 0,0 0,0 0,1 0,-1 0,0-1,4 3,-4-3,0 0,0 0,0 0,0 0,0 0,0 0,0 0,0 0,-1 0,1 0,0 1,-1-1,1 0,-1 0,1 1,-1-1,0 0,1 1,-1-1,0 1,0-1,0 0,0 1,0-1,0 0,0 1,-1-1,1 0,0 1,-1-1,1 0,-1 1,0-1,1 0,-1 0,0 0,0 1,0-1,1 0,-1 0,-2 0,-3 4,-1-1,1 0,-1 0,0 0,-15 4,16-6,-6 2</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5.833"/>
    </inkml:context>
    <inkml:brush xml:id="br0">
      <inkml:brushProperty name="width" value="0.025" units="cm"/>
      <inkml:brushProperty name="height" value="0.025" units="cm"/>
      <inkml:brushProperty name="ignorePressure" value="1"/>
    </inkml:brush>
  </inkml:definitions>
  <inkml:trace contextRef="#ctx0" brushRef="#br0">31 18,'64'-13,"-51"9,-44 13,28-8,1 0,-1-1,0 1,0 0,1 0,-1 0,1 1,-1-1,1 1,-1-1,1 1,0 0,0 0,0 0,0 0,0 0,0 0,-1 3,2-2,1 0,0 0,0 0,0 0,0 0,0 0,0 0,1 0,0 0,0 0,-1 0,2-1,-1 1,0 0,0-1,1 1,1 2,-1-3,-1 1,1 0,-1-1,0 1,0 0,0-1,-1 1,1 0,-1 0,1 0,-1 0,0 0,0 0,0-1,-1 5,0-5,1-1,-1 1,0 0,0 0,0-1,0 1,-1 0,1-1,0 0,-1 1,1-1,-1 0,1 1,-1-1,0 0,1 0,-1 0,0-1,0 1,0 0,1-1,-1 1,-3 0,-11 2</inkml:trace>
</inkml:ink>
</file>

<file path=ppt/ink/ink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44:28.461"/>
    </inkml:context>
    <inkml:brush xml:id="br0">
      <inkml:brushProperty name="width" value="0.05292" units="cm"/>
      <inkml:brushProperty name="height" value="0.05292" units="cm"/>
      <inkml:brushProperty name="color" value="#0070C0"/>
    </inkml:brush>
  </inkml:definitions>
  <inkml:trace contextRef="#ctx0" brushRef="#br0">9379 6138 0,'199'-13'31,"-120"13"-31,-13-13 16,14 13-16,12 0 0,-12-13 0,-1 13 16,1 0-16,-14 0 0,13 0 0,-13-14 15,0 14-15,-13 0 0,0 0 16,-13 0-16,0 0 0,-1 0 0,-12 0 15,-1-13-15,1 13 0,-14 0 16,0 0-16,14 0 0,-14 0 16,0 0-16,0 0 15,0 13-15,1-13 32</inkml:trace>
  <inkml:trace contextRef="#ctx0" brushRef="#br0" timeOffset="722.2">12263 6072 0,'159'0'31,"-93"0"-31,14 13 16,-1-13-16,14 0 0,-14 0 0,14 14 0,-1-14 15,1 0-15,-1 13 0,1-13 0,0 13 16,-14-13-16,14 13 16,-14-13-16,0 14 0,1-14 0,-14 13 15,-13-13-15,0 0 0,0 13 0,-27-13 16,14 0-16,-27 0 0,14 0 15,-14 13-15,0-13 0,0 0 0,0 0 16,1 0-16,-54-13 31</inkml:trace>
  <inkml:trace contextRef="#ctx0" brushRef="#br0" timeOffset="1633.35">450 6734 0,'-13'0'0,"26"0"0,0-14 15,13 14-15,1 0 0,26-13 16,0 13-16,26 0 0,1-13 16,-1 13-16,27 0 0,-14-13 15,41 13-15,-41-13 0,14 13 0,0-14 16,0 14-16,0 0 0,-14-13 16,14 13-16,-27 0 0,14 0 0,-27 0 15,13-13-15,-26 13 0,0 0 0,0 0 16,-13 0-16,-14 0 0,1 0 15,-1 0-15,-12 0 0,12 0 0,-13 0 16,0 0-16,1 0 0,-1 0 16,0 0-16,0 0 15,1 0 1</inkml:trace>
  <inkml:trace contextRef="#ctx0" brushRef="#br0" timeOffset="3269.01">14301 4591 0,'0'-14'0,"13"14"16,0 0-16,0 0 0,14 0 0,-1 0 15,1 0-15,26 0 0,-14 0 16,14 14-16,0-14 0,0 13 0,-13-13 15,13 13-15,-14-13 0,1 13 0,-13-13 16,-1 13-16,0 1 16,1-1-16,-14 0 0,14 0 0,-14 1 15,-13-1-15,13 13 0,0 1 0,-13-14 16,0 27-16,14-14 0,-14 14 16,0 13-16,13-14 0,-13 1 0,0 13 15,13-13-15,-13 13 0,0-14 0,13 27 16,-13-26-16,13 13 0,1 13 0,-14-13 15,13 0-15,0 0 16,0 0-16,1 0 0,12 53 0,-13-67 16,1 1-16,-1 0 0,0-1 0,0 1 15,0 0-15,-13-14 0,14 1 16,-14-1-16,0 1 0,13-1 16,-13-13-16,0 0 0,0 1 0,0-1 15,-13 13-15,13-12 0,-14-1 0,1-13 16,0 13-16,0 0 0,0 1 15,-1-14-15,-12 13 0,-1-13 0,-12 13 16,12 0-16,-26 0 0,14-13 0,-1 14 16,-13-1-16,13 0 0,-26 0 15,13 1-15,0-1 0,14 0 0,-14 0 16,-13 1-16,26-1 0,-13 0 0,0-13 16,0 13-16,-26-13 0,-1 0 15,1 0-15</inkml:trace>
  <inkml:trace contextRef="#ctx0" brushRef="#br0" timeOffset="4096.22">1058 4577 0,'0'0'0,"-26"-13"15,13 13 1,-1 0-16,-12-13 0,-1 13 0,1 0 15,0 0-15,-27 0 0,0 13 16,0-13-16,0 0 0,0 0 16,0 0-16,13 13 0,-13-13 0,14 0 15,-1 0-15,14 0 0,-14 14 16,14-14-16,-1 0 0,1 0 0,-1 13 16,14-13-16,-14 0 0,14 13 0,0-13 15,0 13-15,0-13 0,-1 13 16,1 1-16,0-1 0,0 0 0,13 0 15,-14 14-15,14-14 0,-13 13 0,13 1 16,-13-1-16,13 14 0,-13 0 0,-1-1 16,14 14-16,-13 0 0,0 0 15,13 13-15</inkml:trace>
  <inkml:trace contextRef="#ctx0" brushRef="#br0" timeOffset="5349.87">529 6919 0,'-13'0'0,"-14"0"16,14 0-1,-13-13-15,13 13 0,-1 0 16,1 0-16,0-14 0,-14 14 16,14 0-16,-26-13 15,12 13-15,14-13 0,-14 13 0,14 0 16,0-13-16,0 13 0,-1 0 0,1-14 15,0 14-15,0 0 0,0 0 16,-1 0-16,1 0 0,13-13 0,-13 13 16,0 0-16,-1 0 0,1 0 15,13-13 1,-13 13-16,0 0 16,-1 0-1,1-13 16,0 13-15</inkml:trace>
  <inkml:trace contextRef="#ctx0" brushRef="#br0" timeOffset="10355.68">10874 6099 0,'14'0'0,"39"0"31,-40 0-31,0 0 0,13 0 0,-12 0 0,12 0 16,-13 0-16,14 0 0,-1 0 16,1 0-16,-1 0 0,1 0 0,-14 0 15,13 0-15,1 0 0,-1 13 0,14-13 16,13 0 0,-27 0-16,40 0 0,-39 0 15,-1 0-15,1 0 0,-1 0 0,1 0 16,-1 0-16,-13 13 0,14-13 15,-1 0-15,-12 0 0,12 0 0,-13 0 16,1 0-16,12 0 0,-13 13 0,0-13 16,1 0-16,12 0 0,-13 0 15,1 0-15,-1 0 0,0 0 16,0 0-16,0 0 0,1 0 0,-1 0 16,-13 14-16,13-14 0,0 0 15,1 0-15,-1 0 16,0 0-16,0 0 0,1 0 15,-1 0 1,0 0 0,0 0-16,0 0 15,1 0 17,-1 0-17,0 13-15,0-13 16,1 0-16,-1 0 15,0 0 1,0 0-16,1 0 16,-1 0-1,13 0-15,1 0 16,-14 13 0,0-13-16,0 0 15,1 0-15,-1 0 16,0 0-1,0 0 17,0 0 30</inkml:trace>
  <inkml:trace contextRef="#ctx0" brushRef="#br0" timeOffset="14712.69">4538 7210 0,'-40'-40'16,"27"14"-16,-14-1 0,1 1 16,-1-1-16,-12-12 0,-1-1 15,-13 0-15,0 14 0,13-14 0,-12 14 16,12-1-16,0 1 0,14-1 0,-14 14 16,14 0-16,-14-14 0,13 14 15,-12 0-15,-1 0 16,0 0-16,27-1 15,0 14-15,0 0 0,-1 0 0,1 0 16,0 0-16,0 0 16,13 14-16,-14-14 0</inkml:trace>
  <inkml:trace contextRef="#ctx0" brushRef="#br0" timeOffset="15185.35">3757 6734 0,'0'26'31,"0"-13"-31,0 1 0,0-1 16,0 0-16,0 0 0,0 0 0,0 1 16,0-1-16,0 0 15,0 0-15,0 1 16,-13-41 15,13 14-31,-13-14 16,-1-25-16,1 25 0,13 1 0,0-1 15,-13 1-15,13 13 0,0-14 0,0 14 16,0 0-16,-13-14 0,13 14 16,13 0-16,-13-1 0,0 1 15,13 0-15,0 0 16,1 13-16,-1 0 0,13 0 15,-12 0-15,12 0 0,0 0 0,1 0 16</inkml:trace>
  <inkml:trace contextRef="#ctx0" brushRef="#br0" timeOffset="19760.3">7779 7289 0,'0'-13'16,"0"39"15,0-12-31,0-1 0,0 13 15,0-12-15,-13-1 0,13 13 0,0 1 16,0-14-16,0 13 0,-14-12 0,14 12 16,0-13-16,0 1 0,-13 12 15,13-13-15,0 1 0,0-1 0,0 0 16,0 0-16,0 0 16</inkml:trace>
  <inkml:trace contextRef="#ctx0" brushRef="#br0" timeOffset="22113.15">7739 7250 0,'66'-14'32,"-26"14"-32,-14 0 15,1 0-15,-1-13 0,1 13 0,-1 0 16,14 0-16,-14 0 0,14 0 15,-14 0-15,14-13 0,0 13 0,0 0 16,-1 0-16,1 0 0,13-13 0,-13 13 16,-1 0-16,1 0 0,13-14 15,-14 14-15,-12 0 0,13 0 0,-14 0 16,14 0-16,-14 0 0,14-13 16,-14 13-16,1 0 0,-1 0 15,14 0-15,-14-13 0,1 13 0,-1 0 16,14 0-16,-13 0 0,-1-13 0,0 13 15,14 0-15,-13 0 0,12-13 16,1 13-16,-14 0 0,14-14 0,-13 14 16,-1 0-16,0 0 0,1-13 0,-1 13 15,1 0-15,-1 0 0,1-13 16,-14 13-16,13 0 0,-12 0 0,12 0 16,-13 0-16,1 0 0,12 0 0,-13 0 15,1 0-15,-1 0 0,13 0 16,-13 0-16,1 0 0,12-13 15,-13 26-15,1-26 0,12 13 0,-13 0 16,14 0-16,-14 0 0,0 0 16,14 0-16,-14 0 0,13 0 0,-12 0 15,-1 0-15,13 0 0,-13 0 0,1 0 16,-1 0-16,13 0 0,-12 0 16,-1 13-16,0-26 0,0 13 0,1 0 15,12 0-15,-13 0 0,0 0 0,1 0 16,-1 13-16,0-13 0,14 0 15,-14-13-15,0 26 0,0-13 0,1 0 16,12 0-16,-13 0 0,0 0 0,1 0 16,12 0-16,-13 0 15,1 0-15,12 0 0,-13 0 0,1 0 16,12 0-16,-13 0 0,0 0 0,14 0 16,-14 0-16,0 0 0,14 0 15,-14 0-15,0 0 0,0 0 0,14 0 16,-14 0-16,0 0 0,1 0 0,-1 0 15,0 0-15,0 0 16,1 0-16,-1 0 0,0 0 16,0 0-16,0 0 0,1 0 15,-1 0 1,0 0-16,0 0 16,1 0-16,-1 0 15,0 0 1,-13 13-16,13-13 15,1 0 1,-14 13 0,13-13-16,-13 14 15,0-1-15,13 0 16,-13 0-16,0 0 16,0 1-16,0-1 15,0 0-15,0 0 0,0 14 16,0-14-16,0 0 0,0 0 0,0 1 15,0-1-15,0 0 16,0 0-16,0 1 0,13 25 16,-13-25-16,0-1 0,0 0 0,0 0 15,0 0-15,0 1 0,0-1 16,0 0-16,0 0 0,13-13 0,-13 14 16,0-1-16,0 0 0,0 0 15,0 1-15,14-14 0,-14 13 0,0 0 16,0 0-1,0 0-15,13 1 16,-13-1 15,0 0-31,-13 0 32,13 1-17,0-1 1,-14 0-1,14 0 1,-13-13 31,0 0-31,-13 0-1,12 0-15,1 0 16,0 0-16,0 0 0,-1 0 15,1 0-15,0 0 0,0-13 0,-14 13 16,14 0-16,0 0 0,-14 0 0,14 0 16,-13 0-16,12 0 0,-12-13 0,13 13 15,-14 0-15,1 0 0,-1 0 16,14 0-16,-13-13 0,-1 13 0,1 0 16,-1 0-16,14 0 0,-13-14 0,-1 14 15,1 0-15,-1 0 0,14 0 16,-13 0-16,-1 0 0,1-13 15,12 13-15,-12 0 0,-1 0 0,1 0 16,0 0-16,12 0 0,-12 0 16,-14 0-16,14-13 0,-1 13 0,1 0 15,-1 0-15,14 0 0,-13 0 0,12 0 16,-12 0-16,-1 0 0,14 0 16,-13 0-16,13 0 0,-14 0 0,14 0 15,-14 0-15,14 0 0,0 0 0,-27 0 16,27 0-16,0 0 0,0 0 15,-1-13-15,1 13 0,0 0 16,0 0-16,-1 0 0,1 0 0,0 0 16,0 0-16,0-14 0,-1 14 15,1 0-15,0 0 0,0 0 16,-1 0-16,1 0 0,0-13 0,-14 13 16,14 0-16,0 0 0,-13 0 0,12-13 15,1 13-15,-13 0 0,12 0 16,1 0-16,-13 0 0,13-13 0,-1 13 15,-12 0-15,13 0 0,-1 0 16,1 0-16,-13 0 0,12 0 0,1-13 0,0 13 16,0 0-16,0 0 0,-1 0 15,1 0-15,0 0 0,0 0 0,-1 0 16,-12 0 0,13 0-16,-1 0 15,1 0-15,0 0 0,-13 0 16,12 0-1,1 0-15,0 0 0,0 0 16,-1 13-16,1-13 0,0 0 16,0 0-16,-1 0 0,1 0 0,0 0 15,0 0-15,-14 0 0,14 0 16,0 0-16,0 0 0,-1 0 0,1 0 16,0 0-16,0 0 0,-1 0 0,1 0 15,0 0-15,0 0 0,-14 0 0,14 0 16,0 0-16,0 13 15,-1-13-15,1 0 0,0 0 0,0 0 16,0 0-16,-1 0 0,1 0 0,-13 0 16,12 0-16,1 0 15,0 0-15,13 13 0,-13-13 0,-1 0 16,1 0-16,0 0 0,0 0 16,0 0-16,-1 0 15,1 0-15,0 13 0,0-13 16,-1 0-1,1 0-15,0 0 16,0 0-16,-1 0 16,1 0-1,0 14-15,0-14 16,0 0-16,-1 0 16,1 0-16,0 0 0,0 0 15,-1 0-15,1 0 0,0 0 16,-13 0-16,12 0 0,1 0 15,0 0-15,0 0 0,-14 0 0,14 0 16,0 0-16,-1 0 0,-12 0 16,13 0-16,-14 0 0,14 0 0,-13 0 0,-1 0 15,1 0-15,-1 13 0,-12-13 16,12 0-16</inkml:trace>
  <inkml:trace contextRef="#ctx0" brushRef="#br0" timeOffset="27288.19">714 8109 0,'40'0'16,"-80"0"-16,93 0 0,-39 0 0,12 0 0,-13 0 16,0 0-16,14 0 0,-14 0 0,0 0 15,14 0-15,-14 0 0,13 0 16,1 0-16,-1 0 0</inkml:trace>
  <inkml:trace contextRef="#ctx0" brushRef="#br0" timeOffset="27525.06">926 8162 0,'0'0'0,"26"0"31,-12 0-31,-1 0 0,0 0 0,14 0 16,-14 0-16,0 0 0,14 0 0,-14 0 16,0 0-16,13 0 0,-12 0 15,-1 0-15,0 0 0,14 0 0</inkml:trace>
  <inkml:trace contextRef="#ctx0" brushRef="#br0" timeOffset="32258.3">7885 8123 0,'26'0'15,"-13"0"-15,14 0 16,-14 0-16,13 0 0,1 0 0,-1 0 0,1 0 15,12 0-15,1 0 0,13 0 16,0 0-16,0 0 0,0 0 16,0 0-16,13 0 0,-13 0 0,0 0 15,13 0-15,-13 0 0,0 0 0,13 0 16,-13 0-16,0 0 0,13 0 16,-13 0-16,0 0 0,0 0 0,0-14 15,-14 14-15,-12 0 0,12 0 0,-12 0 16,-1 0-16,-13 0 0,14 0 15,-1 0-15,-12 0 0,12 0 0,-13 0 16,1 0-16,-1 0 0,0 0 0,0 0 16,0-13-16,1 13 0,-1 0 15,0 0-15,0 0 0,1 0 16,-1 0 0,0 0-1,0 0-15,1 0 16,-1 13-16,0-13 31,0 0-15,0 0 15,1 0-15,-14 14-1,13-14 1,0 0-1,0 13 1,1-13-16,-1 0 16,0 0-16,13 0 0,-12 0 15,-1 0-15,13 0 0,1 0 0,-14 0 16,14 0-16,-1 0 0,0 13 16,1-13-16,-1 0 0,14 0 0,-13 0 15,12 0-15,1 0 0,-14 0 0,27 0 16,-13-13-16,13 13 0,0 0 15,-13 0-15,-14 0 0,14 0 0,-14 0 16,14 0-16,-14 0 0,14 0 16,-14 0-16,1 13 0,-1-13 0,1 0 15,-14 0-15,13 0 0,-12 0 16,12 0-16,-13 0 0,14 0 0,-14 0 16,0 0-16,1 0 0,12 0 0,-13 0 15,0 0-15,1 0 16,-1 0-16,0 0 0,0 0 31,1 0-15,-1 0-16,0 0 31</inkml:trace>
  <inkml:trace contextRef="#ctx0" brushRef="#br0" timeOffset="33518.61">11972 8096 0,'0'0'0,"53"0"16,-39 0-16,12 0 0,0 0 0,-12 0 15,12 0-15,1 0 0,12 0 16,14 0-16,-13 0 0,13 0 0,0 0 16,13-13-16,-13 13 0,0 0 0,13 0 15,0 0-15,-13 0 0,0 0 16,13 0-16,-13 0 0,0 0 0,0 0 16,-14-13-16,14 13 0,-13 0 0,-14 0 15,1 0-15,-1 0 0,1 0 16,-1 0-16,-12 0 0,-1 0 0,0 0 15,0 0-15,0 0 0,1 0 0,-1 0 16,0 0-16,0 0 31,1 0-15</inkml:trace>
  <inkml:trace contextRef="#ctx0" brushRef="#br0" timeOffset="37692.17">437 8480 0,'39'0'31,"-26"0"-31,1 0 0,-1 0 16,0 0-16,14 0 0,-14-13 0,13 13 16,-12 0-16,12 0 15,0 0-15,-12-14 0,12 14 0,1 0 16,-14 0-16,13 0 0,-12-13 0,-1 13 15,0 0-15,0 0 0,0 0 16,1 0-16,-1 0 0</inkml:trace>
  <inkml:trace contextRef="#ctx0" brushRef="#br0" timeOffset="41078.49">10610 8559 0,'53'0'0,"-106"0"0,132 0 0,-52 0 0,-1 0 16,1 0-16,12 0 0,1 0 16,13 0-16,0 0 0,0 0 0,0 0 15,13 0-15,-13 0 0,0 0 0,-1 0 16,-12 0-16,13 0 0,-13 0 15,-14 0-15,14 0 0,-14 0 0,1 0 16,-1 0-16,1 0 0,-14 0 0,0 0 16,14 0-16,-14 0 15,0 0-15,0 0 0,1 0 0,12 0 16,-13 0 0,1 0-1,-1 0-15,0 0 16,0 0-1,0 0 1,1 13-16</inkml:trace>
  <inkml:trace contextRef="#ctx0" brushRef="#br0" timeOffset="42057.51">12700 8572 0,'106'0'31,"-80"0"-31,14 0 15,0 0-15,13 0 0,0 0 0,-1 0 16,1 0-16,13 14 0,-13-14 0,0 0 16,0 0-16,13 0 0,-13 0 15,0 0-15,0 0 0,-13 13 0,13-13 16,-14 0-16,1 0 0,-13 0 0,-1 0 16,0 0-16,1 0 0,-14 0 15,0 0-15,14 0 0,-14 0 0,0 0 16,1 0-16,-1 0 15,0 0-15,0 0 16,0 0-16,1 0 16,-41-13 77,14 13-93,0 0 16</inkml:trace>
  <inkml:trace contextRef="#ctx0" brushRef="#br0" timeOffset="43329">5927 9935 0,'-40'13'15,"27"1"1,-14 12-16,14-13 0,0 14 16,0-1-16,-1 14 0,1-14 15,0-12-15,13 12 0,-13-13 0,13 14 16,-14-14-16,14 0 0,0 0 0,14 1 15,-14-1-15,0 0 0,13-13 16,0 13-16,0-13 0,1 0 16,12-13-16,-13 13 0,1 0 15,-1-13-15,0 13 0,0 0 16,0-13-16,1 13 0,-1 0 16,0 13-16,0-13 0,1 13 15,-14 0-15,13-13 16,-13 14-16,0-1 0,0 0 0,0 0 15,0 0-15,0 1 0,0-1 0,0 0 0,0 14 16,0-14 0,0 0-16</inkml:trace>
  <inkml:trace contextRef="#ctx0" brushRef="#br0" timeOffset="43668.77">6138 10226 0,'14'40'16,"-14"-27"-16,0 0 16,13 1-16,-13-1 0,0 0 15,0 0-15,0 0 0,0 1 0,13-14 16,-13 13-16,0 0 0,0 0 15,13-39 17,-13 13-32,0-1 15,13 14-15,-13-13 0,0 0 16,14 0-16,-14 0 0,13-1 0,0 1 16,0 0-16,1 13 15,-14-13-15,13 13 0,0 0 16,0 0-16,1-14 0</inkml:trace>
  <inkml:trace contextRef="#ctx0" brushRef="#br0" timeOffset="43916.1">6403 10266 0,'0'26'16,"0"-12"0,13-1-16,-13 0 0,13 0 15,1 0-15,-1-13 0,0 0 16,0 14-1,1-14-15,-1 0 16,0-14-16,0 14 0,-13-13 16,0 0-1,0 0-15,-13 13 16,13-13-16,-13 13 0,0-14 16,-1 14-1,1 14 1</inkml:trace>
  <inkml:trace contextRef="#ctx0" brushRef="#br0" timeOffset="44552.25">6747 10279 0,'0'27'16,"26"12"15,-12-39-31,-14 13 16,13-13-16,0 0 0,0 0 16,0-13-16,1 0 15,-1 0 1,0 0-16,-13-1 0,13 14 15,-13-13-15,0 0 0,14 13 16,-14-13-16,13 39 31,-26-13-15,13 1 0,0-1-16,0 0 0,0 0 15,0 0-15,0 1 0,0-1 16,0 0-16,0 0 15,0 1-15</inkml:trace>
  <inkml:trace contextRef="#ctx0" brushRef="#br0" timeOffset="45005.14">7157 10200 0,'-26'53'31,"26"-40"-31,0 0 0,0 14 0,-14-14 16,14 13-16,0 1 0,0-14 0,0 13 15,0-12-15,0 12 0,0 1 16,-13-14-16,13 0 0,13 0 15,-13 0-15,0 1 0,-13-1 0,13 0 16,0 0 0,13-52-1,-13 25 1,0-12-16,14 0 0,-14-14 0,13 0 16,0 0-16,0 14 0,0-14 15,1 14-15,-1 13 0,-13-14 0,13 14 16,0 13-16,-13-13 0,14 13 0,-14-14 15,13 28 1,-13-1-16,-13 0 16,13 14-16,-14-14 0,1 0 0,0 0 15,13 1-15,-13-1 16,13 0-16,-14 0 0,28 0 16</inkml:trace>
  <inkml:trace contextRef="#ctx0" brushRef="#br0" timeOffset="45516.78">8136 10081 0,'-13'13'0,"13"0"0,-14 0 16,14 1-16,0-1 0,0 13 0,-13-13 15,13 1-15,0 12 0,0-13 16,-13 1-16,13 12 0,0-13 0,0 1 15,0-1-15,0 0 16,0 0-16,13-39 31,-13 13-31,0-1 0,13-25 16,1-1-16,-14 13 0,13-12 16,0-14-16,0 13 0,1 0 0,-1 14 15,0 0-15,0 12 0,1 1 0,-14 0 16,13 0-16,0-1 0,0 14 15,0 14-15,-13-1 16,14 13-16,-14-12 0,0 12 0,13-13 16,-13 14-16,0-1 0,0 1 15,0-1-15,0-13 0,0 14 16,0-14-16,0 13 0,0-12 0,0-1 16,0 0-16,0 0 0,13 1 15,-13-1-15</inkml:trace>
  <inkml:trace contextRef="#ctx0" brushRef="#br0" timeOffset="45745.09">7990 10239 0,'-13'0'15,"53"0"16,-27 0-31,0 0 0,14 0 0,-1-13 16,1 13-16,-1 0 0,14 0 16,0-13-16,-1 13 0,14 0 0,-13-13 15,13 13-15,-14-14 0,1 14 0,0 0 16,-1 0-16,1 0 0</inkml:trace>
  <inkml:trace contextRef="#ctx0" brushRef="#br0" timeOffset="46421.21">12846 9723 0,'-80'40'16,"54"-13"-16,12-1 15,-12 0-15,0 14 0,-1-13 0,14-1 16,0 14-16,-14-14 0,14 14 0,13-27 16,-13 14-16,13-14 0,0 0 15,0 0-15,0 1 0,13-1 16,0-26-16,0 13 0,14 0 15,-14-14-15,27-12 16,-14 13-16,14-1 0,-14 1 0,1 0 16,-1 0-16,-12 13 0,12-14 0,-13 14 15,0 0-15,1 0 0,-1 14 0,0-14 16,0 13-16,-13 0 0,14 0 16,-14 1-16,13-1 0,-13 0 0,0 0 15,0 1-15,0-1 0,0 0 0,0 13 16,-13-12-16,13-1 15</inkml:trace>
  <inkml:trace contextRef="#ctx0" brushRef="#br0" timeOffset="46756.98">13110 10014 0,'0'0'0,"0"27"16,0-14 0,-13 0-16,13 1 0,0-1 15,0 0-15,0 0 0,-13 1 16,13-1-16,0 0 0,0 0 0,0 0 16,13-39 30,-13 13-46,0 0 0,13-14 0,-13 14 16,13 0-16,-13-1 0,14 1 0,-1 0 16,-13 0-16,13 13 15,-13-14-15,13 14 0,0 0 0,-13-13 16,14 13-16,-1 0 0,0 0 16,0 0-16</inkml:trace>
  <inkml:trace contextRef="#ctx0" brushRef="#br0" timeOffset="46991.96">13295 10041 0,'0'0'15,"0"13"-15,-13 0 16,13 1-16,0-1 16,0 0-16,13 0 15,1-13 1,-14 14-16,13-14 0,0 0 0,0 0 16,0 0-16,1-14 15,-1 14-15,-13-13 0,13 0 16,-13 0-16,0-1 0,0 1 15,-13 13-15,13-13 0,-13 0 16,-1 13-16,-12 0 16,13 0-16,0 13 15,-1-13 1,14 13-16</inkml:trace>
  <inkml:trace contextRef="#ctx0" brushRef="#br0" timeOffset="47400.55">13560 10041 0,'-27'13'32,"27"0"-32,0 1 15,-13-1-15,13 0 0,0 0 16,13 1-16,-13-1 16,14-13-16,-14 13 0,13-13 15,0 13-15,0-13 16,1-13-1,-1 0-15,0 0 16,0-1-16,-13 1 0,13 0 16,-13 0-16,14 13 0,-14-14 15,13 1 1</inkml:trace>
  <inkml:trace contextRef="#ctx0" brushRef="#br0" timeOffset="47797.87">13798 9975 0,'-13'13'15,"13"0"-15,0 0 0,-13 14 0,13-1 16,0 1-16,-14-1 0,14 14 15,-13-14-15,13 14 0,0-13 0,-13-1 16,13 1-16,-13-1 0,13 0 0,0-12 16,0 12-16,-14-13 0,14 1 15,-13-1-15,13 0 0,-13-13 16,13-13 0,0 0-16,0-1 15,0-12-15,0-1 0,13-12 16,0-1-16,1-13 0,-1 13 0,0 1 15,0-1-15,1 14 0,12-14 0,-13 27 16,0-1-16,1 1 0,-1 0 16,0 13-16,0 0 0,1 0 15,-14 13-15,13 0 16,-26 1-16,13-1 0,0 0 16,-14 0-16,1 14 0,0-14 0,0 0 15,-1 1-15,14-1 0,-13 0 0,13 0 16,-13-13-16,13 13 0</inkml:trace>
  <inkml:trace contextRef="#ctx0" brushRef="#br0" timeOffset="48064.01">14552 9776 0,'-26'27'16,"12"-14"-16,14 0 0,-13 0 16,0 1-16,0 12 15,13-13-15,-14 14 0,1-14 0,13 0 16,-13 14-16,0-14 0,13 0 0,0 0 16,-13 1-16,13-1 0,0 0 0,-14 0 15,14 1-15,0-1 16</inkml:trace>
  <inkml:trace contextRef="#ctx0" brushRef="#br0" timeOffset="48762.85">14512 9803 0,'0'0'0,"14"-13"0,-1 13 15,0 0 1,0 13-16,-13 0 16,0 0-16,0 0 15,0 1-15,-13-1 0,13 0 16,-13 0-16,13 1 16,0-1-1,13 0-15,0 0 16,-13 1-16,14-14 0,-14 13 15,13 0-15,-13 0 0,0 0 16,-13 1-16,-1-1 16,1-13-16,13 13 0,-13-13 15,-14 0-15,14 13 0,0-13 0,0 0 16,-1 0-16,1 14 0,0-14 16,0 0-16,-14 0 0,14 0 0</inkml:trace>
  <inkml:trace contextRef="#ctx0" brushRef="#br0" timeOffset="50946.43">5689 9723 0,'13'0'32,"0"0"-32,0 0 15,0 0-15,1 0 0,-1 0 0,13 0 16,-12 0-16,12 0 0,1 0 15,-1 0-15,0 0 0,-12 0 0,12 0 16,1 0-16,-1 0 0,0 0 0,1 0 16,-1 0-16,-12 0 0,12 0 15,1 0-15,-1 0 0,0 0 0,1 0 16,-1 0-16,1 0 0,-14 0 0,14 0 16,-1 0-16,0 0 0,1 0 15,-1 0-15,-12 0 0,12 0 0,1 0 16,-1 0-16,0 0 0,14 0 15,-13-13-15,12 13 0,1 0 16,13 0-16,-13 0 0,12 0 0,1 0 16,0 0-16,0 0 0,0-13 0,0 13 15,13 0-15,-13 0 0,13 0 16,-13-13-16,0 13 0,13 0 0,0 0 16,14-13-16,-1 13 0,1 0 0,-14 0 15,0 0-15,-13 0 0,13 0 16,-13-14-16,13 14 0,0 0 0,0 0 15,0 0-15,1 0 0,-1 0 16,0 0-16,-13 0 0,13 0 0,0 0 16,0 0-16,14-13 0,-14 13 15,13 0-15,-13 0 0,0 0 0,1 0 16,-15 0-16,15-13 0,-15 13 16,15 0-16,-14 0 0,-1 0 0,15 0 15,-1 0-15,-13 0 0,13 0 0,-13-13 16,0 13-16,0 0 0,13 0 15,-13 0-15,0 0 0,-1 0 0,15 0 16,-14-14-16,13 14 0,0 0 0,-13-13 16,0 13-16,13 0 0,-13 0 15,0-13-15,13 13 0,-13 0 0,0 0 16,0-13-16,-1 13 0,1 0 0,13 0 16,-13-14-16,0 14 15,0 0-15,0 0 0,13 0 0,-13-13 16,13 13-16,1 0 0,-15 0 0,28-13 15,-14 13-15,0 0 0,13-13 16,-12 13-16,-14 0 0,13 0 0,0-13 16,13 13-16,-13 0 0,14 0 0,-14-14 15,13 14-15,-26 0 0,13 0 16,-13 0-16,13 0 0,-13-13 0,13 13 16,1 0-16,-1 0 0,13 0 0,-26 0 15,26-13-15,-12 13 0,-15 0 0,1-13 16,14 13-16,-15 0 15,81-14-15,-67 14 16,-13 0-16,0 0 0,13-13 0,-13 13 0,0 0 16,0 0-16,0-13 0,-14 13 15,14 0-15,0 0 0,-13 0 0,-1 0 16,1 0-16,-13 0 0,12 0 0,-12-13 16,-14 13-16,13 0 0,1 0 15,-14 0-15,0 0 0,1 0 0,-1 0 16,0 0-16</inkml:trace>
  <inkml:trace contextRef="#ctx0" brushRef="#br0" timeOffset="51804.1">8916 9260 0,'0'14'31,"-13"-1"-15,13 0-16,0 0 0,0 1 0,0-1 16,0 0-16,-13 0 0,13 0 15,0 14-15,13-14 0,-13 0 16,0 1-16,13-1 0,1 0 15,-1-13 1,0-13-16,0 13 16,1-13-16,-1 13 0,0-14 15,0 14-15,1 0 16,-1 0-16,0 0 16,0 0-16,0 0 15,-13 14-15,14-14 0,-1 0 16,0 0-1,14 0-15,-27-14 0,13 14 16,0 0-16,-13-13 0,13 0 0,-13 0 16,14-1-16,-14 1 15,0 0-15,0 0 0,0 0 0,0-1 16,0 1-16,0 0 0,0 0 0,0-1 16,0 1-16,0 40 46</inkml:trace>
  <inkml:trace contextRef="#ctx0" brushRef="#br0" timeOffset="52116.94">9379 9313 0,'0'40'15,"0"-27"1,0 0-16,0 1 16,14-1-16,-1-13 15,-13 13-15,13-13 0,0 0 0,14 0 16,-14 0-16,0 0 0,1 0 0,-1-13 16,0 13-16,0-13 15,0-1-15,-13 1 0,0 0 16,0 0-16,0 0 15,-13-1-15,0 1 0,0 13 16,13-13-16,-13 13 0,-1 0 16,1 0-16,0 0 0,0 0 15,-1 13-15,1-13 0,13 13 16</inkml:trace>
  <inkml:trace contextRef="#ctx0" brushRef="#br0" timeOffset="52400">9631 9287 0,'13'0'16,"-26"0"-16,39 13 0,-12 0 15,-14 1-15,13-1 0,-13 0 16,0 0-16,0 0 0,13 1 0,-13-1 16,0 0-16,0 0 15,0 1-15,0-1 16,0-40 15,0 14-31,0 0 16,13 0-16,-13-1 0,0 1 15,13 0-15,1 0 0,-1 0 16,0 13 0,-13-14-16,13 14 0,1 0 0,-14-13 15,13 13-15,0 0 0,0 0 16</inkml:trace>
  <inkml:trace contextRef="#ctx0" brushRef="#br0" timeOffset="52740">10120 9168 0,'0'0'0,"0"26"16,-13-12 0,13-1-16,-13 0 15,13 0-15,0 0 0,0 1 0,-13-1 16,13 0-16,0 0 0,0 1 0,0-1 15,0 0 1,-14-13 0,1 0-1,-13 0 1,12 13-16,1-13 16,0 0-16,0 13 0,0-13 0,-1 14 15,1-1-15,13 0 16,0 0-1,13-13-15,1 0 16,-1 0-16,0 0 0,0 0 16,0 0-16,1-13 0,-1 13 15,13 0-15,-12 0 0,-1-13 0,13 13 16,-12 0-16,-1-13 0</inkml:trace>
  <inkml:trace contextRef="#ctx0" brushRef="#br0" timeOffset="53114.18">11218 9088 0,'14'53'16,"-14"-39"-1,0-1-15,0 0 0,0 14 16,13-14-16,-13 13 0,0-13 0,0 14 15,0-14-15,0 0 0,0 1 0,0-1 16,0 0-16,0 0 0,0 0 0,0 1 16,0-1-16,0 0 31</inkml:trace>
  <inkml:trace contextRef="#ctx0" brushRef="#br0" timeOffset="53376.38">11271 9062 0,'13'-40'0,"-26"80"0,40-80 15,-27 27-15,13 13 0,0 0 0,0 0 16,1 0-16,-1 0 0,0 13 16,0-13-16,1 14 0,-1-14 15,-13 13-15,13 0 0,-13 0 0,0 0 16,0 1-16,-13-1 15,13 0-15,-13-13 0,-1 13 16,1-13-16,0 14 0,0-14 16,-1 0-16,1 0 0,0 13 0,0-13 15,-1 0-15,14 13 16,-13-13-16</inkml:trace>
  <inkml:trace contextRef="#ctx0" brushRef="#br0" timeOffset="53673.62">11549 9194 0,'0'27'16,"-13"-14"-1,26 0-15,-13 0 0,13 1 16,1-14-1,-1 0-15,0 0 16,0 0-16,0 0 0,1-14 16,-1 14-16,-13-13 0,13 13 0,-13-13 15,13 13-15,-13-13 0,0 0 16,0-1-16,14 1 0,-14 0 16,0 0-16,-14 13 15,14-14 1</inkml:trace>
  <inkml:trace contextRef="#ctx0" brushRef="#br0" timeOffset="54094.03">12012 9141 0,'13'0'0,"1"0"15,-1 0-15,0 14 16,-26-1-1,13 0-15,-13 0 16,-1-13-16,1 14 0,0-1 0,0 0 16,-1-13-16,14 13 15,-13 0-15,0-13 0,0 14 0,-1 25 32,14-25-17,14-1-15,-1-13 16,0 13-16,0-13 0,1 0 0,12 0 15,-13 0-15,1 0 0,-1 0 0,0 0 16,13 0-16,-12 0 0,-1 0 16,0 0-16,0-13 15</inkml:trace>
  <inkml:trace contextRef="#ctx0" brushRef="#br0" timeOffset="54265.27">11919 9260 0,'-13'0'0,"26"0"0,14 0 31,-14 0-31,0 0 16,1 0-16,12 0 0,-13 0 16,1 0-16,12 0 0,-13 0 0,14 0 15</inkml:trace>
  <inkml:trace contextRef="#ctx0" brushRef="#br0" timeOffset="54645.14">12409 9141 0,'0'0'16,"0"14"-16,13-14 15,-13 13-15,-13 0 16,13 0-16,-13 1 0,13-1 16,-14 0-16,1 0 0,0 0 0,13 1 15,-13-14-15,13 13 0,-13 0 0,13 0 16,-14-13-16,14 14 0,0-1 15,0 0-15,14 0 16,-1-13 0,0 0-16,0 0 0,0 13 15,1-13-15,-1 0 0,0 0 16,0 0-16,1-13 0,-1 13 16,0 0-16</inkml:trace>
  <inkml:trace contextRef="#ctx0" brushRef="#br0" timeOffset="54820.12">12263 9287 0,'14'0'15,"-1"0"-15,0 0 0,0 0 16,1-13-16,-1 13 0,0 0 15,0 0-15,14 0 0,-14 0 0,0 0 16,0 0-16,1 0 0</inkml:trace>
  <inkml:trace contextRef="#ctx0" brushRef="#br0" timeOffset="55077.25">12687 9168 0,'13'0'31,"-13"13"-31,-13 0 16,13 1-1,0-1-15,0 0 0,0 0 16,0 0-16,0 1 0,0-1 0,0 0 16,0 0-16,0 1 0,0-1 15,13 0-15,0 0 16,0-13-1,1 0-15,-1 0 0,0 0 16,0-13-16,1 13 16</inkml:trace>
  <inkml:trace contextRef="#ctx0" brushRef="#br0" timeOffset="55334.48">12938 9208 0,'-13'13'47,"13"0"-47,0 0 16,0 0-16,-13 1 15,13-1-15,0 0 16,13-13-16,-13 13 0,0 1 16,0-1-16,13-13 0,0 0 15,1 0-15,-1 13 16,0-13-16,0 0 15,1 0 1,-1-13-16</inkml:trace>
  <inkml:trace contextRef="#ctx0" brushRef="#br0" timeOffset="55577.58">13004 9313 0,'-13'-13'0,"26"13"62,1 0-46,-14-13-16,0 0 15,0-1 1,0 1 0,-14 13-16,14-13 15,14 0 1,-14 0-16,13 13 15,0-14-15,0 14 16,0-13-16,1 13 0</inkml:trace>
  <inkml:trace contextRef="#ctx0" brushRef="#br0" timeOffset="57813.25">4445 10186 0,'40'0'16,"-27"0"-16,13 0 15,1 0-15,-1 0 0,14 0 0,13-13 16,-13 13-16,-1 0 0,1 0 16,13 0-16,-27-13 0,14 13 0,-14 0 15,14 0-15,-13 0 0,-1 0 0,-13-13 16,14 13-16,-14 0 0,0 0 16,0 0-16,1 0 0,-1 0 0,0 0 15,0 0-15,1 0 16,-1 0-16,-13-13 15,13 13-15,0 0 16</inkml:trace>
  <inkml:trace contextRef="#ctx0" brushRef="#br0" timeOffset="58206.08">5120 9975 0,'13'26'16,"0"-26"-16,0 13 0,1-13 0,-1 14 16,13-1-16,-12-13 0,12 13 0,-13 0 15,14-13-15,-1 14 0,-13-1 16,1 0-16,12-13 0,-13 13 16,1 1-16,-1-14 0,0 13 0,0 0 15,-13 0-15,0 0 16,0 1-16,-13-14 15,0 13-15,0 0 0,-1 0 0,1-13 16,-13 14-16,12-1 0,-12 0 16,-1-13-16</inkml:trace>
  <inkml:trace contextRef="#ctx0" brushRef="#br0" timeOffset="59245.24">2381 10385 0,'-13'26'16,"13"1"-1,0-14-15,0 0 0,0 1 16,0-1-16,0 0 16,0 0-16,0 0 15,0-52 32,0 26-47,13 13 0,-13-14 0,0 1 16,13 0-16,-13 0 0,14-1 15,-1 1-15,0 13 16,0 0-16,1 0 16,-1 0-16,0 13 0,0-13 15,1 14-15,-14-1 0,13-13 16,-13 13-16,13-13 0,-13 13 0,13 1 15,-13-1 1,0-53 15,13 27-15,-13 0-16,14-1 16,-1 1-16,0 0 0,0 0 15,1 13-15,-1 0 0,13 0 16,-26 13-16,14-13 15,-14 13-15,13 0 0,-13 1 16,0-1-16,0 0 0,0 0 16,13 1-16,-13-1 0,0 0 15,0 0-15,13-13 16,-13 13-16,13-13 0</inkml:trace>
  <inkml:trace contextRef="#ctx0" brushRef="#br0" timeOffset="59624.52">2897 10385 0,'0'-13'15,"-13"39"1,13-13-1,0 1-15,0-1 0,0 0 16,13-13 0,-13 13-16,13-13 0,1 0 15,-1 0-15,0 0 16,0-13-16,1 0 16,-1 0-16,-13-1 0,13 1 15,-13 0-15,13 0 0,-13-1 16,0 1-16,13 13 15,-13-13-15,0 39 32,0-12-32,0 12 15,14-13 1,-14 1-16,13-14 16,-13 13-16</inkml:trace>
  <inkml:trace contextRef="#ctx0" brushRef="#br0" timeOffset="59909.34">3254 10345 0,'-13'0'0,"0"13"32,0-13-32,13 14 15,0-1-15,0 0 16,0 0-16,13-13 15,-13 14-15,0-1 0,0 0 16,13 0-16,-13 1 16,-13-1-16,13 0 15,0 0-15,-13-13 0,13 13 16,-14-13-16,14 14 16,-13-14-1</inkml:trace>
  <inkml:trace contextRef="#ctx0" brushRef="#br0" timeOffset="60052.28">3307 10411 0,'14'0'0,"-1"-13"15,0 26 1,-13 1 0,0-1-1,0 0-15,0 0 16,0 1-16,0-1 0,0 0 15</inkml:trace>
  <inkml:trace contextRef="#ctx0" brushRef="#br0" timeOffset="60204.18">3453 10306 0,'0'0'0,"-13"0"16,-1 13 0</inkml:trace>
  <inkml:trace contextRef="#ctx0" brushRef="#br0" timeOffset="60457.25">3585 10358 0,'-13'14'0,"0"12"16,13-13-16,-14 1 15,14-1-15,14 0 16,-14 0-16,13 1 0,0-14 16,-13 13-16,13-13 15,1 0-15,-1 0 0,0 0 16,0 0-16,0 0 0,1 0 15,-1 0 1,0 0-16,0-13 0,1 13 0,-1 0 16,-13-14-16</inkml:trace>
  <inkml:trace contextRef="#ctx0" brushRef="#br0" timeOffset="61477.39">14909 10014 0,'53'0'31,"-40"0"-15,14 0-16,-1 14 0,-12-14 15,12-14-15,0 14 0,1 0 0,-1 0 0,1 0 16,-14 0-16,14 0 0,-14 0 15,0 0-15,0 0 0,0 0 0,1 0 16,-1 0-16</inkml:trace>
  <inkml:trace contextRef="#ctx0" brushRef="#br0" timeOffset="61853.1">15002 9869 0,'-27'13'31,"14"-13"-31,0 0 0,0 13 15,-1-13-15,1 14 0,0-14 16,0 13-16,0 0 16,-1-13-16,1 13 15,13 1-15,-13-14 0,0 13 16,13 0-16,0 0 16,0 0-1,0 1 1,13-14-16,-13 13 15,13-13-15,0 0 0,1 13 16,-1-13-16,0 0 16,-13 13-16,13-13 0,0 0 0,1 0 15,-1 0-15</inkml:trace>
  <inkml:trace contextRef="#ctx0" brushRef="#br0" timeOffset="62456.78">15743 10081 0,'0'39'31,"0"-12"-15,0-14-1,0 0-15,0 0 0,13 1 31,0-28 1,0 14-32,1-13 0,-1 13 0,-13-13 15,13 13-15,0-13 0,1 13 16,-1 0-16,0 0 0,-13-13 0,13 13 16,0 13-16,1-13 15,-14 13-15,13-13 0,-13 13 16,13 0-16,-13 1 15,13-14-15,1 13 0,-1-13 16,0 0 0,0 0-16</inkml:trace>
  <inkml:trace contextRef="#ctx0" brushRef="#br0" timeOffset="62700.39">16126 10173 0,'0'0'0,"-13"13"46,13 1-30,13-1-16,1-13 0,-1 0 16,0 0-16,0 0 15,0 0-15,1 0 0,-14-13 16,13 13-16,0-14 0,-13 1 16,0 0-1,-13 0-15,13 0 0,-13-1 16,-1 14-16,14-13 0,-13 13 0,0 0 15,0 0-15,0 0 16</inkml:trace>
  <inkml:trace contextRef="#ctx0" brushRef="#br0" timeOffset="63385.65">16364 10253 0,'14'13'32,"-14"0"-17,0 0-15,0 1 16,0-1-1,13 0 1,0-26 15,0 0-15,1 13-16,-14-14 16,13 14-16,0 0 0,0 0 15,-13-13 1,14 26-16,-1-13 15,0 0-15,-13 14 16,13-14 0,-13 13-16,13-13 15,14 0 17,-14-13-32,0 13 15,-13-14-15,14 14 0,-1 0 16,0-13-1,0 13-15,1 0 16,-1 0-16,0 13 16,0-13-1,0 14-15,1-14 0,-1 13 16,0-13-16</inkml:trace>
  <inkml:trace contextRef="#ctx0" brushRef="#br0" timeOffset="63726.04">16841 10279 0,'0'-13'0,"-13"39"31,13-12-16,0-1-15,13-13 16,-13 13-16,0 0 16,13-13-16,0 13 15,0-13-15,1 0 16,-1-13-16,0 13 0,0-13 16,1 13-1,-14-13-15,13 13 0,-13-13 0,13 13 16,-13-14-16,13 14 15,-13-13 1,13 26 15</inkml:trace>
  <inkml:trace contextRef="#ctx0" brushRef="#br0" timeOffset="64112.59">17119 10292 0,'0'14'31,"0"-1"-31,13 0 0,-13 0 16,0 0 0,0 1-16,0-1 0,-13 0 15,13 0-15,-14 1 16,28-41 46,-1 14-62,0 0 0,0 13 16,0-14-16,1 14 0,-1-13 0,0 13 16,-13-13-16,13 13 15,1 0-15,-1 13 31,-13 0-15,-13 1-16,13-1 16,0 0-16,0 0 15</inkml:trace>
  <inkml:trace contextRef="#ctx0" brushRef="#br0" timeOffset="64243.53">17357 10226 0</inkml:trace>
  <inkml:trace contextRef="#ctx0" brushRef="#br0" timeOffset="64405.05">17410 10332 0,'-14'26'31,"14"-12"-31,14-1 16,-1-13-16,0 0 15,0 0-15,0 0 0,1 0 16</inkml:trace>
  <inkml:trace contextRef="#ctx0" brushRef="#br0" timeOffset="64550.1">17793 10372 0</inkml:trace>
  <inkml:trace contextRef="#ctx0" brushRef="#br0" timeOffset="66920.56">4987 10954 0,'0'39'32,"0"-25"-32,0-1 0,0 0 15,-13 0-15,13 1 0,0-1 16,-13 0-16,13 0 0,0 0 0,0 1 15</inkml:trace>
  <inkml:trace contextRef="#ctx0" brushRef="#br0" timeOffset="67305.1">5093 10821 0,'0'0'16,"13"0"-16,1 14 0,-14-1 0,13 0 15,-13 0-15,13 1 0,-13-1 0,0 13 16,13-12-16,-13 12 0,0 0 0,0 1 16,0-1-16,-13 14 0,13 0 15,-13-14-15,0 14 0,13-14 0,-14 1 16,1-1-16,13 1 0,-13-1 15</inkml:trace>
  <inkml:trace contextRef="#ctx0" brushRef="#br0" timeOffset="67656.11">4855 11800 0,'13'-13'0,"-26"26"0,40-39 16,-14 26 0,-13 13-16,0 0 15,0 1-15,0-1 0,0 0 16,-13 0-16,13 1 15,-14-1-15,14 0 0,-13 0 16,13 0-16,0 1 16,27-14 15,-14 0-15,0-14-16,0 14 15,0 0-15,1 0 0,-1 0 0,0-13 16</inkml:trace>
  <inkml:trace contextRef="#ctx0" brushRef="#br0" timeOffset="67845.42">5054 11642 0,'0'0'0,"26"13"15,-13 0-15,-13 0 16,0 1-16,13-1 0,-13 0 0,0 0 15,0 1-15,-13 12 0,13-13 16,0 14-16,0-14 0,-13 0 16,13 0-16,0 1 0,-13-1 0,13 0 15</inkml:trace>
  <inkml:trace contextRef="#ctx0" brushRef="#br0" timeOffset="68436.27">4670 13586 0,'0'27'32,"-13"-14"-17,13 0-15,0 0 0,0 1 16,0-1-16,0 0 0,0 0 15,13-13-15</inkml:trace>
  <inkml:trace contextRef="#ctx0" brushRef="#br0" timeOffset="68681.38">4855 13560 0,'-13'40'16,"26"-27"-1,-13 0-15,13 0 0,1-13 16,-1 0 0,0 0-16,-13-13 0,13 13 15,-13-13-15,13 13 0,-13-13 0,0-1 16,-13-12 0,0 13-16,0-1 15,0 14-15,-1 0 0,1-13 16,0 13-16,0 0 0,-1-13 15</inkml:trace>
  <inkml:trace contextRef="#ctx0" brushRef="#br0" timeOffset="69368.16">12211 10795 0,'0'26'16,"0"1"-1,0-14-15,0 0 16,0 1-16,-14-1 0</inkml:trace>
  <inkml:trace contextRef="#ctx0" brushRef="#br0" timeOffset="69563.2">12356 10663 0,'13'0'16,"-13"13"-16,27 66 15,-27-65-15,0-1 16,-14 13-16,14-13 0,-13 14 15,13-1-15,0 1 0,-13-14 0,13 0 16</inkml:trace>
  <inkml:trace contextRef="#ctx0" brushRef="#br0" timeOffset="70000.27">12184 11404 0,'13'13'31,"-13"0"-31,0 0 16,-13 0-16,13 1 0,0-1 0,-13 0 15,13 0-15,-13 1 0,13-1 16,0 0-16,0 0 0,-14-13 15,14 14-15,0-1 0,14 0 16,-1-13 0,13 0-1,-12-13-15,-1 13 0,0 0 16,0-13-16,0 13 0,1-14 16,-1 1-16</inkml:trace>
  <inkml:trace contextRef="#ctx0" brushRef="#br0" timeOffset="70165.42">12409 11311 0,'13'13'0,"-13"0"0,0 1 0,0-1 16,-13 0-16,13 14 0,0-14 0,-13 13 16,13-13-16,-14 14 15,14-1-15,-13 1 0,13-1 0,-13-12 16,0 12-16,13-13 0,0 14 0</inkml:trace>
  <inkml:trace contextRef="#ctx0" brushRef="#br0" timeOffset="70903.97">12197 13494 0,'14'13'15,"-14"0"-15,0 0 0,-14-13 0,14 14 16,0-1-16,0 0 0,0 0 0,0 1 16,0 12-16,0-13 0,-13 0 15,13 1-15,0-1 0,13-13 16</inkml:trace>
  <inkml:trace contextRef="#ctx0" brushRef="#br0" timeOffset="71153.23">12303 13600 0,'0'26'16,"13"-13"-1,1-13 1,-1 0-16,0 0 15,-13-13 1,0 0 0,0 0-16,-13 13 15,0-14-15,-1 14 16,1 0-16,0 0 16,13-13-16,-13 13 15</inkml:trace>
  <inkml:trace contextRef="#ctx0" brushRef="#br0" timeOffset="71315.98">12356 13335 0,'13'0'0,"40"66"31,-40-39-31,1-1 0,-1 14 0,-13-14 0,0 14 16,0-14-16,0 14 0,0 0 15,-13-1-15,-1 1 0,1 0 16,0-1-16,0-12 0</inkml:trace>
  <inkml:trace contextRef="#ctx0" brushRef="#br0" timeOffset="74868.22">13745 9022 0,'27'14'16,"-14"-1"-16,-26 0 16,13 0-16,-14-13 0,14 13 15,-13 1-15,0-14 0,0 13 0,13 0 16,-14 0-16,1-13 0,0 14 0,0-14 16,-1 13-16,1-13 15,13 13-15,-13-13 0,13 13 16,13-13 15,14 0-15,-14 0-16,0 0 0,0 0 0,14 0 15,-14 0-15,14-13 0,-1 13 16,0 0-16,1-13 0,13 0 0</inkml:trace>
  <inkml:trace contextRef="#ctx0" brushRef="#br0" timeOffset="75141.98">14102 8969 0,'-26'-13'16,"13"13"0,-1 0-16,1 13 0,0 1 15,0-1-15,13 0 16,0 0-16,0 1 0,0-1 16,0 0-16,13-13 15,-13 13-15,13 0 0,0-13 0,1 0 0,-14 14 16,13-14-16,0 0 0,0 0 15,1-14-15,-1 14 16,-13-13-16,0 0 0,0 0 16,-13 0-16,-1-1 15,1 14-15,0-13 16,0 13-16,-1 0 0,1 0 16,-13 0-16,12 0 15,1 0-15</inkml:trace>
  <inkml:trace contextRef="#ctx0" brushRef="#br0" timeOffset="75391.83">13441 8864 0,'-119'185'31,"106"-159"-31,13 1 0,0-1 16,0 1-16,13-1 0,0 1 15,13 12-15,1-26 0,-14 14 0,27-1 16,-14-12-16,1-1 0,-1 0 0,1-13 16,-1 13-16,1-13 0,12 0 15,-12-13-15</inkml:trace>
  <inkml:trace contextRef="#ctx0" brushRef="#br0" timeOffset="75769.47">14195 8758 0,'79'79'16,"-65"-52"-16,-1-1 15,0 0-15,0 14 0,0-13 16,1-1-16,-14 1 0,13-1 0,-13-13 16,0 14-16,0-14 0,0 13 0,-13-12 15,13 12-15,-14 1 0,1-14 0,0 0 16,-13 13-16,12-12 0,1-1 16,0 0-16,0-13 0,-1 13 0,1-13 15</inkml:trace>
  <inkml:trace contextRef="#ctx0" brushRef="#br0" timeOffset="77916.17">6284 10901 0,'-40'53'15,"40"-40"-15,-13 0 16,13 14-16,0-14 0,0 0 16,-13 0-16,13 14 0,0-14 0,0 0 15,0 0-15,-14 1 0,14-1 16,14 0-16</inkml:trace>
  <inkml:trace contextRef="#ctx0" brushRef="#br0" timeOffset="78456.16">6403 10914 0,'26'0'32,"-12"0"-32,-1 0 0,0 13 15,0-13-15,1 0 0,-1 0 16,13-13-16,-13 13 16,-13-13-1,-13 0 1,-13 13-1,13 0-15,-1 0 16,1 0-16,0 0 0,0 13 0,-1-13 16,14 13-1,0 0-15,0 1 0,14-1 16,-14 0-16,13 0 0,-13 0 16,13-13-16,-13 14 0,0-1 0,0 0 15,0 0-15,0 1 16,-13-1-16,0 0 0,-1-13 0,1 13 15,0 0-15,-14 1 0,14-1 0,-13 0 16,13 0-16,-1 1 0,-12-1 16</inkml:trace>
  <inkml:trace contextRef="#ctx0" brushRef="#br0" timeOffset="78810.53">6032 11734 0,'0'27'31,"-13"-14"-31,13 0 0,0 0 16,0 1-16,0-1 0,-13 0 15,13 0-15,0 1 0,0-1 0,0 0 16,0 0-16,0 0 0,0 1 15,0-1 1</inkml:trace>
  <inkml:trace contextRef="#ctx0" brushRef="#br0" timeOffset="79256.84">6271 11681 0,'0'0'0,"-27"14"0,14-1 0,0 0 16,-1 0-16,1 1 0,0-1 16,0 0-16,0 0 0,-1 0 0,14 1 15,-13-1-15,0 0 0,13 0 16,0 1-16,0-1 15,0 0-15,13-13 16,-13 13-16,13-13 0,1 0 0,-1 13 16,0-13-16,0 0 0,0-13 0,1 13 15,-1-13-15,0 13 0,14-13 0,-14 0 16,0-1-16,0 1 0,1 0 16,-14-14-16,13 14 0,-13 0 15,0 0-15,0 0 0,0-1 0,0 1 16,0 0-16,0 0 15,-27 26 1,27 0-16,-13 0 0,0 1 0,13 12 16,-13-13-16,-1 14 0,14-1 15,-13 14-15,0-1 16,13-12-16,0-1 0,-13-12 16,13-1-16,0 13 0</inkml:trace>
  <inkml:trace contextRef="#ctx0" brushRef="#br0" timeOffset="79601.5">6059 12369 0,'-27'27'31,"27"-14"-31,0 0 0,-13 0 0,13 14 16,-13-14-16,13 0 0,-13 14 0,13-14 16,-13 13-16,13-12 0,0-1 0,0 0 15,0 0-15</inkml:trace>
  <inkml:trace contextRef="#ctx0" brushRef="#br0" timeOffset="79860.28">6125 12435 0,'27'-13'31,"-14"26"-31,-13 1 0,-13-1 16,13 0-16,0 0 0,-14 14 0,14-14 16,-13 0-16,0 0 0,13 1 0,-13-14 15,13 13-15,0 0 16,-14 0-16,28-13 15,-1 0 1,-13 14-16,13-14 0,14-14 16,-14 14-16,0 0 0,0 0 15,-13 14-15,13-14 0,1 0 0,-1 13 16</inkml:trace>
  <inkml:trace contextRef="#ctx0" brushRef="#br0" timeOffset="80304.13">5927 13004 0,'-14'40'16,"1"-27"-1,13 0-15,0 1 0,0-1 0,0 13 16,0-12-16,0-1 15,0 0-15</inkml:trace>
  <inkml:trace contextRef="#ctx0" brushRef="#br0" timeOffset="80461.86">6085 13004 0,'0'-13'16,"-13"40"-1,13-14-15,0 0 0,0 0 16,13 0-16,-13 1 0,0-1 0,0 0 16,14 0-16</inkml:trace>
  <inkml:trace contextRef="#ctx0" brushRef="#br0" timeOffset="80873.37">5847 13507 0,'0'0'0,"14"0"0,-1-13 0,0 13 15,0 0 1,0 0-1,-13 13-15,14-13 16,-14 13-16,13-13 0,-13 13 0,0 1 16,13-1-16,-13 0 15,0 0-15,0 1 0,0-1 0,0 0 16,0 0-16,0 0 0</inkml:trace>
  <inkml:trace contextRef="#ctx0" brushRef="#br0" timeOffset="81048.34">5821 13666 0,'0'0'0,"0"-14"0,13 1 32,66-13-17,-52 13-15,-14 13 16,14 0-16,-14-14 0,0 14 15,0 0-15</inkml:trace>
  <inkml:trace contextRef="#ctx0" brushRef="#br0" timeOffset="83213.17">13679 10676 0,'-13'26'15,"13"-12"-15,-14-1 16,14 13-16,0-12 0,-13-1 0,13 0 16,0 0-16,0 14 0,-13-14 0</inkml:trace>
  <inkml:trace contextRef="#ctx0" brushRef="#br0" timeOffset="83586.2">14049 10689 0,'-79'66'31,"53"-52"-31,-1-1 16,14 13-16,0-13 0,-1-13 0,-12 27 15,26-14-15,-13-13 0,13 13 16,0 1-1,13-14-15,0 0 0,0 0 16,14 0-16,-14-14 0,0 1 16,1 13-16,12-13 15,-13 0-15,0-14 0,1 14 0,-14 0 16,13 0-16,0 13 0,-13-14 0,0 1 16,-13 26-1,0 1 1,-1-1-16,1 0 0,0 0 0,0 14 15,-14-1-15,14 1 0,0-1 16,0-13-16,-1 14 0,14-14 0,0 13 16,-13-12-16,13-1 0</inkml:trace>
  <inkml:trace contextRef="#ctx0" brushRef="#br0" timeOffset="83902.48">13732 11364 0,'-13'79'31,"-1"-52"-31,14-14 16,0 13-16,-13 1 0,13 13 0,-13 26 15,0-40-15</inkml:trace>
  <inkml:trace contextRef="#ctx0" brushRef="#br0" timeOffset="84320.9">13970 11470 0,'-13'-14'16,"0"28"-1,13-1-15,0 0 16,0 0-16,0 1 0,0-1 16,-14 0-16,14 0 0,-13 1 15,0-1-15,13 0 0,-13 0 0,-1 0 16,1 1-16,0-14 15,0 0-15,26-14 32,-13 1-32,13 0 0,0 0 15,1 0-15,-1-1 0,0-12 0,0 13 16,1-1-16,-14 1 0,13 0 0,-13 0 16,0-1-16,0 1 0,0 0 15,-13 0-15,13 0 16,-14 13-16,1 0 0,0-14 15,0 28 1,-1-1-16,14 0 0</inkml:trace>
  <inkml:trace contextRef="#ctx0" brushRef="#br0" timeOffset="84661.05">13573 12237 0,'0'26'15,"0"-12"1,-13-1-16,13 0 0,0 14 0,0-14 16,-13 13-16,13-13 0,0 14 15,-14-14-15,14 14 0,0-14 0,0 0 16,0 0-16</inkml:trace>
  <inkml:trace contextRef="#ctx0" brushRef="#br0" timeOffset="84925.56">13838 12224 0,'-53'0'15,"40"13"-15,-1 0 16,1 0-16,0-13 0,0 14 15,13-1-15,0 0 16,0 0-16,26-13 16,-13 0-16,1 0 15,-1 14-15,0-14 16,0 13-16,0 0 0,1 0 16,-14 0-16,0 1 0,13-1 0,-26 0 15,13 0-15,0 14 0,0-14 16,0 0-16,0 1 0,-14-1 0,14 0 15,0 0-15</inkml:trace>
  <inkml:trace contextRef="#ctx0" brushRef="#br0" timeOffset="85592.99">13573 13004 0,'13'-13'31,"-13"40"-31,0-14 15,-13 0-15,13 0 16,-13 0-16,0 1 16,13-1-16,0 0 15,-14 0-15,28 1 16,12-28 0,-13 14-1,1-13-15,-1 13 0,0-13 0,0 13 16,0-13-16,1 13 0,-1-14 0,0 14 15,0 0 1,1 0-16,-1 14 16,0-14-1,-13 13 1,13-13-16,1-13 16,-1 13-1,-13-14-15,0 1 0,-13 0 16,13 0-1,-14 13-15,14-13 0,-13 13 0,0 0 16,0 0 0,-1 13-16,1-13 0,13 13 15</inkml:trace>
  <inkml:trace contextRef="#ctx0" brushRef="#br0" timeOffset="87268.29">13560 13666 0,'0'-14'0,"0"1"15,13 13 1,0 0-16,1 0 16,-1 0-16,0 0 0,0 0 15,0 0 1,-13 13-16,14-13 0,-1 14 15,-13-1-15,0 0 0,0 0 16,13-13-16,-13 14 0,0-1 0,0 0 16,0 0-16,0 1 0,0-1 0,0 0 15,0 0-15,0 0 0,0 1 16,-13-14-16,13 13 0,0 0 16,-13 0-1</inkml:trace>
  <inkml:trace contextRef="#ctx0" brushRef="#br0" timeOffset="87453.14">13520 13824 0,'0'-13'0,"0"26"0,13-26 32,1 0-32,-1 13 15,0 0-15,0-13 0,1 13 0,-1 0 16,0-13-16,0 13 0,14-14 0,-14 14 15,0 0-15,0-13 0,1 13 16,12-13-16,-13 13 0,1-13 0,-1 13 16</inkml:trace>
  <inkml:trace contextRef="#ctx0" brushRef="#br0" timeOffset="95098.07">7845 1508 0,'145'-13'0,"-290"26"16,383-39-16,-106 26 0,1-14 15,12 1-15,1 0 0,26-13 0,-14 12 16,14 1-16,14 0 0,-14 0 0,13-14 16,0 14-16,0 0 0,-13-1 0,13 1 15,-26 0-15,13 0 0,-13 0 16,-14 13-16,-12-14 0,-28 14 0,-12 0 15,-14-13-15,1 13 0,-14 0 0,-26 13 16,13-13-16,-14 0 0,-25 0 0,12 14 16,-13-14-16,0 13 15</inkml:trace>
  <inkml:trace contextRef="#ctx0" brushRef="#br0" timeOffset="95796.06">17251 1191 0,'251'13'15,"-158"-26"-15,-1 13 16,41 0-16,12-14 0,1 14 0,-1 0 15,1 0-15,-1 0 0,1 0 0,-1 0 16,-12 0-16,-14 0 0,-13 0 16,-1 14-16,-12-14 0,0 0 0,-14 0 15,0 0-15,-26 0 0,0 0 16,-13 0-16,-14 0 0,-12 0 0,12 0 0,-13 0 16,0 0-16,1 0 0,-1 0 15,-53 0 16</inkml:trace>
  <inkml:trace contextRef="#ctx0" brushRef="#br0" timeOffset="96685.99">22093 331 0,'39'-13'15,"-78"26"-15,92-26 0,-40 13 0,0 0 0,0 0 16,1 13-16,-1-13 0,-13 13 16,13 0-16,0 0 0,-13 1 15,0 12-15,13-13 0,-13 14 0,0-14 16,0 13-16,0 1 0,0-14 0,-13 14 16,13-1-16,0 1 15,-13-1-15,13-13 0,0 14 0,-13-1 16,13-13-16,-13 14 0,13-14 0,0 0 15,0 1-15,0-1 0</inkml:trace>
  <inkml:trace contextRef="#ctx0" brushRef="#br0" timeOffset="96809">22225 939 0,'0'13'31,"-13"-13"-31</inkml:trace>
  <inkml:trace contextRef="#ctx0" brushRef="#br0" timeOffset="98092.66">15756 238 0,'13'-13'16,"-26"26"-16,39-26 0,1 26 0,-14-13 16,0 13-16,1 1 0,-1-1 0,-13 0 15,13 0-15,0 14 0,-13-1 16,0 1-16,0-1 0,-13 1 0,13 12 15,-13-12-15,0 12 0,-14-12 0,14 13 16,13-27-16,-13 13 0,-1-13 16,1 14-16,13-14 0,-13 0 0,0 1 15</inkml:trace>
  <inkml:trace contextRef="#ctx0" brushRef="#br0" timeOffset="98233.26">15729 1032 0</inkml:trace>
  <inkml:trace contextRef="#ctx0" brushRef="#br0" timeOffset="107094.43">2289 10372 0,'-14'119'0,"54"145"31,-40-224-31,13 0 0,1-1 16,-14-12-16,13-1 0,-13 1 0,0-14 16,13 13-16,-13-12 15</inkml:trace>
  <inkml:trace contextRef="#ctx0" brushRef="#br0" timeOffset="107701.47">2156 10200 0,'14'-14'0,"-1"14"15,13 0-15,-13-13 0,27 13 16,13-13-16,0-13 0,13 12 16,0 1-16,14-13 0,-1-1 0,27 1 15,-13-1-15,12 1 0,-12-14 0,13 0 16,-27 27-16,1-13 0,-1-1 16,0 1-16,1 13 0,52-27 15,-66 27-15,-26-1 0,-1 14 16,-12-13-16,-1 13 0,1 0 0,-14-13 15,0 13-15,1 0 0,-14 13 16,13-13-16,0 13 0,-13 1 16,0-1-16,0 0 0,0 14 15,0-14-15,-13 13 0,13 1 16,0-1-16,0 1 0,0 12 0,0-12 16,0 12-16,0-12 0,0-1 0,13 1 15,-13-1-15,13 1 0,0 12 16,-13-25-16,14 12 0,-1-13 0,0 14 15,-13-1-15,13-12 0,-13-1 16,14 13-16,-14-13 0,0 1 0,0-1 16,0 13-16,-14 1 0,1-1 15,0-12-15,-14 12 0,14 0 16,-13-12-16,-14 12 0,14-13 0,-14 14 16,13-14-16,-12 13 0,-14 1 15,0-1-15,0-12 0,0 12 0,0 14 16,-13-14-16,13 1 0,-13-1 0,-80 40 15,80-39-15,0 12 16,-13-12-16,13-1 0,0 1 0,13-1 16</inkml:trace>
  <inkml:trace contextRef="#ctx0" brushRef="#br0" timeOffset="108198.52">2858 11179 0,'-14'39'16,"28"-78"-16,-28 105 0,14-53 0,-13 13 0,13 14 16,-13 0-16,13-14 0,-13 27 15,13-13-15,-14 0 0,14-1 0,0 1 16,-13 0-16,13-14 0,0 1 15,0-1-15,0 1 0,0-14 0,0 0 16,0 0-16,0 0 0,-13 1 0</inkml:trace>
  <inkml:trace contextRef="#ctx0" brushRef="#br0" timeOffset="108434.61">2765 11152 0,'-27'27'15,"54"-54"-15,-67 67 0,27-40 0,13 13 0,-13 0 16,0 14-16,-1-14 0,1 0 16,0 14-16,13-14 0,-13 13 15,-1-12-15,1-1 0,0 0 0,13 0 16,-13 1-16,13-1 0,0 0 15</inkml:trace>
  <inkml:trace contextRef="#ctx0" brushRef="#br0" timeOffset="108593.25">2712 11152 0,'106'13'31,"-93"1"-31,14-14 0,-14 13 15,13-13-15,-13 13 0,14-13 16,-14 13-16,0-13 0,14 0 16,-14 14-16,0-14 0,14 0 0,-14 0 0,0-14 15</inkml:trace>
  <inkml:trace contextRef="#ctx0" brushRef="#br0" timeOffset="109958.33">2368 12528 0,'-40'0'16,"27"0"-1,0 0-15,0 13 0,-1-13 0,1 13 16,-13-13-16,-1 14 0,14-1 0,0-13 16,-14 13-16,14 0 0,0-13 15,13 14-15,-13-1 0,13 0 0,0 0 16,13 1-16,0-1 15,-13 0-15,27 0 0,-14 0 0,0 1 16,0-1-16,14 0 0,-14 0 16,0 1-16,0-1 0,1-13 0,-14 13 15,13 0-15,-13 1 0,13-14 0,-13 13 16,-13 0-16,13 0 0,-13 0 16,-1-13-16,1 14 0,-13-1 0,12 0 15,-12-13-15,0 13 0,-1-13 16,1 14-16,12-1 0,-12-13 15,13 0-15,0 13 0,-1-13 0,1 0 16</inkml:trace>
  <inkml:trace contextRef="#ctx0" brushRef="#br0" timeOffset="111025.35">2394 12687 0,'0'0'0,"-13"0"0,0 13 16,13 0-16,0 0 15,-13 1-15,13-1 0,0 0 16,0 0-16,0 1 0,0-1 16,0 0-16,13 0 0,-13 1 15,13-14-15,-13 13 16,13-13-1,1-13 1,-14-1-16,0 1 16,0 0-16,0 0 0,0-1 15,0 1 1,-14 0 0,28 39 30,-1-12-46,-13-1 32,13-13-32,-13 13 15,13-26 1,1 13 0,-14-13-16,13 13 0,-13-14 15,13 14-15,0-13 0,1 13 16,-1 0-1,0 0 1,0 0-16,-13 13 0,0 1 16,13-14-16,-13 13 15,14-13 1,-14 13-16,13-13 16,0 0 30,-13-13-30,13 13 0,1 0-1,-1-13 32,0-1-31,-13 1-16,13 13 15,-13-13 1,14 13-16,-1-13 16,0-1-1,0 14-15,0-13 16,1 0-16,-14 0 16,13 13-16,-13-13 15,13-1-15,-13 28 47,13-1-31,-13 0-1,0 0-15,14-13 16,-14 13-16,13-13 0,0 0 16,0 0-16,1 0 15,-1 0-15,-13-13 0</inkml:trace>
  <inkml:trace contextRef="#ctx0" brushRef="#br0" timeOffset="112172.79">3056 12515 0,'0'-13'15,"-13"13"-15,26 26 32,-13-13-17,0 0-15,0 1 0,13-1 16,-13 0-16,0 0 15,13-13-15,-13 14 16,14-41 0,-14 14-1,0 0 1,13-1-16,0 1 16,0 13-1,1 0 1,-1 13-1,0-13-15,-13 14 16,13-14 0,0 0-1,1 0 1,-1-14 0,0 14-1,0-13 1,1 13-16,-1-13 15,0 13 1,-13-13-16,13 13 0,1-13 0,-1-1 16,0 1-16,0 0 15,-13 0 1,13 13-16,-13-14 16,0 41 15,14-27-16,-1 13 1,-13 0 0,13-13-16,0-13 15,1 13 1,-14-13-16,0 0 16,13 13-1,0 0 32,-13 13-47,13-13 16,0 0-16,-13 13 15,14-13 1,-1-13 0,0 0-1,0-1 1,1 14 15,-1 14-15,0-1-16,-13 0 15,13-13 1,-13 13-16,0 1 0,-13-1 16,13 0-1,-13 0-15,13 0 16</inkml:trace>
  <inkml:trace contextRef="#ctx0" brushRef="#br0" timeOffset="112334.22">3638 12409 0,'-40'79'16,"80"-158"-16,-40 92 47,0 14-47,0-14 15,0 0-15,0 0 16,0 1-16,0-1 16</inkml:trace>
  <inkml:trace contextRef="#ctx0" brushRef="#br0" timeOffset="112493.23">3612 12250 0,'0'0'0,"-14"-13"0</inkml:trace>
  <inkml:trace contextRef="#ctx0" brushRef="#br0" timeOffset="112663.21">3638 12277 0,'13'39'16,"-26"-78"-16,26 92 0,-13-40 15,13 0-15,-13 0 0,0 0 16,0 1-16,14-14 16,-14 13-16,13-13 15,-13 13-15,13-13 0,0-13 16,1 13-16,-1 0 0,0 0 16,0-13-16,1 13 0,-1 0 15,0 0-15,0 0 16</inkml:trace>
  <inkml:trace contextRef="#ctx0" brushRef="#br0" timeOffset="112934.29">2593 13097 0,'106'-66'31,"-53"39"-31,13 1 0,-13-1 0,13 1 0,0-1 16,13 1-16,-12 0 0,12-1 16,-13 1-16,0 12 0,-13-12 0,0 13 15,-13 13-15,-1-14 0,-12 1 16,-14 13-16,0 0 0,1 0 0,-1 0 15,-26 13-15</inkml:trace>
  <inkml:trace contextRef="#ctx0" brushRef="#br0" timeOffset="113182.28">2540 13229 0,'26'-13'15,"41"-14"-15,144-39 16,-145 40-16,-13-1 16,80-12-16,-67 26 0,0-14 15,-13 14-15,0 0 0,-14-1 16,1 1-16,-13 0 0,-1 13 16,-13-13-16,0 13 0,1 0 15,-1-14-15,0 14 0,0-13 16,-26 0-1</inkml:trace>
  <inkml:trace contextRef="#ctx0" brushRef="#br0" timeOffset="115125.77">9036 11708 0,'0'-13'31,"13"-1"-31,0 14 16,0 0-16,0 14 16,1-14-16,-14 13 15,0 0-15,13-13 0,-26 13 16,13 1-16,-14-1 0,14 0 15,-13 0-15,13 0 0,-13-13 16,13 14-16,13-1 31,0-13-31,1 0 0,-1 0 16,0 0-16,0 13 0,1-13 0,-1 13 16,0-13-16,0 14 0,1-14 0,-14 13 15,13-13-15,-13 13 0,-13 13 16,-1-12-16,1-1 15,0-13-15,0 13 0,-14 0 16,14 1-16,-14-14 0,14 13 0,0-13 16,0 0-16,0 13 0,-1-13 0,1 0 15,0 0 1</inkml:trace>
  <inkml:trace contextRef="#ctx0" brushRef="#br0" timeOffset="115667.08">9485 11695 0,'0'26'31,"-13"-13"-15,13 1-16,0-1 15,0 0-15,0 0 16,0 0-16,0 1 0,0-1 16,0 0-16,0 0 15,0 1 1,13-28 15,1 1-31,-14 0 0,13 0 16,-13-1-16,13 1 0,-13 0 15,13 13 1,0-13-16,1 26 16,-1-13-1,-13 13 1,13-13-16,-13 13 0,13 1 16,1-14-1,-1 0 16,-13-14-31,13 14 0,-13-13 0,13 13 16,-13-13-16,14 13 16,-14-13-16,13 13 15,0 0-15,0 0 16,-13 13 0,13-13-16,-13 13 15,14-13-15,-1 0 16,0 0-16</inkml:trace>
  <inkml:trace contextRef="#ctx0" brushRef="#br0" timeOffset="115826.04">9948 11695 0,'-13'26'31,"13"-13"-31,0 1 16,0-1-1,0 0-15,0 0 16</inkml:trace>
  <inkml:trace contextRef="#ctx0" brushRef="#br0" timeOffset="115978.79">9948 11562 0,'-13'-13'0,"26"26"0,-39-13 16,13 0-1,13 14-15</inkml:trace>
  <inkml:trace contextRef="#ctx0" brushRef="#br0" timeOffset="116265.92">10028 11668 0,'0'13'16,"0"1"-1,0-1-15,0 0 16,13 0 0,0-26 15,0 13-31,1 0 0,-14-13 0,13 13 15,0 0-15,0-13 16,1 13-16,-1 0 16,0 13-16,0-13 15,-13 13-15,13-13 16,-13 13-16,0 1 16,0-1-16,0 0 0,0 0 15</inkml:trace>
  <inkml:trace contextRef="#ctx0" brushRef="#br0" timeOffset="116845.1">9181 12263 0,'0'0'0,"53"-13"16,-13 0-16,13 13 15,-14-13-15,27 0 0,1-1 0,-1 14 16,13-13-16,0 0 0,1 0 16,-1 13-16,-13-14 0,80 1 15,-67 0-15,-26 0 0,13-1 16,-13 14-16,-13-13 0,13 0 0,-13 0 16,-1 0-16,1-1 0,-14 1 0,1 0 15,-1-14-15,1 14 0,-14 0 16,0-14-16,0 14 0,-13-13 0,14-1 15,-14 1-15,0-14 0,-14 1 0,1-1 16,0 0-16,0 0 0,-14 1 16,-12-14-16,12 13 0,1 0 15,-1 1-15,1 12 0,-14-12 0,14 12 16,-14-13-16,0 14 0,1-14 0,-14 14 16,0-1-16,-13 1 0,-1 13 15,14-14-15,-79 14 0,53 0 16,26 13-16,-119 13 0,93 0 15,-14 14-15,14-14 0,-14 27 0,-13-1 16,-66 41-16,93-27 16,-14 0-16,-13 66 0,53-66 15,27-1-15,-27 68 16,40-68-16,13 1 0,13 0 16,0 0-16,14 0 0,-1 0 0,14 0 15,26-13-15,-13-1 0,13-12 0,133 39 16,-107-40-16,80 1 15,-93-27-15,14 0 0,-14 0 16,1-13-16,-1 13 0,1-14 0,-14 1 16,-13 0-16,0 13 0,-14-13 15,-12 13-15</inkml:trace>
  <inkml:trace contextRef="#ctx0" brushRef="#br0" timeOffset="117489.13">9737 12872 0,'132'-93'15,"-79"67"-15,0-14 0,0 1 16,26-14-16,14 0 0,-14 0 16,14 0-16,-1-13 0,1 13 0,-14 13 15,14-13-15,-27 14 0,0 12 16,0 1-16,-13-1 0,-13 1 0,-14 12 15,27 1-15,-26 0 16,-14 13-16,-26 13 16,-1 14-16,-12-14 15,-14 27-15,-13-1 0,1 1 16,-15 13-16,-12 0 0</inkml:trace>
  <inkml:trace contextRef="#ctx0" brushRef="#br0" timeOffset="117717.97">9737 13044 0,'0'0'0,"0"13"16,26-13-16,-13-13 16,80-40-16,-40 13 0,13-26 15,106-53-15,-79 53 0,12 0 16,-12 0-16,13 13 0,0-13 16,79-40-16,-119 79 0,0-12 15,27-1-15,-67 27 0,1 0 16,-1 13-16,-13-14 0,1 14 15,-1 0-15,-13 14 16,-13-1 0,-1-13-16,14 13 0,-13 0 15</inkml:trace>
  <inkml:trace contextRef="#ctx0" brushRef="#br0" timeOffset="162737.46">8255 3281 0,'-26'53'0,"26"39"31,0-65-31,0-14 0,0 13 0,13-12 15,-13-1-15,13 0 0,0 0 16,0 1-16,27-1 0,-27-13 16,1 13-16,12-13 0,1-13 15,-14 13-15,13-13 0,1-1 0,-14 14 0,13-26 16,-12 13-16,-14-1 0,13-12 16,-13 13-16,0 0 0,0-14 15,0 14-15,-13-14 0,-1 14 0,1-13 16,-13 13-16,12-14 0,1 14 0,-13 0 15,13 13-15,-1-14 0,-12 14 16,13 0-16,-1 0 0,1 0 0,-13 0 16,12 14-16,-12-14 0,26 13 0,-13-13 15,0 13-15</inkml:trace>
  <inkml:trace contextRef="#ctx0" brushRef="#br0" timeOffset="163120.03">8506 3149 0,'27'13'0,"-27"0"15,0 0-15,13 0 0,-13 14 0,13-1 16,-13 1-16,13 13 0,-13-1 0,0 1 16,0-14-16,14 1 0,-14-1 15,0 1-15,0-1 0,13-13 0,-13 1 16,0-1-16,0 0 0,0 0 15,13-39 17,-13-1-32,0 14 0,0-13 0,13-1 15,1-12-15,12 25 0,-13-12 16,1 13-16,-1-1 0,13 14 16,-13-13-16,1 13 0,-1 0 0,0 0 15,0 0-15,1 13 16,-1-13-16,-13 14 0,0-1 0,13 0 15,-13 0-15,-13 1 0,13-1 0,0 0 16,-13 0-16,-1 0 0,14 1 16,-13-1-16,13 0 0,-13-13 0,13 13 15</inkml:trace>
  <inkml:trace contextRef="#ctx0" brushRef="#br0" timeOffset="163365.97">8956 3228 0,'0'0'0,"0"26"31,0-12-31,13-1 0,-13 13 0,0-12 16,14-1-16,-14 13 0,0-13 0,13 1 15,-13 12-15,13-13 0,-13 1 16,0-1-16,0 0 0,0 0 0,0 0 15,0 1-15,-13-1 0,13 0 0,-13-13 16,13 13-16,-14-13 16,14 14-16,-13-14 0,0 0 15</inkml:trace>
  <inkml:trace contextRef="#ctx0" brushRef="#br0" timeOffset="163741.43">9181 3453 0,'0'-27'0,"0"-12"16,0 25-1,-13 1-15,0 40 31,13-14-15,0 0-16,-14-13 0,14 13 0,0 1 16,14-1-16,-14 0 0,0 0 15,13 0-15,0-13 16,-13 14-16,13-14 0,1 0 16,-1 0-16,-13-14 0,13 14 0,0 0 15,0 0-15,-13-13 0,14 13 16,-1 0-16,0 0 15,14 0-15,-14 0 16,0 0-16,0 0 16,0 13-1,-13 1 1,14-14-16</inkml:trace>
  <inkml:trace contextRef="#ctx0" brushRef="#br0" timeOffset="164285.79">11258 3373 0,'0'0'0,"-13"0"0,0 0 16,-1-13-1,1 13-15,0-13 16,13 0-16,-13 0 0,-1-1 0,1 1 15,0-13-15,0-14 0,13 13 0,0-12 16,0 12-16,0 1 16,0 13-16,0-14 0,13 14 0,-13 0 0,13-14 15,0 14-15,1 26 32,-28 0-32,14 1 0,-13 25 0,-13-12 15,12 13-15,-25-1 0,12-12 16,1 12-16,13-12 0,-14-1 0,14 1 15,-13-14-15,26 13 0,-14-12 16,1-14-16,13 13 0,0 0 0,-13-13 16,26 13-16,0 1 15,-13-28-15,27 14 0,-14 0 16,13-13-16,14 0 0,13 0 0,-13-1 16,13 1-16,0-13 0,-14 13 0,1-1 15,0-12-15,-1 13 0,1-14 16</inkml:trace>
  <inkml:trace contextRef="#ctx0" brushRef="#br0" timeOffset="164578.04">12131 2858 0,'-13'26'16,"13"-13"-16,-13 0 15,13 14-15,-14-14 16,14 0-16,0 14 0,-13-14 0,13 0 16,0 14-16,0-14 0,0 0 0,0 0 15,0 1-15,0-1 16,0 0-16,13 0 0,-13 1 0,14-1 16,-1-13-16,0 13 0,0-13 15,1 13-15,12-13 0,-13 0 16,1 0-16,-1-13 0,13 13 0,-13 0 15,1 0-15,12-13 0,-13 13 16,1 0-16,-14-13 0</inkml:trace>
  <inkml:trace contextRef="#ctx0" brushRef="#br0" timeOffset="164970.94">12118 3122 0,'-13'0'0,"26"0"0,-40 0 0,67-13 31,-27 13-31,1 0 16,-1-13-16,0 13 0,14 0 0,-14-14 16,0 14-16,-13-13 0,13 13 15,0-13-15,-13 0 16,-13-1-16,0 1 16,0 13-16,0 0 0,-1-13 15,1 13-15,13-13 0,-13 13 16,13-13-16,13-1 15,0 1 1,1 13-16,-1-13 0,0 13 0,13-13 16,-12-1-16,12 14 0,1-13 15,-1 0-15,-13 13 0,0 0 0,1 0 16,-1 0-16,0 0 16,0 13-16,1 0 15,-14 1-15,0-1 0,13 0 16,-13 0-16,0 1 0,0-1 15,-13 0-15,13 0 0,0 0 0,0 1 16,0-1-16,0 0 0,-14 0 0,14 1 16,0-1-16,-13 0 0</inkml:trace>
  <inkml:trace contextRef="#ctx0" brushRef="#br0" timeOffset="165109.06">12330 3069 0,'0'0'0,"0"-13"0,26 39 32,-13-26-32,0 0 15,1 0-15,-1 0 0,13 0 16</inkml:trace>
  <inkml:trace contextRef="#ctx0" brushRef="#br0" timeOffset="165478.07">12647 2910 0,'13'-13'15,"-26"26"-15,26-39 0,-13 13 0,-13 52 32,13-25-17,0-1-15,0 13 0,0-12 0,0 12 16,0 0-16,13-12 0,-13 12 16,0-13-16,0 14 0,0-14 15,0 0-15,0 1 0,14-1 0,-14 0 0,0 0 16,-14 0-1,1-39 1,13 0 0,0 12-16,0-12 0,0-14 15,13 0-15,-13 14 0,14-14 0,-14 14 16,13-1-16,0 14 0,-13 0 0,13 0 16,-13 0-16,13 13 0,1 0 15,12 0-15,-26 13 16,13 0-16,-13 0 0,0 0 15,0 1-15,0-1 0,-13 0 0,13 0 16,-13 14-16,0-14 16,13 0-16,-27 0 0,14 1 15,0-1-15,0 13 0,-14-12 0</inkml:trace>
  <inkml:trace contextRef="#ctx0" brushRef="#br0" timeOffset="166388.84">8903 3929 0,'172'-13'16,"-92"0"-16,12 13 16,27-14-16,0-12 0,27 13 0,-14-1 15,14-12-15,-1 0 0,14-1 0,0 1 16,13-1-16,-14 1 0,1 12 15,13-12-15,-13 0 0,0-1 16,13 14-16,-14-14 0,-12 1 0,13 13 16,-14-14-16,1 1 0,-1-1 0,-13 14 0,1-13 15,-14-1-15,0 1 16,93-27-16,-133 26 0,0 1 16,-13-1-16,1-12 0,-1 12 0,-13-12 15,0-1-15,-14 0 0,1 1 16,0-1-16,-14 0 0,1 14 0,-14-14 15,-13 0-15,-13-26 0,-1 13 16,-12 14-16,-14-14 0,0 13 16,-26-13-16,-13 13 0,0-13 0,-1 14 15,-12-1-15,-107-26 16,93 39-16,-13 1 0,13 0 0,-13-1 16,0 14-16,0 0 0,-13-1 15,0 1-15,-1 0 0,1 13 0,-13 0 16,-1 13-16,-13-13 0,14 13 0,-186 27 15,172-13-15,-13-1 16,0 0-16,0 14 0,14 0 0,-14 0 16,0-1-16,13 1 0,0 0 0,0-1 15,1 1-15,12 13 0,14 0 16,0-13-16,-1 12 0,14 1 0,0 0 16,13 0-16,14 13 0,-1-13 0,14 13 15,-1 14-15,27-14 0,1 13 16,-28 54-16,54-67 15,12 0-15,1 40 0,26-40 16,14-13-16,-1 0 0,27-14 0,0 1 16,27-13-16,-14-1 0,26-13 15,27 0-15,-13-13 0,27 0 0,12-13 16,-13-13-16,14-1 0,-14 1 0,0-1 16,1 1-16,-14-14 0,-13 14 15</inkml:trace>
  <inkml:trace contextRef="#ctx0" brushRef="#br0" timeOffset="167451.5">9102 3585 0,'26'-26'0,"1"-14"32,-27 27-32,0-1 0,13 1 0,-13 0 15,0 0-15,0 0 0,0-1 16,-13 1-16,13 0 15,-14 0-15,1 13 16,0 0 0,0 13-16,-1 0 15,14 0-15,0 1 0,0-1 16,0 0-16,0 0 0,14 0 16,-14 1-16,13-14 0,0 13 15,0-13-15,1 13 0,-1-13 16,0 0-16,0 0 0,14 0 0,-1 0 15,-13 0-15,14-13 0,-14 13 0,14-13 16,-14 13-16,0-14 16</inkml:trace>
  <inkml:trace contextRef="#ctx0" brushRef="#br0" timeOffset="167774.89">9393 3387 0,'-14'0'15,"28"0"-15,-1 26 16,0-13 0,0 1-16,-13-1 0,14 0 15,-14 0-15,13 0 0,-13 1 16,13-1-16,-13 0 0,0 0 16,13 1-16,-13-1 0,0 0 15,0-53 32,0 27-47,14 0 0,-14 0 0,0-14 16,0 14-16,13 0 0,-13 0 15,13-1-15,-13 1 0,13 0 0,0 0 16,1-1-16,-1 14 0,0 0 16,0 0-16,1 0 15</inkml:trace>
  <inkml:trace contextRef="#ctx0" brushRef="#br0" timeOffset="168333.29">9684 3413 0,'13'27'31,"-13"-14"-31,0 0 16,13 0-16,-13 0 0,0 14 0,13-14 15,-13 0-15,14-13 0,-14 14 0,13-1 16,0 0-16,-13 0 16,13-13-16,1-13 15,-14 0-15,13 0 16,-13-1-16,0 1 0,0-13 16,0 12-16,0-12 0,0 13 15,0 0-15,0-14 0,0 14 0,0 0 16,13-1-16,-13 1 0,0 0 0,0 0 15,13 13 1,0 0-16,1 13 16</inkml:trace>
  <inkml:trace contextRef="#ctx0" brushRef="#br0" timeOffset="169187.91">10054 3347 0,'-26'13'16,"26"0"-16,-14 1 16,1-1-16,13 0 15,0 0-15,-13 1 0,13-1 16,0 0-16,0 0 16,0 0-16,26-26 15,-12 0 1,-1 0-1,-13 0-15,13-1 0,0 1 16,-13 0-16,14 13 0,-14-13 16,13 26-1,0-13 1,-13 13-16,13 0 0,-13 1 16,14-14-16,-1 13 15,0-13-15,0-13 16,0 13-16,-13-14 0,14 1 15,-14 0-15,13 0 0,-13-1 16,0 1-16,0-13 0,0 13 16,13-14-16,-13 1 0,0-1 0,0 14 15,0 0-15,0-1 0,0-12 0,0 13 16,13 26 15,-13 0-31,0 0 0,0 14 0,0-14 16,0 14-16,0-1 0,0 1 15,0-1-15,0 0 0,0-12 0,14 12 16,-14-13-16,0 1 0,0-1 0,0 0 16,0 0-16,0 0 15,-14-39 32,1 26-47,13-13 16,13 0-16,-13-1 0,14 1 15,-14 0-15,13 0 16,0-1-16,0 1 0,1 0 16,-1 0-16,0 13 0,-13-13 0,13 13 15,0 0-15,1 0 16,-1 0-16,0 13 16,-13 0-1,0 0-15,0 0 0,0 1 16,13 12-1,-13-13-15,0 1 16</inkml:trace>
  <inkml:trace contextRef="#ctx0" brushRef="#br0" timeOffset="169350.34">10504 3254 0,'0'0'0,"-13"-13"15,0 26 17,13 1-17</inkml:trace>
  <inkml:trace contextRef="#ctx0" brushRef="#br0" timeOffset="169755.36">10570 3201 0,'0'0'0,"-13"0"16,13 14-16,-13-14 16,13 13-16,-14 0 0,14 0 0,-13-13 15,13 14-15,0-1 0,-13 0 0,13 0 16,0 1-16,0-1 15,26-26 17,-26-1-32,14 1 15,-14 0-15,13 0 0,-13-1 16,0 1-16,13 0 16,0 26 15,1 0 0,-1-13-31,0 0 16,0 0-16,0 14 15,1-14 1,-1 0-16,0 0 16</inkml:trace>
  <inkml:trace contextRef="#ctx0" brushRef="#br0" timeOffset="170248.7">10676 3294 0,'0'-13'15,"0"0"-15,0-14 32,13 14-17,0 13 1,1-13-16,-1 13 15,0 0 1,0-14-16,1 14 16,-1-13-1,0 13-15,0-13 16</inkml:trace>
  <inkml:trace contextRef="#ctx0" brushRef="#br0" timeOffset="201622.12">18283 10292 0,'13'0'0,"-13"-13"15,13 13 1,-13 13 15,0 1-31,0-1 0,0 0 16,0 0-16,-13 0 0,13 1 15,0 12-15,0-13 0,0 1 0,0-1 16,0 0-16,0 0 0,0 1 16,13-1-16,-13 0 15,0 0-15,0 0 0,13-13 0,-13 14 16,14-14-16,-1 13 0,0-13 15,0 0-15,1 13 0,-1-13 0,0-13 16,0 13-16,14 0 0,-14 0 16,0 0-16,0-13 0,1 13 15,-1 0-15,0-14 0,0 14 0,1 0 16,-14-13-16,13 13 0</inkml:trace>
  <inkml:trace contextRef="#ctx0" brushRef="#br0" timeOffset="201798.21">18322 10425 0,'53'-14'31,"-39"1"-31,12 13 0,0-13 16,1 13-16,-1-13 0,-12 13 15,12-14-15,-13 14 0,1-13 16,-1 13-16,0-13 0,0 13 0,-13-13 15</inkml:trace>
  <inkml:trace contextRef="#ctx0" brushRef="#br0" timeOffset="202481.08">18481 10306 0,'-26'0'0,"52"0"0,-66 0 0,80-14 32,-27 14-17,1-13-15,12 0 0,1 13 16,-14-13-16,13-1 0,-13 1 0,14 13 15,-14-13-15,0 13 0,1 0 0,-14-13 16,13 13-16,0 13 16,-13 0-1,0 0-15,-13 1 0,13 12 16,0 1-16,0 12 0,0 1 0,-13 0 16,13-1-16,-14 1 0,14 0 15,0-1-15,-13-12 0,13-1 0,0 1 16,-13-1-16,13 1 0,0-14 0,-13 0 15,13 0-15,0 1 0,-14-1 16,1-13 0,0-13-16,13-1 15,0 1-15,0 0 16,0 0-16,0-1 0,13 1 16,-13 0-16,13 0 0,-13-1 0,14 1 0,-1 0 15,-13 0-15,13-14 0,0 14 16,-13 0-16,14 0 0,-14-1 15,13-12-15,-13 13 0,13 0 0,-13-14 16,13 14-16,-13 0 0,13-14 0,-13 14 16,0 0-16,14-14 0,-14 14 15,0 0-15,0 0 0,13 13 16,-13-14-16,0 41 31,0-14-31,0 13 0,-13-12 16,13 12-16,0 1 0,0-1 15,-14 1-15,14-1 0,-13 0 0,13-12 16,0 12-16,0-13 0,-13 1 16,13-1-16,0 0 0,0 0 15,0 0-15,-13-13 0,0 0 16,13-13 0,-14 0-1,14 0-15,14 0 16,-1-1-16,0 1 15,0 13-15,0 0 16,1-13-16,-1 13 0,0 0 16,0-13-16,1 13 0,-1 0 0,13 0 15,-12 0-15,-1 0 0,-13-14 16</inkml:trace>
  <inkml:trace contextRef="#ctx0" brushRef="#br0" timeOffset="203344.58">18971 10478 0,'0'0'15,"-27"0"-15,14 13 16,0 0-1,-1 0-15,14 0 16,0 1-16,0-1 16,14-13-16,-14 13 0,13-13 15,13 0-15,-12 0 16,-1-13-16,13 13 16,-12-13-16,12-1 15,-13 14-15,-13-13 0,13 0 0,1 13 16,-14-13-16,13 0 0,0-1 15,-13 1 1,13 0-16,-13 0 16,0-1-16,14 1 15,-14 0 1,-14 39 31,1-26-47,13 14 0,0-1 0,0 0 15,0 0-15,0 1 0,0-1 16,0 0-16,13-13 0,-13 13 16,14 0-16,-1 1 15,0-14-15,0 0 16,1 0-16,12 0 16,-26-14-16,13 14 0,0-13 15,1 13-15,-1-13 0,0 0 0,0 0 16,1-1-16,-1-12 0,-13 13 0,13-1 15,0 1-15,-13 0 0,14 0 16,-14-1-16,0 1 0,13 0 0,-13 0 16,0 0-16,0-1 15,13 14-15,-13-13 16,-13 53 15,13-27-31,0 0 0,0 0 16,0 1-16,0-1 0,0 13 0,0-12 15,0-1-15,0 0 0,0 0 16,0 14-16,0-14 0,0 0 0,-13-13 16,13 27-16,-14-14 15,1-13 1,0 0 0,0-13-1,26-1 1,0 1-16,0 0 15,14 0-15,-14 0 16,13-14-16,1 14 0,13 0 0,-14-14 16,14 14-16,-1 0 0,-12-1 0,13 1 15</inkml:trace>
  <inkml:trace contextRef="#ctx0" brushRef="#br0" timeOffset="204067.1">19791 10292 0,'0'0'16,"-13"0"-16,-1 0 0,1 14 0,0-1 16,0-13-16,13 13 0,-14 0 15,14 0-15,-13-13 0,13 27 0,13-14 16,1-13-1,-14 13-15,13-13 16,0-13-16,0 13 0,1-13 16,-14 0-1,0-1-15,0 1 0,0 0 16,0 0 0,13 39 15,-13-13-31,13 1 15,-13-1-15,0 0 0,0 14 0,0-14 16,0 0-16,0 14 16,0-14-16,0 0 0,0 0 0,-13 14 15,13-14 1,0 0-16,26-39 31,-12 12-15,105-65 15</inkml:trace>
  <inkml:trace contextRef="#ctx0" brushRef="#br0" timeOffset="204442.93">20426 10239 0,'0'67'31,"0"-54"-31,0 0 0,13 0 0,-13 14 15,0-14-15,13 0 0,-13 14 16,14-14-16,-14 0 16,13-13-16,0 0 15,0-13-15,0 0 16,-13-1-16,14-25 16,-14 25-16,13 1 15,0-13-15,-13 13 0,13-1 16,1 1-16,-1 0 0,0 13 15,0 0-15,1 0 16</inkml:trace>
  <inkml:trace contextRef="#ctx0" brushRef="#br0" timeOffset="205227.97">20836 10253 0,'-40'0'15,"80"0"-15,-93 13 0,40-13 0,13 13 16,-27 0-16,1 1 16,13-1-16,-1 0 0,1 0 15,13 0-15,-13 1 16,13-1-16,13 0 0,-13 0 16,13-13-16,1 0 0,12 0 15,-13-13-15,1 0 16,12-14-16,-13 14 15,0 0-15,1 0 16,-1 0 0,-13 26 15,0 0-15,13 0-1,-13 0-15,13-13 0,1 0 16,-1 0-16,0 0 15,0 0-15,14-13 0,-1 13 16,1-13-16,-14 13 0,13-13 0,1 0 16,-1-1-16,-12 1 15,12 0-15,-13 0 16,-26 13 15,-13 0-15,12 13-16,-39 40 31,40-40-15,13 0-16,40 0 15,-14-26 1,-12 13 0,-1 0-16,106-39 15,-106 25 1,0 14-1,0 0-15,14-13 16,-1 13 15,-12 0-15,12 0 15,-26 13-15,13 1-1,-13-1 1,0 0 0,14-13-1,-14 13-15</inkml:trace>
  <inkml:trace contextRef="#ctx0" brushRef="#br0" timeOffset="205382.41">21484 10200 0</inkml:trace>
  <inkml:trace contextRef="#ctx0" brushRef="#br0" timeOffset="206345.19">21616 10292 0,'0'27'47,"-13"-14"-32,13 0 1,13 0 15,1-13-15,-1-13 0,0 13-1,0-13 1,1 13-16,-1 0 0,0 0 0,0 0 15,1-13-15,25 13 16,-26 0-16,1 0 0,-14-13 16,13 13-16,-53 0 31,27 0-15,0 13-16,0-13 15,13 13 1,-14-13-16,28 13 15,-1 0 1,13-13 0,-13-13-1,1 13-15,25-13 16,-39 0-16,67-53 31,-54 66-31,0-27 16,0 27-1,-13 13 17,13 40-1,-13-39-31,14-1 0,-14 0 16,-14-13-16,14 26 0,-13-12 31,26-28 16,-13 1-47,14 13 15,-1 0-15,0-13 16,0 13 0,1 0-16,-1 0 15,0 0 1,-13 13-16,0 0 15,13 1 1,-26-1-16,13 0 16</inkml:trace>
  <inkml:trace contextRef="#ctx0" brushRef="#br0" timeOffset="206653.97">22172 10292 0,'0'-13'16,"-13"79"-16,13-145 16,13 105-16,0-39 47,-13 26-47,14 1 15,-14-1 1,13-13-1,-13 13-15,13 0 16,0-13 0,0 0-1,-13 13-15,14-13 16,-1 0-16,0 0 0,0 0 16,14 0-1</inkml:trace>
  <inkml:trace contextRef="#ctx0" brushRef="#br0" timeOffset="206945.4">20505 10702 0,'476'-66'31,"-290"53"-15,78-13-16,-92 12 16,-106 1-1,93 0 1,-146 13-16,14 0 0,-67 13 31,14 0-31</inkml:trace>
  <inkml:trace contextRef="#ctx0" brushRef="#br0" timeOffset="207145.46">20452 10782 0,'-119'39'31,"159"-25"-31,688-54 47,-504 14-32,-171 26-15,0-14 0,-26 14 16,-1033 27-16,2038-54 0,-1005 27 0,-1-13 16,-13 13-16,1 0 0,12 0 15</inkml:trace>
  <inkml:trace contextRef="#ctx0" brushRef="#br0" timeOffset="209703.07">17740 9988 0,'0'53'32,"0"-13"-32,0 26 15,-13 13-15,13 1 0,-13 25 16,0 14-16,-1 14 0,-25 145 16,-1 26-16,14-145 0,-1-1 15,14 1-15,-27 145 16,27-145-16,13-27 0,-13 1 0,13-1 15,0-39-15,0-14 0,0 80 16,0-80-16,0-13 0,13 0 16</inkml:trace>
  <inkml:trace contextRef="#ctx0" brushRef="#br0" timeOffset="210573.84">19526 10729 0,'-53'53'0,"106"-106"16,-198 172-16,105-93 0,-13 14 0,-66 53 15,66-54-15,-79 54 16,39-14-16,27-26 16,40-26-16,-1-14 15,14 13-15,0-12 16</inkml:trace>
  <inkml:trace contextRef="#ctx0" brushRef="#br0" timeOffset="210865.77">19500 10676 0,'13'13'16,"0"-13"-1,27 13-15,0 1 0,-1 12 0,80 14 16,-39-14-16,-14-13 16,146 54-16,-107-41 15,239 53-15,-119-26 16,0 0-1,-145-26-15,91-1 0,-104 1 16,118-1-16,-106-13 16,-13-13-1,-39 0-15,-1 0 16</inkml:trace>
  <inkml:trace contextRef="#ctx0" brushRef="#br0" timeOffset="-210524.61">18746 11311 0,'-40'66'0,"27"-53"0,0 1 16,13-1-16,-14 0 16,14 0-16,0 0 15,0 1-15,14-14 0,-14 13 16,13-13-16,13 0 15,-13 0-15,1 0 0,12-13 16,-13 13-16,14 0 0,13-14 0,-14 14 16,14-13-16,-1 13 0,1-13 15,0 13-15</inkml:trace>
  <inkml:trace contextRef="#ctx0" brushRef="#br0" timeOffset="-209663.55">21643 11073 0,'-13'0'16,"26"13"15,0-13-31,-13 13 0,13-13 16,1 13-16,-1-13 0,-13 14 15,13-1-15,0 0 0,-13 14 0,0-14 16,14 0-16,-14 0 0,0 14 0,-14-14 15,14 13-15,-13-12 0,0 25 0,-14-12 16,1-1-16,-1 14 0,-12 0 16,-1-1-16,0 1 0</inkml:trace>
  <inkml:trace contextRef="#ctx0" brushRef="#br0" timeOffset="-208766.26">18772 11139 0,'0'0'0,"-13"13"47,0 0-47,13 1 0,-14-1 0,1 13 15,-13 14-15,13-14 0,-14 1 16,14-1-16,0 1 0,-1-14 0,1 14 16,13-14-16,-13 0 0,13 0 0,-13 0 15,13 1-15,0-1 0,13-13 16,-13 13-16,13-13 15,0 13-15,1-13 0,-1 0 0,0-13 16,0 13-16,14 0 0,-14-13 0,13 13 16,1 0-16,-14-13 15,14 13-15,-14 0 0,27-14 0</inkml:trace>
  <inkml:trace contextRef="#ctx0" brushRef="#br0" timeOffset="-200044.41">23429 10491 0,'0'-13'0,"0"-1"16,13 14 0,-13 27 15,0-14-31,0 0 16,-13 0-16,13 1 0,0-1 0,0 0 15,0 14-15,-13-14 0,13 0 16,0 0-16,0 0 0,0 14 0,-14-1 15,14-12-15,0-1 16,0 0-16,0 0 16</inkml:trace>
  <inkml:trace contextRef="#ctx0" brushRef="#br0" timeOffset="-199602.64">23654 10504 0,'-13'13'0,"-1"14"15,14-14-15,0 0 16,0 0-16,0 1 0,0-1 16,0 0-16,0 0 0,0 0 15,0 1-15,14-14 0,-1 13 16,0-13-16,0 0 16,14 0-16,-27-13 0,13 13 15,0-14-15,0 1 0,1 0 16,-14 0-16,0 0 15,0-1-15,0 1 0,0 0 16,-14 0 0,14-1-16,-13 14 0,0 0 15,0-13-15,-1 13 0,1 0 16,0 13 0,0-13-16</inkml:trace>
  <inkml:trace contextRef="#ctx0" brushRef="#br0" timeOffset="-199262.46">23879 10491 0,'-14'13'31,"14"0"-31,-13 0 16,13 1-16,0-1 0,0 0 15,0 0-15,0 1 16,13-14-16,-13 13 0,14-13 16,-1 0-16,0 0 0,14 0 15,-14 0-15,0 0 16,-13-13-16,13 13 0,0-14 0,-13 1 16,14 0-16,-14 0 15,0-1-15,0 1 0,0 0 0,0 0 16,0 0-16,-14-1 0,1 1 15,13 0-15,-13 13 0,0-13 16,0 13-16,-1 0 0,1 0 16,0 0-1,13 13-15,-13 0 0</inkml:trace>
  <inkml:trace contextRef="#ctx0" brushRef="#br0" timeOffset="-198647.96">24276 10425 0,'-14'26'47,"14"-13"-47,0 1 15,-13 12-15,13-13 0,-13 14 16,0-1-16,13-13 0,0 14 0,-14-1 15,14 1-15,-13-14 0,13 0 0,0 0 16,-13 14-16,13-14 0,0 0 16,-13 1-16,13-1 0,0 0 15,0 0 1,13-39 15,-13 13-31,0-1 0,0 1 16,13-13-16,-13 12 0,13-12 0,-13 13 15,14-14-15,-14 14 0,13 0 16,-13 0-16,13-1 0,0 1 0,1 13 16,-14-13-16,13 13 0,0-13 0,0 13 15,14 0 1,-27 13-16,13-13 0,-13 13 16,0 0-16,0 14 15,-13-27-15,13 13 16,-14-13-16,1 13 0,0 0 15,0-13-15,0 14 0,-1-14 0,14 13 16,-13-13-16,0 0 16</inkml:trace>
  <inkml:trace contextRef="#ctx0" brushRef="#br0" timeOffset="-198227.69">24527 10438 0,'13'-13'0,"-26"26"0,13 0 16,-13 0-1,13 1-15,-14 12 0,1 0 16,0 1-16,0-1 0,0 1 0,-1-1 16,14 1-16,-13-14 0,0 13 15,13-12-15,-13-1 0,13 0 0,0 0 16,-14 1-16,14-1 0,0 0 15,0 0 1,0-39 0,14 13-1,-14-14-15,13 14 0,0-14 0,-13 1 16,13-1-16,-13 14 0,14-13 0,-1 13 16,0-1-16,-13 1 0,13 0 15,-13 0-15,13 13 0,1 0 0,-1 0 31,0 13-31,-13 0 0,-13 0 16,13 1-16,0-1 16,-13 0-16,-1 0 0,14 0 0,-13 1 15,0-1-15,0 0 0,0 0 16,-1 1-16,14-28 31</inkml:trace>
  <inkml:trace contextRef="#ctx0" brushRef="#br0" timeOffset="-198043.56">24739 10385 0,'0'13'32,"0"0"-32,0 1 0,-14-1 15,14 13-15,-13-12 0,0 12 0,0-13 16,13 14-16,-14-14 0,1 0 15,13 0-15,-13 1 0,13 12 0,-13-26 16,13 13-16,0 0 0</inkml:trace>
  <inkml:trace contextRef="#ctx0" brushRef="#br0" timeOffset="-197178.94">23998 11046 0,'0'-13'0,"0"53"16,-14-27-16,14 0 16,0 14-16,-13-1 0,0-13 15,0 27-15,13-13 0,-13-14 0,13 13 16,-14 1-16,14-14 0,-13 0 15,0 14-15,13-14 0,0 0 16,-13 0-16,13 1 0</inkml:trace>
  <inkml:trace contextRef="#ctx0" brushRef="#br0" timeOffset="-196947.78">24090 11073 0,'-13'-13'0,"-53"52"16,53-26-1,-14 14-15,-12-14 0,12 0 16,1 14-16,12-14 0,-12 0 0,-1 1 15,14-1-15</inkml:trace>
  <inkml:trace contextRef="#ctx0" brushRef="#br0" timeOffset="-196775.64">23984 11099 0,'27'13'0,"26"27"31,-40-27-15,0 1-16,1-1 0,-1 0 0,0 0 15,0 1-15</inkml:trace>
  <inkml:trace contextRef="#ctx0" brushRef="#br0" timeOffset="-196266.51">23482 11642 0,'0'0'0,"-13"39"31,13-25-31,0-1 0,0 0 16,0 0-16,13 1 0,-13-1 15,0 13-15,13-13 0,-13 1 16,13-1-16,-13 0 0,13-13 0,-13 13 16,14-13-16,-1 0 15,0-13-15,0 13 0,1-13 16,-14 0-16,13-14 0,0 14 15,-13 0-15,13 0 0,1-1 16,-14 1-16,13 0 0,-13 0 0,13-1 16,0 14-16,-13-13 0,13 13 15</inkml:trace>
  <inkml:trace contextRef="#ctx0" brushRef="#br0" timeOffset="-195882.54">23865 11642 0,'-13'0'0,"0"0"0,-53 39 32,53-25-32,-1-14 0,1 13 15,13 0-15,-13 0 0,13 1 0,0-1 16,-13-13-16,13 13 0,0 0 15,13-13-15,-13 13 0,13 1 16,0-14-16,14 0 16,-27-14-16,13 14 0,0-13 15,0 0-15,1 0 0,-1 13 0,-13-13 16,13-1-16,0 1 0,-13 0 16,14 13-16,-14-13 15,13 13-15,-26 26 31,13-13-15,0 1-16,-14-1 0,14 0 16,0 0-16,0 0 0,14 1 15,-1-1 1</inkml:trace>
  <inkml:trace contextRef="#ctx0" brushRef="#br0" timeOffset="-195483.4">24130 11708 0,'-26'0'31,"12"13"-31,1-13 0,0 13 16,0 1-16,-1-1 0,1 0 15,13 0-15,-13 0 0,0-13 0,13 14 16,0-1-16,-14 0 0,14 0 15,14 1 1,12-14 0,1-14-1,-14 14-15,0-13 0,0 13 0,1-13 16,-1 0-16,0 13 0,0-14 16,0 14-1,1-13-15,-14 26 16,0 1-1,0-1 1,0 0 0,0 0-16,0 1 15,0-1-15,13-13 32,-13 13-32</inkml:trace>
  <inkml:trace contextRef="#ctx0" brushRef="#br0" timeOffset="-194899.65">24328 11642 0,'-13'13'16</inkml:trace>
  <inkml:trace contextRef="#ctx0" brushRef="#br0" timeOffset="-194562.62">24408 11761 0,'0'0'16,"-13"13"-16,13 0 16,0 0-16,-14-13 0,14 14 15,0-1-15,14-26 63,-1 13-63,0-14 15,0 14 1,1 0 0,-1 0-1,-13 14-15,13-14 0,0 0 16,0 0-16,-13 13 0,14-13 0,-1 0 15,0 0-15</inkml:trace>
  <inkml:trace contextRef="#ctx0" brushRef="#br0" timeOffset="-193702.73">24686 11787 0,'0'0'0,"-14"-13"47,1 26-16,0 0-15,13 1 0,0-1-1,0 0 16,13-13-31,0 13 16,1-26 15,-1 13-31,0 0 0,-13-13 16,13 13-16,1-13 0,-14-1 16,13 1-16,0 0 0,13-27 15,-26 27-15,14-13 0,-1-1 16,0 1-16,0 12 0,-13 1 15,14-13-15,-1 13 0,-13-1 0,-27 41 47,14-14-47,0 0 0,0 14 16,13-14-16,-14 13 0,1-12 0,13 12 16,-13-13-16,13 1 0,0 12 0,0-13 15,0 0-15,0 1 16,0-1-16,13-13 0,-13 13 0,13-13 15,1 0-15,-1 0 16,0 0-16,0 0 16,1-13-16,-1 13 0,0-13 15,0 13-15,1 0 32,-14 13-17,0 0-15,13 0 31,0-13-15,-13-13-16,13 13 16,0 13-1,1-13 1,-1 0 0,0-13-1,0 13-15,1 0 16,-1-13-16,-13 0 0,13-1 0,0 14 15,0-13-15,1 0 0,-1 0 0,0 0 16,-13-1-16,13 14 0,-13-13 0,14 13 16,-14-13-16,-14 39 31,1-26-31,13 14 0,-13-1 0,0 0 16,13 0-16,0 0 0,-14-13 15,14 14-15,-13-1 0,13 0 0,-13-13 16,13 13-16</inkml:trace>
  <inkml:trace contextRef="#ctx0" brushRef="#br0" timeOffset="-193491.22">24712 11655 0,'13'0'16,"1"0"-16,-1-13 0,13 13 16,-13 0-16,14 0 0,-1 0 15,1 0-15,-1-14 0,1 14 0,-1 0 16,-13 0-16,14 0 0,-1 0 16,-12 0-16,-1 0 0</inkml:trace>
  <inkml:trace contextRef="#ctx0" brushRef="#br0" timeOffset="-192896.64">24090 12250 0,'-13'40'15,"13"-14"-15,-13-12 16,13-1-16,0 13 0,-13-13 0,13 14 15,-14-14-15,14 14 0,-13-1 0,13-13 16,0 1-16,-13 12 0,13-13 16,-13 0-16,13 1 0,0-1 0,-14 0 15,14 0-15</inkml:trace>
  <inkml:trace contextRef="#ctx0" brushRef="#br0" timeOffset="-192660.68">24143 12237 0,'-26'0'0,"52"0"0,-52 13 0,13-13 15,-1 13-15,-12 1 0,13-1 0,-1 0 16,-12 0-16,-1 14 0,14-14 15,-13 0-15,13 14 0,-14-14 0,14 0 16,0 0-16,-1 1 0,1-1 16,0-13-16</inkml:trace>
  <inkml:trace contextRef="#ctx0" brushRef="#br0" timeOffset="-192496.49">24104 12250 0,'13'0'0,"-26"0"0,26 13 0,0-13 0,-13 14 16,13-1-16,-13 0 0,13 0 15,1 1-15,-1-14 0,0 13 16,0 0-16,1 0 0,12 0 0,-13 1 16,1-14-16</inkml:trace>
  <inkml:trace contextRef="#ctx0" brushRef="#br0" timeOffset="-188955.89">23588 12832 0,'26'27'31,"-26"-14"-31,0 0 0,0 0 16,0 1-16,13-1 0,-13 0 15,0 0-15,-13 1 0,13-1 0,0 13 16,0-12-16,0-1 0,-13-13 0,13 13 16,0 0-16,-13-13 0,13 13 15,0 1-15,0-54 31,13 27-15,-13 0-16,13-14 0,0 14 0,1-14 16,-1 14-16,0-13 0,0 12 0,0-12 15,1 13-15,-1 0 0,0-1 16,0 1-16,1 13 16,-1-13-16,0 26 15,0-13 1,-13 13-16,13-13 0</inkml:trace>
  <inkml:trace contextRef="#ctx0" brushRef="#br0" timeOffset="-188655.94">23865 12991 0,'0'-13'0,"14"0"32,-14-1-32,-27 41 47,14-14-47,13 0 15,0 1-15,0-1 16,0 0-1,0 0-15,13-13 16,0 13-16,1-26 16,-1 13-16</inkml:trace>
  <inkml:trace contextRef="#ctx0" brushRef="#br0" timeOffset="-188406.33">24024 12965 0,'-53'53'0,"106"-120"0,-53 81 0,0-41 16,0 40 31,0 1-47,0-1 15,0 0-15,0 0 16,0 1-16,0-1 16,0 0-16,-13-13 0,13 13 15,0 0-15,-13-13 0,13 14 0,-14-1 16,1-13-1,13 13-15,-13-13 0,0 0 16</inkml:trace>
  <inkml:trace contextRef="#ctx0" brushRef="#br0" timeOffset="-187688.56">24130 12965 0,'-26'13'47,"26"0"-16,13-13 0,0 0-15,0 0 0,0 0-1,-13 13 1,14 1 0,-1-14-16,0 0 31,0 0-31,1-14 0,-1 14 15,0-13-15,0 0 0,1 0 0,-1-1 16,0 1-16,0 0 0,0-14 16,1 1-16,-1 0 0,0 12 0,0 1 15,1 0-15,-14 0 0,13 13 0,-13-14 16,0 41 15,-13-14-31,13 0 0,-14 14 16,14-14-16,-13 13 0,13-12 15,0-1-15,-13 0 0,13 0 0,0 1 16,0-1-16,0 0 0,0 0 0,13-13 16,-13 14-16,13-14 15,14-14-15,-14 14 16,0-13-16,1 0 0,-1 0 16,13-14-16,-13 1 0,14-1 0,-14 1 15,0-14-15,14 14 0,-14-1 16,-13 14-16,13 0 0,0-1 0,-13 1 15,0 0-15,14 13 0,-14-13 16,-14 39 0,14-13-1,0 1-15,0-1 0,-13 13 16,13-12-16,-13 12 0,13-13 0,0 1 16,0 12-16,-13-13 0,13 0 0,0 1 15,0-1-15,0 0 0,-13 0 16,13 1-16,0-1 0,0 0 15</inkml:trace>
  <inkml:trace contextRef="#ctx0" brushRef="#br0" timeOffset="-187483.53">24500 12898 0,'27'-13'0,"26"-13"32,-40 13-32,0-1 0,14 14 0,-14-13 0,13 13 15,-12-13-15,-1 13 0,0 0 16,0 0 0</inkml:trace>
  <inkml:trace contextRef="#ctx0" brushRef="#br0" timeOffset="-186434.99">23786 13322 0,'53'0'0,"-106"0"0,132-13 16,-52 13-16,-1 0 0,1 0 15,12-14-15,14 14 0,-13-13 0,0 13 16,-1 0-16,14-13 0,-13 13 0,-13-13 16,-1 13-16,14 0 0,-14-14 15,1 14-15,-1-13 0,1 0 0,-1 13 16,0-13-16,1-1 0,-1 1 15,1 13-15,-1-13 0,-13 0 0,14 0 16,-14-1-16,14 14 0,-14-13 16,13 0-16,-12 0 0,25-14 15,-26 14-15,1 0 0,12 0 16,-13-1-16,1 1 0,-1 0 16,0 0-16,0-1 0,1 1 0,-14 0 15,13 0-15,-13-1 0,13 1 16,-13 0-16,13-13 0,-13 12 0,0 1 15,13 0-15,-13-14 0,0 14 0,-13 0 16,13-14-16,0 14 0,0-13 16,-13 13-16,13-1 0,-13 1 0,0 0 15,-1-14-15,1 14 0,0 0 16,-14 0-16,14 13 0,-13-14 16,-1 1-16,1 13 0,-1-13 0,1 13 15,-1-13-15,1 13 0,-1-13 0,-12 13 16,12 0-16,-12-14 0,12 14 15,1 0-15,-14 0 0,14 0 0,-14 0 16,13 0-16,-12 0 0,12 0 0,-12 0 16,12 0-16,1 0 0,-14 0 15,0 14-15,1-14 0,12 0 0,1 13 16,-1-13-16,-12 0 0,12 13 0,14-13 16,-14 13-16,1-13 0,-1 0 15,1 13-15,13-13 0,-14 0 0,14 14 16,-13-14-16,12 0 0,1 13 0,-13-13 15,13 0-15,-14 13 16,14 0-16,0-13 0,-14 14 0,14-14 16,0 13-16,-1 0 0,-12-13 0,13 13 15,0 1-15,-1-1 0,1 0 16,0 0-16,0-13 0,13 13 16,-14 1-16,14-1 0,-13 0 0,13 0 15,-13 1-15,13-1 0,-13 0 0,13 0 16,0 1-16,-14-1 0,14 0 15,0 13-15,0-12 0,0-1 16,0 0-16,0 0 0,0 1 0,0-1 16,0 0-16,14 14 0,-14-14 15,0 0-15,13 0 0,-13 0 0,13 14 16,0-14-16,-13 0 0,14 1 0,-1-1 16,0 0-16,0 0 0,14 0 15,-14 1-15,13-1 0,-12 0 0,12-13 16,1 13-16,-1 1 0,1-14 0,-1 0 15,14 13-15,-14-13 0,1 0 16,-1 13-16,0-13 0,1 0 0,-14 0 16,14 0-16,-14 0 0,0 0 0,0 0 15,1 0-15,-1 0 0,0 0 16,0 0-16,0 0 16,1 0-16,12 0 15,-13-13 16</inkml:trace>
  <inkml:trace contextRef="#ctx0" brushRef="#br0" timeOffset="-158415.29">9657 3995 0,'14'-13'0,"-28"0"0,1 26 31,0 0-31,0 0 16,-14 1-16,1 12 0,-1 14 16,-12-14-16,-1 14 0,-13 0 15,13-1-15,1-12 0,-14 12 0,26-12 16,-12 13-16,-1-14 0,13 1 0,1-14 15,13 13-15,-1-13 0,1 1 0,-13-1 16,13 0-16,-1 0 16</inkml:trace>
  <inkml:trace contextRef="#ctx0" brushRef="#br0" timeOffset="-156042.99">9671 3929 0,'0'-13'0,"26"26"16,-13 0-16,0 14 15,27-1-15,-13 1 0,12 12 0,1-12 16,0-1-16,-14 1 0,1-1 15,12 1-15,-12-1 0,-1 1 0,1-14 16,-1 13-16,-13-13 0,14 1 16,-14-1-16,0 0 0,0 0 0,1 1 15,-1-14-15,-13 13 0,13-13 16,0 13-16,1 0 16,-1-13-16,-13 14 15,13-14 1</inkml:trace>
  <inkml:trace contextRef="#ctx0" brushRef="#br0" timeOffset="-150654.97">9049 4392 0,'-13'27'15,"-1"-27"-15,14 13 0,-13 0 0,0 0 16,13 0-16,-13 1 0,13-1 0,-14 0 16,14 0-16,0 1 0,-13-1 15,13 0-15,0 0 0,13-13 16,-13 14-16,14-14 0,-1 0 15,13 0-15,1 0 0,12 0 16,14-14-16,0-12 0,13 13 0,-13 13 16,0-14-16</inkml:trace>
  <inkml:trace contextRef="#ctx0" brushRef="#br0" timeOffset="-150084.52">10226 4220 0,'40'53'31,"-27"-53"-31,0 13 0,14 0 0,-14 1 16,0-1-16,-13 0 0,13 0 0,1 1 16,-1-1-16,-13 0 0,0 0 15,0 1-15,-13-1 16,-1 0-16,1 0 0,-13 14 16,-14-14-16,14 0 0,-14 14 0,0-14 15,-13 0-15,14 14 0,-1-14 0,-13 0 16,13 0-16</inkml:trace>
  <inkml:trace contextRef="#ctx0" brushRef="#br0" timeOffset="-147458.54">1204 1574 0,'-13'27'0,"13"-14"0,-14 13 15,14-12-15,0 25 0,-13-12 0,13 12 16,0 1-16,0 0 0,-13-14 16,13 1-16,0-14 0,0 13 15,0-12-15,0 12 0,0-13 0,0 1 16,0-1-16,0 0 0</inkml:trace>
  <inkml:trace contextRef="#ctx0" brushRef="#br0" timeOffset="-147016.52">1217 1535 0,'0'0'16,"27"-14"-16,-14 14 0,0 0 0,0 0 0,0 0 15,1 14-15,-14-1 16,0 13-16,0-12 0,-14 25 15,1-12-15,0 12 0,-13-12 16,12-1-16,1-13 0,13 14 0,-13-14 0,13 0 16,0 1-16,-13-14 15,13 13-15,13 0 0,0 0 16,-13 1-16,13-14 0,1 13 0,-1 0 16,0 0-1,0 0-15,-13 1 16,0-1-16,-13-13 0,0 13 15,0 0-15,-1-13 0,1 14 16,0-14-16,-14 13 0,14-13 0,0 13 16,0-13-16,-1 0 0,1 0 15</inkml:trace>
  <inkml:trace contextRef="#ctx0" brushRef="#br0" timeOffset="-146651.8">1521 1746 0,'0'0'0,"-26"0"16,13 0-16,-1 13 0,-65 14 31,66-14-31,0 0 0,-1 1 15,14-1-15,-13 0 0,13 0 0,0 1 16,0-1-16,13-13 16,-13 13-16,27-26 15,-14 13-15,0-13 0,14 13 0,-14 0 16,0-14-16,0 14 0,1-13 16,-1 13-1,0 13-15,0-13 16,-13 14-16,14-14 0,-14 13 15,13-13-15,-13 13 0,13-13 16,-13 13-16,13-13 16,1-13-16,-1 13 0,0 0 15,0-13-15</inkml:trace>
  <inkml:trace contextRef="#ctx0" brushRef="#br0" timeOffset="-146480.71">1773 1508 0,'13'-40'16,"-26"80"-16,26-93 0,-13 40 0,13 39 31,-13 1-15,0-1-16,0 1 0,0 13 0,0-1 15,0 14-15,0-13 0,0-1 0,0 1 16,0-13-16,13-1 0,-13 1 16,0-14-16,0 13 0,0-13 15,0 1-15</inkml:trace>
  <inkml:trace contextRef="#ctx0" brushRef="#br0" timeOffset="-146283.59">1640 1865 0,'0'-13'0,"14"0"15,-14 0-15,13 13 0,0-14 0,14 1 16,-1-13-16,0 12 0,14 1 0,-13 0 15,12 0-15,-12 0 16,12-1-16,1 1 0,-13 13 0,-1-13 16,-13 13-16,14 0 0,-14 0 0</inkml:trace>
  <inkml:trace contextRef="#ctx0" brushRef="#br0" timeOffset="-146074.9">2090 1667 0,'-13'0'0,"26"0"0,-39 0 31,26 13-31,13 0 15,-13 1-15,13-1 0,0 0 16,1 0-16,-1 14 0,0-14 16,0 0-16,1 14 0,-14-14 0,13 0 15,-13 14-15,0-14 0,0 0 0,-13 0 16,-1 14-16,1-14 0,-13 13 16,12-12-16,-12-1 0,13 0 0,-14-13 15,1 13-15,13-13 0,-1 0 0,1 0 16,0 0-1</inkml:trace>
  <inkml:trace contextRef="#ctx0" brushRef="#br0" timeOffset="-145261.47">2302 1720 0,'13'39'31,"-13"-12"-15,0-14-16,0 0 0,0 1 15,0-1-15,0 0 16,0 0-16,0 1 16,0-1-16,13-26 31,1-1-31,-14 1 0,13 13 16,-13-13-16,13 0 0,0 13 0,-13-14 15,13 14-15,1 0 16,-1 0-16,0 0 15,-13 14-15,13-14 0,1 13 16,-1 0-16,-13 0 16,13-13-1,-13 14-15,13-14 16,1-14 15,-1 14-15,0 0-1,0-13-15,0 13 16,1 0-16,-1-13 0,0 13 16,0-13-16,1-1 15,-1 14-15,-13-13 0,13 13 0,0-13 16,-13 0 0,0 39 30,14-13-30,-1-26 15,0 13-31,0 0 16,0 0 0,1 13-16,-1-13 15,0 0 1,-13 14-16,13-14 15,1 0-15,-1 0 16,0 0-16,0 0 0,-13-14 16,14 14-16,-1 0 15</inkml:trace>
  <inkml:trace contextRef="#ctx0" brushRef="#br0" timeOffset="-144560.22">3519 1588 0,'-40'0'0,"80"0"0,-93 0 0,40 0 16,0 0-16,-1 0 0,1 0 0,0 13 16,0-13-16,-1 13 0,1 0 15,13 0-15,0 1 16,0-1-16,0 0 0,13-13 15,-13 13-15,14 1 0,-14-1 16,13 0-16,0-13 0,-13 13 0,13 0 16,-13 1-16,0-1 15,-13 0-15,13 0 16,-13-13-16,0 14 0,-1-1 0,-12-13 16,0 26-16,-1-12 15,14-14-15,0 0 0,-1 13 16,1-13-16</inkml:trace>
  <inkml:trace contextRef="#ctx0" brushRef="#br0" timeOffset="-143966.9">3678 1640 0,'0'0'0,"-27"14"31,14-1-31,13 0 0,-13 0 0,0 1 16,13-1-16,0 0 0,-14 0 15,14 0-15,0 1 16,0-1-16,0 0 16,14-13-1,-1 0 1,0 0-1,-13 13 17,13 1-32,-13-1 15,13-13-15,-13 13 0,14 0 16,-1 1-16,0-14 16,0 0-1,1 0-15,-1 0 16,-13-14-16,13 14 0,0-13 15,-13 0-15,14 13 0,-14-13 16,13-1-16,-13 1 16,13 13-1,0 13 1,-13 1 0,13-14-16,-13 13 0,0 0 15,0 0-15,0 1 16,0-1-1,14-13-15,-1-13 32,-13-1-32,0 1 15,13 0-15,0 0 0,-13-1 16,14 1-16,-1 0 16,13 0-16,-12-1 15,-1 14-15,0 0 0,0 0 16</inkml:trace>
  <inkml:trace contextRef="#ctx0" brushRef="#br0" timeOffset="-143697.93">4101 1786 0,'0'0'15,"13"26"1,-13-12-16,14-1 16,-14 0-16,0 0 15,0 1-15,0-1 0,0 0 16,0 0-16</inkml:trace>
  <inkml:trace contextRef="#ctx0" brushRef="#br0" timeOffset="-143562.58">4141 1627 0,'0'13'31</inkml:trace>
  <inkml:trace contextRef="#ctx0" brushRef="#br0" timeOffset="-143255.47">4273 1733 0,'13'26'16,"-13"-12"-16,0-1 16,0 0-16,0 0 15,0 1 1,13-14 46,1 0-46,-1 0-16,0 0 16,0-14-16,1 14 15,-1 0-15,0 0 0,0 0 16,14 0-16</inkml:trace>
  <inkml:trace contextRef="#ctx0" brushRef="#br0" timeOffset="-142939.8">4538 1733 0,'0'0'0,"-14"0"15,1 0 1,0 0-16,13 13 16,0 0-1,0 1-15,13-14 0,-13 13 16,0 0-16,13-13 0,-13 13 0,0 1 15,14-1-15,-14 0 0,0 0 16,0 1-16,0-1 0,-14-13 16,14 13-16,0 0 0,0 0 15,-13-13 1,26-26 15,1 13-15,-14 0-16,26-14 0,-13 14 0,1 0 15,12-1-15,-13 1 0,0 0 0</inkml:trace>
  <inkml:trace contextRef="#ctx0" brushRef="#br0" timeOffset="-142536.47">5490 1627 0,'-13'13'16,"26"-26"-16,-39 40 0,12-1 15,14-13-15,0 1 0,0-1 0,-13 0 0,13 0 16,0 0-16,-13 1 0,13-1 16,0 0-16,0 0 0,0 1 15,-13-54 16,26 27-31,-13-14 0,13 1 16,-13-1-16,13-12 0,1 12 16,-14 1-16,13-1 0,0 1 0,-13 13 0,13-1 15,-13 1-15,14 13 0,-14-13 16,13 13-16,0 0 16,0 13-16,0-13 0,-13 13 15,14 1-15,-1-1 0,0 0 0,-13 14 16,13-14-16,-13 0 0,14 13 15,-14-12-15,13-1 0,-13 0 0,0 14 16,0-14-16,0 0 0,0 0 0,0 0 16,0 1-16</inkml:trace>
  <inkml:trace contextRef="#ctx0" brushRef="#br0" timeOffset="-142347.78">5490 1720 0,'0'-13'31,"13"13"-31,1-14 16,-1 14-16,0 0 0,0 0 16,0-13-16,14 13 15,-14-13-15</inkml:trace>
  <inkml:trace contextRef="#ctx0" brushRef="#br0" timeOffset="-142124.45">5728 1654 0,'13'13'31,"1"0"-31,-14 0 16,13 1-16,-13-1 16,13-13-16,-13 13 15,13-13-15,1-13 16,-1 13-16,-13-13 15,13 13-15,0-14 16,-13 1-16,14 0 0,-1 0 16,-13-1-16,13 14 15,-13-13-15,13 0 16,0 13 0</inkml:trace>
  <inkml:trace contextRef="#ctx0" brushRef="#br0" timeOffset="-141804.28">6059 1548 0,'-13'13'32,"13"0"-17,13 1-15,-13-1 0,13 0 16,-13 0-16,0 0 0,13-13 0,-13 14 15,0-1-15,0 0 0,0 0 16,0 14-16,0-14 0,-13 0 0,13 0 16,-13 1-16,13-1 0,-13-13 0,13 13 15,-14 0-15,1-13 16,13 14-16,0-41 16,13 1-1,1 12-15,-1 1 0,0-13 16,14-1-16,-1 1 0,-13 13 15,14-14-15,-14 14 0,13 0 0,-12 0 16,-1-1-16,0 14 0</inkml:trace>
  <inkml:trace contextRef="#ctx0" brushRef="#br0" timeOffset="-141687.65">6390 1521 0,'13'0'16</inkml:trace>
  <inkml:trace contextRef="#ctx0" brushRef="#br0" timeOffset="-139964.49">2897 2103 0,'-132'67'15,"92"-54"-15,1 13 0,-14 1 16,13-1-16,-13 14 0,13-14 16,14 1-16,-14-1 0,0 1 0,14-1 15,-14 1-15,14-14 0,-1 13 0,1 1 16,-1-14-16,1 0 0,13 0 16,0 1-16,-1-1 0,1 0 15,0-13-15,13 13 0,-13 1 16</inkml:trace>
  <inkml:trace contextRef="#ctx0" brushRef="#br0" timeOffset="-134234.36">1402 2408 0,'27'0'15,"26"26"1,-40-26-16,-13 13 16,0 1-16,0-1 0,0 0 0,-13 14 15,-1-1-15,1 0 0,0 1 16,0-14-16,0 0 0,-1 1 0,14-1 15,-13 0-15,0 0 0,39-26 47,1 0-47,-14 0 0,13-1 16,1 1-16,-1 0 16,1 0-16,-14-1 0,14 1 0,-14 0 15,13 0-15,-13 0 0,1-1 0,-14 1 16,13 0-16,0 13 0,-13-13 15,-13 26 32,13 0-47,13 0 16,0 1-16,1-14 16,-1 0-16,0 0 0,0 0 15,0 0-15,1-14 0,-1 14 0,0-13 16,0 0-16,-13 0 15,0-1 1,0 1-16,0 0 0,-13 13 16,13-13-16,-13-1 0,-14 14 15,14 14 1,0-14-16,13 13 0,0 0 16,-13-13-16,13 13 0</inkml:trace>
  <inkml:trace contextRef="#ctx0" brushRef="#br0" timeOffset="-133574.22">1998 2527 0,'0'26'31,"0"-13"-15,0 1-16,0-1 0,-14 0 0,14 0 15,0 1-15,0-1 0,0 0 0,0 0 16,0 1-16,-13-1 16,26-13-16,-13 13 15,14-13-15,-1 0 16,13-13-16,-12 13 0,12 0 15,-13-13-15,14 13 0,-14-14 0,13 14 16,-12 0-16,12-13 0,-13 13 16,0-13-16,14 13 0,-14 0 0,0-13 15,1 13-15,-1 0 16,0 0-16,0 0 16</inkml:trace>
  <inkml:trace contextRef="#ctx0" brushRef="#br0" timeOffset="-129316.53">1773 3135 0,'-14'14'16,"1"-1"-16,0 0 0,0-13 15,0 26-15,-1-12 0,1-1 0,0 0 16,0 0-16,-1 1 0,1-1 0,0-13 15,13 13-15,-13 0 0,0 1 16,13-1 0,13 0-16,0-13 15,0 0-15,0 0 16,1 0-16,-1 0 0,0 0 0,0 0 16,14 0-16,-14 0 0,13-13 0,-12 13 15,-1 0-15,13 0 0,-12 0 16,-1-13-16,0 13 0,0 0 15</inkml:trace>
  <inkml:trace contextRef="#ctx0" brushRef="#br0" timeOffset="-129091.18">1799 3109 0,'-13'0'0,"13"26"16,-13-12-16,13-1 16,0 0-16,0 13 0,0 1 15,0-14-15,0 14 0,-14-1 0,14 1 16,0-1-16,0 0 0,0 1 0,-13-14 16,13 14-16,0-14 0,0 0 15,0 0-15,13-13 0,-13 13 0</inkml:trace>
  <inkml:trace contextRef="#ctx0" brushRef="#br0" timeOffset="-128768.59">2037 3201 0,'-26'14'31,"26"-1"-31,0 0 0,-13 0 0,13 1 15,0-1-15,0 0 0,0 0 0,0 1 16,0-1-16,0 0 0,13-13 16,0 13-16,0-13 0,1 13 0,-1-13 15,0 0-15,0-13 0,0 13 0,1 0 16,-1-13-16,0 13 0,0-13 16,1 13-16,-14-13 0,13-1 0,-13 1 15,0 0-15,0 0 0,-13 13 0,13-14 16,-14 1-16,1 0 15,0 0-15,0-1 0,-1 14 0,1 0 16,0 0-16,0 0 0,0 0 16,-14 14-16,14-1 0,0-13 15,-1 13-15,1 0 0,13 1 0</inkml:trace>
  <inkml:trace contextRef="#ctx0" brushRef="#br0" timeOffset="-128155.61">2368 3201 0,'13'14'31,"-13"-1"-31,13-13 0,-13 13 0,0 0 16,14 1-16,-14-1 0,0 0 16,0 0-16,0 1 0,0-1 15,13 0-15,-13 0 0,0 0 16,0-52 31,0 26-47,0-1 15,13 1-15,-13 0 0,13 0 0,1-1 16,-14 1-16,13 0 0,0 0 16,0 13-16,-13-14 15</inkml:trace>
  <inkml:trace contextRef="#ctx0" brushRef="#br0" timeOffset="-127583.83">2633 3149 0,'-14'26'32,"1"-13"-17,13 0-15,0 1 16,0-1-16,0 0 15,0 0-15,0 1 16,0-1 0,13 0-1,14-13 17,-27-13-17,13 13-15,0-13 0,1-1 31,-1 14-31,0-13 16,0 13-16,0 0 16,1 0-1,-14 13-15,13-13 16,0 0-16,0 0 16,-13 14-1,14-14 1,-1 0-1,0-14 1,0 14 0,1 0-16,-1-13 15,0 13 1,0 0 0,0 0-16,-13-13 0,14 13 15</inkml:trace>
  <inkml:trace contextRef="#ctx0" brushRef="#br0" timeOffset="-126027.88">2897 2117 0,'40'0'31,"-27"13"-31,14 0 0,-1 0 15,0 14-15,14-1 0,0 1 16,13-1-16,-14 14 0,14-14 0,-13 1 16,13-1-16,0 1 0,-13-1 15,-1 1-15,-12-14 0,12 13 0,-12-12 16,13-1-16,-14 0 0,-13 0 16,14 0-16,-14-13 0,0 14 0,0-14 15,1 0-15,-1 13 0,0-13 16,0 13-1,1-13-15</inkml:trace>
  <inkml:trace contextRef="#ctx0" brushRef="#br0" timeOffset="-125698.83">3651 2368 0,'13'13'31,"-13"0"-31,14-13 0,-14 14 16,13-1-16,-13 0 0,13 0 0,0 1 15,1-1-15,-14 0 0,13 14 16,0-27-16,-13 13 0,13 0 16,-13 0-16,14 0 0,-14 1 0,0-1 15,0 0-15,-14 14 16,1-14-16,0 0 0,0 0 16,-1 1-16,-12-1 0,-1 13 0,1-13 15,0 14-15,-1-14 0,14 0 16,-14 1-16,1-14 0,13 13 0,-1 0 15</inkml:trace>
  <inkml:trace contextRef="#ctx0" brushRef="#br0" timeOffset="-124923.85">4789 2209 0,'0'0'0,"0"40"31,0-27-31,-13 0 0,13 1 16,0 12-16,0-13 0,0 14 0,13-14 15,-13 13-15,0 1 16,0-14-16,0 0 0,0 14 0,0-14 16,0 0-16,0 1 0,0-1 15,0 0-15,0 0 16,0 0-16,13-39 31,-13 13-15,0 0-16,0-1 0,13 1 0,1 0 15,-1 0-15,0-1 16,0 14-16,1 0 16,12 0-16,-26 14 0,13-14 15,0 13-15,-13 0 0,14-13 16,-14 13-16,-14 14 16,1-14-1,0 0-15,0-13 0,13 13 16,-13-13-16,-1 0 0,1 0 15,-13 0-15,12 0 16</inkml:trace>
  <inkml:trace contextRef="#ctx0" brushRef="#br0" timeOffset="-124270.28">5133 2394 0,'0'0'0,"-13"14"15,-1-14-15,1 13 16,0-13-16,13 13 0,-13 0 16,0 1-16,13-1 15,-14-13-15,14 13 16,0 0-1,14-13 1,-1-13 0,0 13-16,0 0 0,-13-13 15,13 13 1,1 13-16,-1 0 31,0-13-31,-13 14 16,13-14-16,1-14 15,-1 14-15,-13-13 0,13 13 16,-13-13-16,13 0 0,1-1 0,-14-12 16,13 13-16,-13-14 0,13 1 15,-13-1-15,13 14 0,-13 0 0,0-14 16,0 14-16,13 13 0,-13-13 0,0 0 16,0 39 15,0-13-31,0 1 0,-13 12 0,13-13 15,0 14-15,0-14 16,0 13-16,0 1 0,13-14 0,-13 14 16,0-14-16,0 0 0,14 0 0,-14 1 15,0-1-15</inkml:trace>
  <inkml:trace contextRef="#ctx0" brushRef="#br0" timeOffset="-124083.05">5199 2474 0,'-13'0'15,"39"-27"1,-12 27 0,-1-13-16,0 13 0,0 0 0,0-13 15,1 13-15,-1-13 0,0 13 0,0 0 16,1-14-16</inkml:trace>
  <inkml:trace contextRef="#ctx0" brushRef="#br0" timeOffset="-122011.02">5741 2222 0,'0'-13'0,"0"26"0,-13-13 31,13 14-15,0-1-16,0 0 0,0 0 0,0 1 15,0-1-15,0 0 0,0 0 0,13 1 16,-13-1-16,0 0 16,0 0-16,14 0 0,-14 1 15,13-14-15,-13 13 16,13-13-16,0-13 15,1 13-15,-1 0 0,-13-14 16,13 14-16,0-13 0,1 13 16,-14-13-16,13 13 0,0-13 31,0 26-31,-13 0 16,13-13-16,1 13 15,-1-13-15,-13 14 16,13-14-16,0 0 0,14 0 15,-1 0 1,-26-14-16,13 1 16,-26-13-1,13 13-15,-13 13 16,0-14-16,0 14 0,-14 0 16,14 0-1,0 14-15,-1-14 16,14 13-16,-13-13 0,13 13 15,0 0-15,13-13 16,1 0-16,-1 0 0,0 0 16,0 0-16,1 0 0,-1 0 15,0-13-15,0 13 0,0 0 0,1-13 16,-1 13-16,0 0 0,-13-13 16,13 13-16,1 0 15,-1-14-15,0 28 31,0-14-15,-13 13 0,14-13-1,-1 0 17,0 0-32,0-13 15,0 13 1,1-14 15,-1 14 0,-13-13-15,13 0 31,0 13-47,1 0 15,-1-13 1,0 13 0,0 0-16,-13-14 0,14 14 15,-14-13-15,0 0 32,13 13 30,0 0-46,0 13-1,0-13-15,-13 13 16,14-13-16,-1 14 16,0-14 15,0-14-16,1 1 1,-14 0-16,13 13 16,0-13-16,0-1 15,1 14-15,-1 0 16</inkml:trace>
  <inkml:trace contextRef="#ctx0" brushRef="#br0" timeOffset="-121791.43">6747 2156 0,'0'14'31,"0"-1"-31,0 0 0,0 0 0,0 14 15,0-14 1,-13 0 0</inkml:trace>
  <inkml:trace contextRef="#ctx0" brushRef="#br0" timeOffset="-121646.43">6694 2090 0,'-26'0'31</inkml:trace>
  <inkml:trace contextRef="#ctx0" brushRef="#br0" timeOffset="-121350.61">6800 2183 0,'0'39'31,"0"-25"-31,0-1 16,13-26 30,0-1-30,0 1 0,1 0-16,-1 13 15,0 0 1,0 0 0,1 0-16,12 0 15</inkml:trace>
  <inkml:trace contextRef="#ctx0" brushRef="#br0" timeOffset="-120522.52">7250 2064 0,'-14'13'32,"14"0"-32,0 0 15,0 1-15,0-1 16,14-13-16,-14 13 16,13-13-16,0 0 15,0 0-15,0 0 0,1 0 16,-14-13-16,26 13 15,-13 0-15,1 0 16,-1 0 0,0 0-1,0 0 17,1-13-17,-1 13 16,-13-14-15,13 14 0,0 0-16,0-13 0,1 13 15,-1 0-15,0 0 16,-13-13-16,13 13 0,1 0 16,-1-13-1,0 26 32,0 0-16,1-13-15,-1-13 0,0 13-1,0 0 1,0 0-1,-13 13 1,0 0 0</inkml:trace>
  <inkml:trace contextRef="#ctx0" brushRef="#br0" timeOffset="-119746.96">7766 2011 0,'0'13'0,"-27"14"31,27-14-15,0 0 0,0 0-16,0 0 31,0 1-31,0-1 15,0 0 1,-13 0-16,39-13 63,-12-13-63,-1 0 15,0 13-15,0-13 0,-13-1 0,13 1 16,1 0-16,-1 0 0,0 0 15,-13-1-15,13 1 0,1 0 0,-1 0 16,-13-1-16,13 14 16,-13 14 15,0-1-31,-13 0 0,0 0 16,13 1-16,0-1 0,-14 0 15,14 0-15,0 0 16,0 1-16,0-1 15,0 0-15,0 0 32,14-13-32,-1-13 31</inkml:trace>
  <inkml:trace contextRef="#ctx0" brushRef="#br0" timeOffset="-119514.59">8123 1879 0,'-14'26'31,"14"-13"-31,0 0 0,-13 1 0,13-1 16,-13-13-16,13 13 0,0 0 0,-13 1 16,13-1-16,0 0 0,-13-13 15,13 13-15,0 1 0</inkml:trace>
  <inkml:trace contextRef="#ctx0" brushRef="#br0" timeOffset="-119347.49">8043 2064 0,'0'0'0,"27"-13"0,-14-1 0,0 1 15,0 13-15,1-13 16,-1 13-16,0-13 0,0 13 16,1 0-1,-1 0-15</inkml:trace>
  <inkml:trace contextRef="#ctx0" brushRef="#br0" timeOffset="-111458.86">4299 3069 0,'-26'13'47,"13"1"-47,0-1 0,-1 0 15,1 0-15,0 1 16,0-1-16,-1 0 15,1-13-15,13 13 0,0 0 16,-13-13-16,26 14 16,0-14-1,1 13-15,-1-26 16,0 13-16,14 0 0,-14 0 16,0 0-16,13 0 0,1 0 0,-14-14 15,14 14-15,-14 0 0,0 0 0,0 0 16,1 0-16</inkml:trace>
  <inkml:trace contextRef="#ctx0" brushRef="#br0" timeOffset="-111237.43">4313 3056 0,'0'0'0,"-14"13"15,14 0-15,0 1 16,0-1-16,0 0 0,0 0 0,0 1 16,0-1-16,0 0 0,0 13 15,0-12-15,0-1 0,0 0 0,0 0 16,0 1-16,0-1 0,0 0 16</inkml:trace>
  <inkml:trace contextRef="#ctx0" brushRef="#br0" timeOffset="-110440.05">4670 3056 0,'13'0'32,"-53"0"-17,40 13-15,-13-13 0,0 13 16,0-13-16,0 14 0,-1-14 0,1 13 16,0-13-16,0 13 0,-1 0 15,14 1 1,14-14-16,-14 13 0,13-13 15,0 0-15,0 13 16,1-13-16,-1 0 0,0 0 16,-13 13-16,13-13 0,0 13 15,-26 1 1,0-1 0,0 0-16,0-13 0,-1 13 15,1-13-15,0 0 0,0 14 0,-1-14 16,1 13-16,0-13 15</inkml:trace>
  <inkml:trace contextRef="#ctx0" brushRef="#br0" timeOffset="-109919.53">4948 3122 0,'39'27'16,"-39"-14"-16,0 0 0,14 0 15,-14 0-15,0 1 16,0-1-16,13-13 0,-13 13 16,0-53 15,0 27-15,0 0-16,0 0 15,13 0-15,-13-1 0,0 1 16,13 13-16,-13-13 0,14 0 0,-1 13 15,0-14-15,0 14 16,14 0-16,-27 14 16</inkml:trace>
  <inkml:trace contextRef="#ctx0" brushRef="#br0" timeOffset="-109503.75">5252 3122 0,'-13'13'32,"13"1"-32,13-14 15,-13 13-15,13 0 16,0-13 0,1 0-16,-1 0 15,0 0-15,0-13 16,1 13-16,-1 0 15,0 0 1,-13-13-16,13 13 16,1 0-1,-1 0 1,0 0 0,0 0-1,0 0 1,1 0-1,-1 0-15,0-14 0,0 14 16,1-13 0,-1 13-16,0 0 15,0 0-15,0 0 16</inkml:trace>
  <inkml:trace contextRef="#ctx0" brushRef="#br0" timeOffset="-109250.65">4564 3440 0,'159'-27'31,"-106"14"-31,13 0 0,0-1 15,0 1-15,14 0 0,-14 0 0,0 13 16,-13-13-16,0 13 0,-14 0 0,14-14 16,-26 14-16,-1 0 0,1 0 15,-14 0-15,0 0 0,0 0 0,-13 14 16</inkml:trace>
  <inkml:trace contextRef="#ctx0" brushRef="#br0" timeOffset="-108971.61">4577 3506 0,'0'0'0,"40"-14"15,-14 14 1,1-13-16,13 13 0,12-13 0,1 0 16,0 13-16,27-13 0,-27-1 0,26 1 15,-13 0-15,0 13 0,-13-13 16,-13 13-16,13-14 0,-13 1 0,-14 13 15,0 0-15,1 0 0,-14 0 0,14-13 16,-14 13-16,0 0 0,0 0 16,0 0-16,1 0 15,-1 0-15,0 0 16,-13 13 15</inkml:trace>
  <inkml:trace contextRef="#ctx0" brushRef="#br0" timeOffset="-107582.16">6403 2593 0,'0'-13'0,"0"-1"16,0 41 15,13-14-31,-13 0 0,0 1 16,0 12-16,0-13 0,0 14 0,0-14 16,-13 0-16,13 14 0,0-14 15,0 13-15,-13-26 0,13 14 0,0-1 16,0 0-16,-14 0 0</inkml:trace>
  <inkml:trace contextRef="#ctx0" brushRef="#br0" timeOffset="-107172.15">6429 2540 0,'-13'-13'0,"-27"39"32,27-13-17,0 1-15,0-1 0,13 0 0,-13 0 16,-1 14-16,1-14 0,0 0 16,0 1-16,13-1 0,-14-13 15,14 13-15,0 0 0,14-26 47,-14 0-47,13 0 0,0-1 16,-13 1-16,13 13 0,-13-13 15,14 13-15,-1-13 0,0 13 16,0 0-16,0 0 16,1 0-16,-1 13 0,0-13 15,0 0-15,1 13 0,-1-13 16,0 0-16,14 13 0,-14-13 0,0 0 15,0 14-15,0-14 0,1 0 16,-1 0-16,0 0 0,0 0 0</inkml:trace>
  <inkml:trace contextRef="#ctx0" brushRef="#br0" timeOffset="-105023.83">4802 2699 0,'0'0'15,"0"39"-15,0-12 0</inkml:trace>
  <inkml:trace contextRef="#ctx0" brushRef="#br0" timeOffset="-103959.53">6390 3162 0,'-27'26'32,"27"-13"-32,-13 1 0,13-1 15,-13-13-15,13 13 0,-13 0 0,13 1 16,0-1-16,-14 0 0,1 0 15,13 1-15,0-1 0,0 0 16,0 0-16,0 0 16,13-13-1,1 0-15,-1 0 0,0 0 16,0 0-16,0 0 0,1 0 0,12-13 16,-13 13-16,1 0 0,12-13 15,-13 13-15,1 0 0,-1-13 16</inkml:trace>
  <inkml:trace contextRef="#ctx0" brushRef="#br0" timeOffset="-103791.66">6337 3334 0,'79'-40'31,"-66"40"-31,1 0 0,-1-13 16,0 13-16,0 0 0,1-13 16,-1 13-16</inkml:trace>
  <inkml:trace contextRef="#ctx0" brushRef="#br0" timeOffset="-103451.2">6376 3215 0,'-13'-14'0,"26"28"0,-13-41 16,14 27-1,-1-13-15,13 13 0,-12 0 0,12-13 16,1 13-16,-1-13 0,0 13 16,1 0-16,-14 0 0,14 0 15,-14 0-15,0 0 0,0 0 0,1 13 16,-1 0-16,-13 0 16,-13 0-1,13 1-15,-14-1 0,14 0 0,-13 14 16,-13-14-16,12 0 0,1 0 15,0 1-15,0-1 0,-1-13 0,1 13 16,0-13-16,26-26 47,0 26-47,1 0 0,-1 0 16,0 0-1,0 0-15,1 0 0,-1 0 0,0 0 16,14 0-16,-14 0 0,0 0 15,0 0-15</inkml:trace>
  <inkml:trace contextRef="#ctx0" brushRef="#br0" timeOffset="-91471.9">1879 3770 0,'-14'-13'0,"41"0"16,-1 0 0,-13 13-16,14-14 15,-1 14-15,14-13 0,0 13 0,26-26 16,-40 26-16,1-14 16,-1 14-16,27-13 0,-26 13 15,-1-13-15</inkml:trace>
  <inkml:trace contextRef="#ctx0" brushRef="#br0" timeOffset="-91151.95">1905 3876 0,'40'-13'0,"-27"0"15,13 13-15,14-14 16,-13 1-16,-1 13 0,40-26 16,-39 13-16,92-27 31,-106 40-15,0 0-1,27-13 16,-40-1-15,13 1 15</inkml:trace>
  <inkml:trace contextRef="#ctx0" brushRef="#br0" timeOffset="-90383.34">3836 3135 0,'0'0'0,"-13"40"15,13-14 1,-13 14-16,13 0 0,0 26 0,-13 53 15,26-53-15,-13 0 0,13-13 16,0 0-16,1 13 0,-1-13 16,0-13-16,0 0 0,1-14 0,-1 14 15,13 13-15,-26-40 16</inkml:trace>
  <inkml:trace contextRef="#ctx0" brushRef="#br0" timeOffset="-89797.84">3731 3029 0,'0'0'0,"39"-39"0,-12 12 16,12 14-16,1-13 0,26-1 15,67-26-15,-54 40 0,0-13 16,146-27-16,-119 39 0,26 1 16,106-26-16,-118 25 15,78-12-15,-105 13 16,-1-1-16,67-12 0,-80 26 0,-13-13 16,-13-1-16,0 14 0,-13 0 15,-14-13-15,1 13 0,-14 0 0,14 0 16,-1 0-16,0 27 15,-12-27-15,-14 13 16,13 13-16,0-12 0,0 12 0,106 278 47,-105-264-47,25 13 16,14 26-16,40 14 46,-93-80-46,-13 14 16,-331 39 31,159-13-47,79-27 0,-13 14 16,0-14-16,-14 14 0,14-14 0,-119 41 15,0-1 1,13 0-16,132-40 0,14 1 15,0-1-15,-54 14 0,67-27 16,27 0-16</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4.130"/>
    </inkml:context>
    <inkml:brush xml:id="br0">
      <inkml:brushProperty name="width" value="0.025" units="cm"/>
      <inkml:brushProperty name="height" value="0.025" units="cm"/>
      <inkml:brushProperty name="ignorePressure" value="1"/>
    </inkml:brush>
  </inkml:definitions>
  <inkml:trace contextRef="#ctx0" brushRef="#br0">43 4,'-5'4,"1"1,0 0,0 0,1 0,-1 0,1 1,0 0,1-1,-1 1,1 0,0 0,-1 8,3-12,0-1,0 1,0 0,0 0,0 0,0-1,0 1,1 0,-1 0,1-1,-1 1,1 0,0-1,0 1,-1 0,1-1,0 0,2 3,-1-2,1-1,-1 1,0-1,1 1,-1-1,1 0,-1 0,1 0,-1-1,1 1,0 0,-1-1,1 0,0 1,-1-1,4-1,1 1,1-1,-1 0,0-1,0 0,0 0,0 0,0-1,-1 0,1 0,8-6,-13 8,-1 0,1 0,0 0,-1 0,1-1,0 1,-1 0,0-1,1 1,-1-1,0 1,0-1,0 0,0 1,0-1,0 0,0 0,-1 0,1 0,0 0,-1 0,0 0,1 0,-1 0,0 0,0 0,0 0,-1 0,1 1,0-1,-1 0,1 0,-1 0,0 0,1 0,-1 0,0 1,0-1,0 0,0 0,-3-1,1 0,0 0,-1 0,1 1,-1-1,0 1,1 0,-1 0,0 1,-1-1,1 1,0 0,0 0,0 0,-1 0,-8 1,-5-1</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5.546"/>
    </inkml:context>
    <inkml:brush xml:id="br0">
      <inkml:brushProperty name="width" value="0.025" units="cm"/>
      <inkml:brushProperty name="height" value="0.025" units="cm"/>
      <inkml:brushProperty name="ignorePressure" value="1"/>
    </inkml:brush>
  </inkml:definitions>
  <inkml:trace contextRef="#ctx0" brushRef="#br0">32 0,'14'0,"21"2,-35-2,1 0,-1 0,0 0,0 0,0 0,0 0,0 0,0 0,1 0,-1 0,0 0,0 0,0 0,0 0,0 0,0 0,0 1,0-1,1 0,-1 0,0 0,0 0,0 0,0 0,0 0,0 1,0-1,0 0,0 0,0 0,0 0,0 0,0 0,0 1,0-1,0 0,0 0,0 0,0 0,0 0,0 0,0 1,0-1,0 0,0 0,0 0,0 0,0 0,0 0,-1 0,1 1,0-1,0 0,0 0,0 0,0 0,0 0,0 0,-20 11,12-7,0 0,1 0,-1 1,1 0,-8 6,14-11,1 1,-1 0,0-1,1 1,-1 0,0-1,1 1,-1 0,1 0,0 0,-1-1,1 1,0 0,-1 0,1 0,0 0,0 0,0 0,0 0,0 0,0-1,0 3,1-2,0 1,0-1,0 1,0-1,0 0,0 0,0 1,0-1,0 0,1 0,-1 0,1 0,-1 0,1-1,-1 1,1 0,2 0,-1 0,1 1,-1-1,0 1,0 0,0 0,0 0,0 0,0 0,-1 1,1-1,-1 1,0 0,1 0,-1 0,0 0,-1 0,3 6,-3-8,-1 1,0-1,1 0,-1 1,0-1,0 1,0-1,0 1,-1-1,1 0,0 1,0-1,-1 0,1 1,-1-1,0 0,1 1,-2 1,0-1,0 0,0 0,0 0,0 0,-1 0,1-1,0 1,-1-1,1 0,-1 1,0-1,-3 1,-13 3,1-3</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6.713"/>
    </inkml:context>
    <inkml:brush xml:id="br0">
      <inkml:brushProperty name="width" value="0.025" units="cm"/>
      <inkml:brushProperty name="height" value="0.025" units="cm"/>
      <inkml:brushProperty name="ignorePressure" value="1"/>
    </inkml:brush>
  </inkml:definitions>
  <inkml:trace contextRef="#ctx0" brushRef="#br0">55 1,'47'0,"-41"0,-31 0,19 1,-1 0,1 0,-1 1,1-1,-1 2,1-1,-8 5,12-6,0 0,1-1,-1 1,1 1,-1-1,1 0,0 0,-1 0,1 1,0-1,0 1,0-1,0 1,-1 1,2-2,0 0,0 0,0 0,0 0,0 0,0 0,0 0,0 0,0 0,0 0,1 0,-1 0,0 0,1 0,-1 0,1 0,-1 0,1 0,0-1,-1 1,1 0,0 0,-1 0,1-1,0 1,0-1,1 2,38 16,-35-17,0 1,-1-1,1 1,0 0,-1 1,0-1,1 1,4 3,-9-5,1 1,0-1,0 0,-1 1,1-1,-1 0,1 1,-1-1,0 1,1-1,-1 1,0-1,0 0,0 1,0-1,0 1,0-1,-1 1,1-1,0 1,-1-1,1 0,-1 1,0-1,1 0,-1 1,0-1,0 0,0 0,0 0,0 1,0-1,-1 1,-1 2,0-1,0 1,-1-1,1 1,-1-1,0 0,0-1,0 1,0-1,0 1,0-1,-1-1,1 1,-1 0,1-1,-1 0,-5 0,-6 1</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7.794"/>
    </inkml:context>
    <inkml:brush xml:id="br0">
      <inkml:brushProperty name="width" value="0.025" units="cm"/>
      <inkml:brushProperty name="height" value="0.025" units="cm"/>
      <inkml:brushProperty name="ignorePressure" value="1"/>
    </inkml:brush>
  </inkml:definitions>
  <inkml:trace contextRef="#ctx0" brushRef="#br0">115 0,'-72'75,"66"-68,1 0,0 1,0 0,1 0,0 0,1 1,-6 16,9-22,-1-1,1 1,0 0,0-1,0 1,0 0,0-1,0 1,1-1,0 1,-1-1,1 1,0-1,0 1,0-1,0 0,1 1,-1-1,1 0,-1 0,1 0,0 0,0 0,0 0,0-1,0 1,0-1,0 1,0-1,1 0,-1 0,5 2,-2-2,-1 1,1-1,0 0,-1-1,1 1,0-1,0 0,9-1,-14 1,1 0,0 0,-1-1,1 1,0 0,-1 0,1 0,0-1,-1 1,1 0,0-1,-1 1,1 0,-1-1,1 1,0-1,-1 1,0-1,1 1,-1-1,1 1,-1-1,1 0,-1 0,0 0,0 0,0-1,0 1,-1 0,1 0,-1 0,1 0,-1 0,1 0,-1-1,1 1,-1 0,0 0,0 1,0-1,1 0,-1 0,0 0,0 0,-1 0,-31-20,15 11</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8.256"/>
    </inkml:context>
    <inkml:brush xml:id="br0">
      <inkml:brushProperty name="width" value="0.025" units="cm"/>
      <inkml:brushProperty name="height" value="0.025" units="cm"/>
      <inkml:brushProperty name="ignorePressure" value="1"/>
    </inkml:brush>
  </inkml:definitions>
  <inkml:trace contextRef="#ctx0" brushRef="#br0">36 24,'-3'7,"0"-1,1 1,-1 0,1 0,0 0,1 0,0 0,0 0,0 14,1-18,1-1,-1 0,1 1,-1-1,1 0,0 1,0-1,0 0,0 0,0 0,1 0,-1 0,1 0,-1 0,1 0,0 0,-1-1,1 1,0-1,0 1,0-1,1 0,-1 0,0 0,0 0,0 0,1 0,-1-1,1 1,-1-1,0 0,1 1,3-1,-3 0,0 0,0 0,0 0,0 0,-1-1,1 1,0-1,0 1,0-1,-1 0,1 0,0 0,-1-1,1 1,-1-1,1 1,-1-1,0 0,0 0,0 0,0 0,0 0,0 0,0 0,-1-1,1 1,-1-1,0 1,0-1,0 0,0 1,0-1,0 0,-1 0,1-5,0 5,-1-1,0 0,0 1,0-1,0 1,-1-1,0 1,1-1,-1 1,0 0,-1-1,1 1,-1 0,1 0,-1 0,0 0,0 0,0 0,0 0,-1 1,1-1,-1 1,0 0,0 0,1 0,-1 0,-1 0,1 0,-4-1,-3 1,0 0,0 0,0 1,0 1,-20 0,13 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9.858"/>
    </inkml:context>
    <inkml:brush xml:id="br0">
      <inkml:brushProperty name="width" value="0.025" units="cm"/>
      <inkml:brushProperty name="height" value="0.025" units="cm"/>
      <inkml:brushProperty name="ignorePressure" value="1"/>
    </inkml:brush>
  </inkml:definitions>
  <inkml:trace contextRef="#ctx0" brushRef="#br0">36 0,'0'4,"-4"4,0 4,0 3,1 3,-3-2,0-1,1 1,2-2</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0.685"/>
    </inkml:context>
    <inkml:brush xml:id="br0">
      <inkml:brushProperty name="width" value="0.025" units="cm"/>
      <inkml:brushProperty name="height" value="0.025" units="cm"/>
      <inkml:brushProperty name="ignorePressure" value="1"/>
    </inkml:brush>
  </inkml:definitions>
  <inkml:trace contextRef="#ctx0" brushRef="#br0">86 0,'-3'7,"-1"5,-4 4,0 2,-2 2,1 1,-2-4,2-1,2 0,-2-2,2-5</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1.505"/>
    </inkml:context>
    <inkml:brush xml:id="br0">
      <inkml:brushProperty name="width" value="0.025" units="cm"/>
      <inkml:brushProperty name="height" value="0.025" units="cm"/>
      <inkml:brushProperty name="ignorePressure" value="1"/>
    </inkml:brush>
  </inkml:definitions>
  <inkml:trace contextRef="#ctx0" brushRef="#br0">53 1,'0'3,"-3"5,-2 4,-2 3,-4 3,0 1,2 1,2-3</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321"/>
    </inkml:context>
    <inkml:brush xml:id="br0">
      <inkml:brushProperty name="width" value="0.025" units="cm"/>
      <inkml:brushProperty name="height" value="0.025" units="cm"/>
      <inkml:brushProperty name="ignorePressure" value="1"/>
    </inkml:brush>
  </inkml:definitions>
  <inkml:trace contextRef="#ctx0" brushRef="#br0">84 1,'-4'0,"0"3,-1 5,-1 0,-1 3,-2 3,0 2,-1 1,1 2,-2-3,2-4</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966"/>
    </inkml:context>
    <inkml:brush xml:id="br0">
      <inkml:brushProperty name="width" value="0.025" units="cm"/>
      <inkml:brushProperty name="height" value="0.025" units="cm"/>
      <inkml:brushProperty name="ignorePressure" value="1"/>
    </inkml:brush>
  </inkml:definitions>
  <inkml:trace contextRef="#ctx0" brushRef="#br0">44 0,'0'3,"-4"5,0 4,-1 3,-1-1,-1 1,-2 1,0-3</inkml:trace>
</inkml:ink>
</file>

<file path=ppt/ink/ink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50:36.94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92D050"/>
    </inkml:brush>
    <inkml:brush xml:id="br3">
      <inkml:brushProperty name="width" value="0.05292" units="cm"/>
      <inkml:brushProperty name="height" value="0.05292" units="cm"/>
      <inkml:brushProperty name="color" value="#C00000"/>
    </inkml:brush>
  </inkml:definitions>
  <inkml:trace contextRef="#ctx0" brushRef="#br0">1111 1244 0,'-13'0'47,"26"0"-31,106 13-16,80 13 15,171 1-15,27-27 16,212 0-16,65 0 16,80 0-16,67 0 15,78 0-15,-39 0 16,-146 0-16,-39 0 15,-133 0-15,-145 0 16,-238 0-16,-53 0 16,-80 0-16</inkml:trace>
  <inkml:trace contextRef="#ctx0" brushRef="#br0" timeOffset="936.93">10623 1323 0,'66'0'47,"80"0"-32,39 40-15,53-40 16,53 0-16,106 0 16,26 0-16,-26 0 15,40 0-15,-40 0 16,26 0-16,-66 0 15,185 0-15,-78 0 16,12 0 0,-119 0-16,0 0 15,-158 0-15,-41-14 16,-105 1-16,0-13 16</inkml:trace>
  <inkml:trace contextRef="#ctx0" brushRef="#br0" timeOffset="3648.84">9895 318 0,'0'39'15,"53"107"-15,-13 12 16,26-12-16,-26-1 16,-14-12-16,-12-14 15,12-27-15,-13 1 16,-13-14-16,0-39 15,0 13-15,0-40 16,0-92 78,-26-53-79,13 13-15,13-14 16,0-26-16,-27 14 16,14-1-16,0 14 15,-40 0-15,53 53 16,0 26 0,0 13-16,-14 0 15,14 27-15,14 0 110,52 13-110,66 0 15,0 0-15,40 13 16,14 13-16,-28-12 15,54-14-15,0 0 16,13 0-16,92 0 16,14 0-16,26 0 15,0 0-15,40 0 16,0 0-16,-106 0 16,66 0-16,-26 0 15,-80 0-15,1 0 16,-1 0-1,-26 0-15,-13 0 16,-14 0-16,-26 0 16,-27 0-16,-12 0 15,12 0-15,-39 0 16,13 0-16,-13 0 16,0 0-16,-14 0 15,1 0-15,13 0 16,-14 0-16,14 0 15,-40 0-15,40 0 16,-13 0-16,13 0 16,-14 0-16,27 0 15,-52 0-15,-1 0 16,-40 0-16,-13 0 109,1 0-93,12 39-16,-13-25 16,14 25-1,-14 1-15,13 66 16,14 0-16,-13 13 15,26 26-15,-40 1 16,0-1-16,13-26 16,-12-26-16,-14-40 15,13 0-15,-13-27 16,0-13 93,-27-13-62,-25 0-47,-54 0 16,-27 0-16,-39 0 15,-79 0-15,-106 0 16,-80 0-16,-105 0 16,13 0-1,53 0-15,79 0 16,79 0-16,27 0 16,0 0-16,119 0 15,-26 0-15,39 0 16,27 0-16,-1 0 15,14 0-15,27 0 16,-14 0-16,53 0 16,13 0-16,14 0 15,-1 0 1</inkml:trace>
  <inkml:trace contextRef="#ctx0" brushRef="#br0" timeOffset="12054.73">6085 2566 0,'40'-13'47,"-27"13"-47,1 0 0,-1 0 0,13 0 15,-13 0-15,14 0 16,13 0-16,-1 0 0,1 0 0,13 0 0,0 0 15,0 13-15,53-13 0,13 0 16,-40 0 0,0 0-16,67 14 0,-67-14 15,1 0-15,-1 0 0,-13 0 0,0 0 16,14 0-16,-14 0 0,13 13 16,-13-13-16,67 0 0,-80 0 15,66 13-15,-66-13 16,-1 0-16,1 0 0,-13 13 0,13-13 15,-13 0-15,52 0 0,-39 14 16,-13-14-16,0 0 0,-14 0 16,14 13-16,-14-13 0,27 0 15,-26 13-15,-1-13 0,-13 0 16,27 0-16,-14 0 16,-12 0-16,12 0 0,1 0 15,65 0 32,-79 0-47,14 0 16,118 0 31,-131 0-47,12 0 0,292 13 62,-266-13-62,-25 14 16,-1-14-16,41 0 0,-41 0 15,0 0-15,1 13 0,39-13 16,-40 0-16,1 0 16,26 0-16,-27 0 0,27 13 15,-13-13-15,-14 0 16,14 0-16,-27 0 15,14 0-15,12 0 0,-25 0 16,25 0-16,-25 0 0,-1 0 16,0 0-16,0 0 0,14 0 15,-1 0-15,-13 0 0,1 0 16,12 0-16,1 0 16,-14 0-16,0 0 15,0 0-15,14 0 16,-14 13-16,0-26 15,0 13-15,1 0 0,-1 0 16,0 0-16,0 0 16,1 0-1,-1 0-15,0 0 16,0 0 0,0-13-1,1 13-15,-14-13 16,13 13-16,0-14 15,0 14-15,-13-13 0,14 0 16,-1 0-16,-13-1 16,13 14-16,-13-13 0,13 13 15,-13-13-15,0 0 0,14 13 16,-14-14-16,13 1 0,-13 0 16,0 0-16,13 13 0,-13-13 0,0-1 15,13-12-15,0 13 16,-13-1-16,0 1 15,14 0-15,-14 0 16,13-1-16,-13 1 0,0 0 16,13-13-1,-13-1 1,13 14-16,-13 0 0,0-1 16,0 1-16,0 0 15,14 0-15,-14-1 16,0 1-16,0 0 15,0 0-15,0 0 16,0-1 0,0 1-16,-14 13 15,14-13-15,0 0 16,0-1 0,-13 14-16,13-13 15,0 0-15,-13 13 16,0-13-16,-1 13 15,-12-13 1,13 13-16,-14-14 0,14 14 16,-13-13-16,12 13 0,-25 0 15,-14-13-15,40 13 0,-14-13 16,-13 13-16,1-14 16,12 14-16,14 0 15,-13 0-15,-14-13 0,27 13 16,-14-13-16,1 13 0,-40-13 15,-14-1-15,-12-12 16,12 13-16,-12 0 16,65-1-16,1 14 15,-1 0-15,-26-13 16,27 13-16,-14-13 0,-52 0 16,39-1-1,-265-25 16,239 25-31,39 1 16,-39 0-16,39 13 16,-66-13-16,67 0 0,-54 13 15,53 0-15,-79-14 16,79 14-16,14 0 16,-14 0-16,-39-13 15,-53 13-15,92 0 16,-106-13-16,54 0 15,-40 13 1,65-14-16,1 14 16,40 0-16,-40 0 15,0 0-15,-1 0 16,1 0 0,27-13-16,-28 13 0,1 0 15,0 0-15,40 0 16,-1 0-16,1 13 0,-27-13 15,0 0-15,13 0 16,14 0-16,-14 0 16,27 14-16,-14-14 15,-12 0-15,12 0 16,-12 0-16,25 13 16,-12-13-16,-1 0 15,1 0-15,0 0 16,-14 13-16,0-13 15,14 0 1,12 13 0,-12-13-16,0 14 15,-1-1-15,1-13 16,12 13 0,1-13-16,-13 13 15,12 0-15,1 1 16,-13-1-16,26 0 15,-13 0-15,-1-13 0,1 14 16,0-1-16,0 0 16,-1 0-16,1 1 15,0-14-15,13 13 16,-13-13-16,-1 13 0,1 0 16,0 0-1,0-13-15,0 14 16,-1-1-1,1-13-15,0 13 16,0 0-16,-1-13 16,14 14-16,-13-1 15,0-13-15,13 13 16,-13-13-16,-1 13 0,14 1 16,-13-14-16,13 13 0,-13 0 15,13 0-15,-13 0 0,0 14 16,-1 13-1,14-14-15,-13-13 16,13 0-16,0 1 0,0 25 16,0-12-1,13-1-15,-13 1 0,27-1 16,-14-13-16,53 27 16,0-13-1,14-1-15</inkml:trace>
  <inkml:trace contextRef="#ctx0" brushRef="#br0" timeOffset="14122.83">17727 2117 0,'0'26'0,"0"-13"16,0 1-16,-13 25 15,13 1-15,-13 0 0,-1 39 16,1-39-16,13-1 0,-13 1 15,13-13-15,-13 12 0,13-12 16,-14-1-16,14 1 0,0-14 0,0 13 16,-13 1-16,13-14 0,0 0 15</inkml:trace>
  <inkml:trace contextRef="#ctx0" brushRef="#br0" timeOffset="14861.02">17582 1998 0,'39'-14'0,"1"14"15,-14 0-15,332 0 32,-279 0-32,14 0 0,-14 0 15,0 0-15,14 0 0,0 0 0,-14 0 16,13 0-16,-12 14 0,-1-14 16,-13 0-16,-13 0 0,13 0 0,-13 0 15,-13 0-15,0 0 0,-1 0 0,-25 0 16,12 0-16,1 0 0,-14-14 15,0 14-15,0 0 0,1 0 0,-1 0 16,0 0-16,0 0 0,0 0 16,1 0-16,-1 0 15,-13 14-15,13-14 16,-13 13-16,13-13 16,-13 13-16,0 0 0,14 1 15,-14-1-15,0 0 0,13 0 0,-13 0 16,13 14-16,0-14 0,0 0 0,-13 14 15,14-14-15,-1 13 0,-13-12 16,13 12-16,-13-13 0,13 14 0,-13-14 16,0 14-16,0-14 0,0 13 0,0-13 15,0 1-15,-13 12 0,13-13 0,0 1 16,-13-1-16,13 0 0,-13 0 16,13 1-16,0-1 0,-14 0 15,14 0-15,-13 0 0,13 1 31,-13-14-31,13 13 16,-13-13-16,-14 0 16,14 0-16,0-13 0,-14 13 15,1 0-15,0 0 0,-14-14 0,-13 14 16,0-13-16,-79 0 0,52 0 16,14 13-16,-26-13 0,12 13 15,-12-14-15,-1 14 0,0-13 0,-12 0 16,12 13-16,-13 0 0,14-13 0,-1 13 15,0 0-15,14-14 0,13 14 16,13-13-16,0 13 0,13 0 16,1-13-16,12 13 0,1 0 0,-1-13 15</inkml:trace>
  <inkml:trace contextRef="#ctx0" brushRef="#br0" timeOffset="16026.03">9366 5398 0,'0'26'31,"0"-13"-31,0 0 0,0 14 0,0-1 15,0 1-15,0 12 0,-13-12 16,13-1-16,0 1 0,0-1 0,-13 1 16,13-1-16,0 1 0,-13-14 0,13 13 15,0-12-15,0-1 0,0 0 16,0 0-16,0 1 16</inkml:trace>
  <inkml:trace contextRef="#ctx0" brushRef="#br0" timeOffset="16392.49">9432 5345 0,'14'-14'0,"-1"14"0,27 0 32,-27 14-32,0-1 15,0 0-15,-13 0 16,0 1-16,0-1 0,0 0 0,-13 0 0,13 0 15,-13 1-15,0-1 0,-1 0 16,14 0-16,-13 1 0,-13-1 16,12-13-16,1 13 0,0 0 0,-14 0 15,14-13-15,0 0 16</inkml:trace>
  <inkml:trace contextRef="#ctx0" brushRef="#br0" timeOffset="16630.07">9565 5226 0,'13'79'31,"-13"-53"-31,0 1 0,0 13 0,0-1 16,0 14-16,-13-13 0,13-1 0,0 1 15,0-13-15,0-1 0,-14 1 16,14-1-16,0 0 0,0-12 0,0-1 16,0 0-16,0 0 0,0 1 0,0-1 15,0 0-15</inkml:trace>
  <inkml:trace contextRef="#ctx0" brushRef="#br0" timeOffset="17080.48">9869 5556 0,'-27'-13'16,"54"26"-16,-54-39 0,14 26 15,0 13-15,0-13 0,0 0 16,-14 13-16,14 0 0,0 1 0,-14 12 16,1-13-16,13 14 0,-1-14 0,1 0 15,0 1-15,13-1 0,-13 0 16,13 0-16,0 0 0,13 1 16,0-14-1,0 0-15,1-14 0,-1 14 16,0-13-16,0 0 0,14 0 0,-14 0 15,0-14-15,14 14 0,-14 0 0,0-1 16,0 1-16,0 0 16,1 13-16,-1 0 15,-13 13-15,0 0 16,0 1-16,0-1 16,0 0-16,0 14 15,0-14-15,0 0 0,0 0 0,0 0 16,0 1-16,0-1 0,13-13 15,-13 13-15,13-13 16</inkml:trace>
  <inkml:trace contextRef="#ctx0" brushRef="#br0" timeOffset="17528.82">10200 5530 0,'-53'13'31,"40"0"-31,-14 14 0,14-14 16,0 0-16,-1 14 0,14-14 16,-13 0-16,13 0 0,0 1 0,0-1 15,0 0-15,0 0 0,13 0 16,1-13-16,-1 14 0,0-14 15,0 0-15,1 0 0,12 0 16,-13 0-16,0 0 0,14-14 0,-1 1 16,-12 13-16,12-13 0,-13 0 0,1 0 15,-1-1-15,0 1 0,-13 0 16,13 0-16,0-1 0,-39 28 47,13-1-47,13 0 0,0 0 15,-13 1-15,13-1 0,0 0 16,0 0-16,0 0 16,13 1-16,0-1 0,0-13 15,0 0-15,-13 13 0,14-13 0,-1 0 16,0 0-16,0 0 0,1-13 16,12 13-16,-13 0 0</inkml:trace>
  <inkml:trace contextRef="#ctx0" brushRef="#br0" timeOffset="17962.62">10702 5411 0,'0'-13'31,"-13"39"-31,13-13 0,0 14 0,-13-14 16,13 13-16,-13 14 0,-1-14 0,1 1 15,13-1-15,-13 1 16,13-1-16,-13-12 0,13 12 0,0-13 16,-13 0-16,13 1 0,0-1 0,0 0 15,-14-13-15,14 13 0,27-39 47,-27 13-47,13-1 0,0 1 0,0 0 16,1 0-16,-1 0 0,0 13 15,0-14-15,1 14 0,-1 0 16,0 0-16,0 0 0,1 14 16,-14-1-1,0 0-15,0 0 0,-14 14 16,1-14-16,0-13 0,0 13 16,-1 0-16,1 1 0,0-14 15,0 13-15,-1-13 0,14 13 0,14-26 47,-1 0-47</inkml:trace>
  <inkml:trace contextRef="#ctx0" brushRef="#br0" timeOffset="18231.77">10914 5636 0,'13'13'31,"-26"13"-31,13-12 15,0-1-15,0 0 16,0 0-16,13 0 16,1-13-16,-1 0 0,0 0 15,0 0-15,0 0 0,1 0 0,-1-13 16,0 13-16,0-13 0,-13 0 16,14 0-16,-14-1 0,0-12 15,0 13 1,-27-1-16,14 14 0,-14-13 15,14 13-15,-13 0 0,-1 0 16,1 13-16,-1-13 0,-52 14 16,39-1-16,14-13 0</inkml:trace>
  <inkml:trace contextRef="#ctx0" brushRef="#br0" timeOffset="19184.75">4815 5636 0,'-13'39'16,"13"-25"-16,0-1 16,0 0-16,-13 13 0,13 1 15,0-1-15,-13-12 0,13 12 0,0 1 16,0-14-16,-14 0 0,14 13 0,0-12 16,0-1-16,-13 0 0,13 0 15,13 1 1</inkml:trace>
  <inkml:trace contextRef="#ctx0" brushRef="#br0" timeOffset="19486.21">4762 5543 0,'0'-13'0,"14"0"16,39 13 0,-27 13-1,-13-13-15,1 13 0,12 0 0,-13 0 16,0 1-16,1-1 0,-1 13 16,0 1-16,-13-14 0,0 0 15,0 1-15,0-1 0,0 0 0,-13 0 16,13 0-16,-13 1 0,-1-1 0,1 0 15,0 0-15,0 1 16,0-14-16,-1 13 0,1 0 0,0-13 16,0 13-16,-1 1 0</inkml:trace>
  <inkml:trace contextRef="#ctx0" brushRef="#br0" timeOffset="19665.3">5067 5834 0,'0'13'0,"0"1"15,0-1-15,0 13 16,0-13-16,-13 1 0,13-1 16,0 0-16,-14 0 15,14 1-15</inkml:trace>
  <inkml:trace contextRef="#ctx0" brushRef="#br0" timeOffset="19824.82">5067 5675 0,'-13'-13'15</inkml:trace>
  <inkml:trace contextRef="#ctx0" brushRef="#br0" timeOffset="20102.25">5331 5490 0,'14'27'16,"-14"-14"-16,0 0 16,0 27-16,0-14 0,-14 1 15,14-1-15,0 1 0,0-1 16,0 0-16,0 1 0,0-1 0,0-12 16,0 12-16,0 1 0,0-14 15,0 0-15,0 0 0,14 0 16,-14 1-16,13-1 0,0-13 15,0 0-15,1 0 16,-1 0 0,0-13-16</inkml:trace>
  <inkml:trace contextRef="#ctx0" brushRef="#br0" timeOffset="20360.89">5636 5530 0,'-14'26'32,"1"-13"-32,13 1 0,0 12 15,-13-13-15,13 1 0,0 12 16,0 1-16,0-14 0,0 26 0,0-25 16,0 12-16,13-13 0,0 14 15,-13-1 1,14-26-16,-1 14 0,0 12 15,0-26-15,1 13 16,-1-13-16</inkml:trace>
  <inkml:trace contextRef="#ctx0" brushRef="#br0" timeOffset="20676.16">4551 6165 0,'26'-13'15,"-12"13"-15,12 0 0,0 0 0,14 0 16,13-14-16,0 14 0,-13 0 16,26-13-16,-13 13 0,0 0 0,0 0 15,-1-13-15,1 13 0,40 0 16,-53-13-16,-14 13 0,1 0 16,-1 0-16,-13 0 0,14 0 15</inkml:trace>
  <inkml:trace contextRef="#ctx0" brushRef="#br0" timeOffset="20925.34">4339 6257 0,'66'0'31,"-39"0"-31,-1 0 0,27 0 0,0 0 16,-13-13-16,13 13 0,0 0 16,-1 0-16,1-13 0,40 13 15,-40 0-15,-13 0 0,-1-13 0,-12 13 16,-1 0-16,1 0 0,-1 0 16,-13 0-16,14 0 0,-14 0 0,14 0 15,-14-14-15,0 14 0,13 0 0</inkml:trace>
  <inkml:trace contextRef="#ctx0" brushRef="#br0" timeOffset="21498.62">9393 6072 0,'53'-13'0,"-106"26"0,132-26 16,-52 0-16,12 13 0,14-14 0,0 14 16,0 0-16,13-13 0,0 13 15,14 0-15,-14-13 0,-13 13 0,0 0 16,13 0-16,-13-13 0,0 13 0,0 0 15,-14 0-15,-12 0 0,-1 0 0,1 0 16,-1 0-16,-13 0 0,1 0 16,-1 0-16</inkml:trace>
  <inkml:trace contextRef="#ctx0" brushRef="#br0" timeOffset="21757.3">9379 6125 0,'67'0'0,"-134"0"0,160 0 16,-66 0-16,25 0 0,1 0 0,14 0 16,-1 0-16,0 0 0,0 0 15,-13-13-15,13 13 0,-13 0 0,0 0 16,0 0-16,0 0 0,-14 0 15,1 0-15,-13-13 0,-1 13 16,0 0-16,-12 0 0,-1 0 0,13 0 16,-12 0-16,-1 0 0</inkml:trace>
  <inkml:trace contextRef="#ctx0" brushRef="#br0" timeOffset="28928.94">437 4736 0,'13'79'15,"-13"-52"-15,0-14 0,13 14 16,-13-14-16,0 13 0,0-13 16,0 1-16,0 12 0,0-13 0,13 1 15,-13-1-15,0 0 16,0-39 15,13 12-31,-13-12 16,14 13-16,-1-1 15,-13 1-15,13 13 16,0 0-16,1 0 0,-1 0 16,0 0-16,0 13 0,1 1 15,-1-1 1,0 0-16,0 0 16,-13 1-16,13-14 15,1 13 1</inkml:trace>
  <inkml:trace contextRef="#ctx0" brushRef="#br0" timeOffset="29234.12">807 4987 0,'0'-26'0,"0"-14"31,0 27-31,0 0 16,-13 0-1,0 26 17,13 0-32,0 0 15,13 0-15,-13 1 16,13-14-16,-13 13 15,13-13-15,0 0 0,1 0 16,-1 0-16,0 0 0,0 0 0,1-13 16,12 13-16,-13-14 0,0 14 0</inkml:trace>
  <inkml:trace contextRef="#ctx0" brushRef="#br0" timeOffset="29529.62">1098 4855 0,'0'-13'15,"-13"0"1,0 26-16,-1-13 15,1 0-15,0 13 0,0-13 16,-1 13-16,1-13 16,0 27-16,0-27 0,13 13 0,0 0 15,-14-13-15,14 13 0,0 1 16,14-1 0,-1-13-1,0 0-15,0 0 16,1-13-16,-1 13 15,-13-14-15,13 14 16,0 0-16,-13-13 16,14 13-1,-1 13 1,0-13 0</inkml:trace>
  <inkml:trace contextRef="#ctx0" brushRef="#br0" timeOffset="30080.93">1283 4815 0,'-26'14'31,"26"-1"-15,0 0-16,-13-13 0,13 13 15,0 1-15,0-1 16,0 0-16,13 0 15,0-13 17,0 0-32,0-13 15,1 13-15,-14-13 16,13 13-16,0-13 16,0-1-16,-13 1 15,14 13-15,-14-13 0,0 0 0,13 13 16,-13-14-16,0 1 15,0 0-15,13-14 0,-13 14 16,0 0-16,13 0 0,-13 0 16,0-1-1,0 1-15,0 0 16,0 0 0,14-1-1,-1 41 16,0-14-31,-13 0 16,0 1-16,13-14 0,-13 13 0,0 0 16,0 0-16,13 14 15,-13-14-15,14 0 0,-14 0 16,13 1 0,0-1-16,0-13 15,1 0 1,-1 0-1,0 0-15,0-13 16</inkml:trace>
  <inkml:trace contextRef="#ctx0" brushRef="#br0" timeOffset="30330.16">1693 4749 0,'-13'0'31,"0"0"-31,0 0 0,13 13 16,-14-13-16,14 14 0,-13-1 16,13 0-1,13-13 1,-13 13-16,14-26 16,-1 13-1,0 0-15,-13-13 16,13 13-16,1 0 0,-14-13 15,13 13 1</inkml:trace>
  <inkml:trace contextRef="#ctx0" brushRef="#br0" timeOffset="30943.16">1839 4723 0,'-40'39'31,"27"-25"-15,13-1-16,13 0 16,0-13 15,1-13-15,-1 13-16,0 0 0,0 0 15,1 0 16,-1 0-31,-13-13 16,13 13-16,0 0 16,-13-14-16,13 1 15,1 0-15,-1 13 16,-13-13-16,13 0 16,-13-1-16,13 1 15,-13 0 1,0 0-16,0-1 15,0 1 1,0 0-16,14 26 47,-1 0-47,-13 1 16,0-1-16,13-13 0,-13 13 15,13 0-15,-13 1 0,14-1 16,-1 0-16,0-13 15,-13 13-15,13-13 16,0 0-16,1 0 16,-1 0-16,0 0 15,0 0 1,1 0 0,-1 0-16,-13-13 15,13 13 1</inkml:trace>
  <inkml:trace contextRef="#ctx0" brushRef="#br0" timeOffset="31485.26">2672 4551 0,'-13'0'16,"53"0"15,-27 0-31,0 0 15,0-13-15,1 13 0,-1 0 0,13 0 16,-12-14-16,-1 14 0,0 0 16,0-13-16,14 13 0,-14-13 15</inkml:trace>
  <inkml:trace contextRef="#ctx0" brushRef="#br0" timeOffset="31716.8">2924 4379 0,'66'13'31,"-53"0"-31,0 1 0,0-14 0,1 13 16,-1 13-16,0-13 15,-13 1-15,0-1 0,0 0 16,0 0-16,0 1 0,-13-1 0,0 0 15,13 0-15,0 1 16,-14-14-16</inkml:trace>
  <inkml:trace contextRef="#ctx0" brushRef="#br0" timeOffset="32220.77">3559 4339 0,'-27'0'0,"54"0"0,-67 0 0,27 0 16,-14 13-16,14-13 0,0 0 16,0 0-16,-1 14 0,1-1 15,0-13-15,0 13 16,13 0-16,13 1 0,0 12 15,0-13 1,1 14-16,-1-27 0,0 13 0,0 0 16,0 0-16,1 1 0,-1-1 15,-13 0-15,0 0 0,0 1 16,0-1-16,0 0 0,-13-13 16,-1 13-16,1 0 0,0 1 0,-13-14 15,-1 13-15,1-13 16,12 13-16,1-13 0,-13 0 15,13 0-15,-1 0 16</inkml:trace>
  <inkml:trace contextRef="#ctx0" brushRef="#br0" timeOffset="32785.5">3717 4471 0,'-13'0'0,"-40"27"31,40-14-15,13 0-1,-13 1-15,39-14 47,-13-14-31,1 14-16,-1 0 15,0 0 1,0 0-16,1 14 16,-1-14-16,-13 13 15,13-13-15,0 13 16,1-13-1,-14 13 1,13-26 0,-13 0-16,13 0 15,0 13-15,-13-14 16,13 1-16,1 0 0,-1 0 16,0-1-16,0 14 0,1-13 15,-1 13-15,-13-13 16,13 13-16,0 0 0,1 0 15,-14 13 1,13-13-16,-13 13 16,0 1-16,0-1 15,0 0 1,0 0 0,0 1-16</inkml:trace>
  <inkml:trace contextRef="#ctx0" brushRef="#br0" timeOffset="32914.96">3982 4313 0</inkml:trace>
  <inkml:trace contextRef="#ctx0" brushRef="#br0" timeOffset="33419.53">4141 4286 0,'0'0'16,"0"40"-16,0-27 0,-13 0 0,13 1 15,0-1-15,-14 13 16,14-12-16,0-1 0,0 0 0,0 0 0,14 0 15,-14 1-15,0-1 16,13-13-16,-13 13 0,0 0 0,13-13 16,0 14-16,0-1 0,1-13 15,-14 13-15,13-13 16,0 0-16,-13-13 47,-13 39 15,26-26-46,0 0 0,1 0-16,-1 0 15,0-13-15,0 13 16,-13-13-16,13 0 15,-13-1-15,0 1 16,-13 13-16,13-13 16,-13 0-1,0 13 1,0 13-16,-1-13 16,14 13-1,-13-13-15</inkml:trace>
  <inkml:trace contextRef="#ctx0" brushRef="#br0" timeOffset="33821.91">4419 4445 0,'13'26'31,"-13"-12"-31,0-1 16,0 0-1,0 0-15,0 1 16,0-1 0,13-13-1,0 0 1,0-13 0,1 13-16,-1-14 15,0 14-15,0 0 16,1-13-1</inkml:trace>
  <inkml:trace contextRef="#ctx0" brushRef="#br0" timeOffset="34445.91">4088 4498 0,'-13'0'16,"26"0"-16,-40 0 15,14 0-15,0 13 16,0-13-16,13 13 0,-14-13 16,14 14-16,-13-1 0,13 0 15,-13-13-15,13 13 0,0 1 16,13-1-16,0 0 16,1-13-1,-1 0-15,0 0 0,0 0 16,1 0-16,12 0 0,-13 0 15</inkml:trace>
  <inkml:trace contextRef="#ctx0" brushRef="#br0" timeOffset="35144.83">4458 4551 0,'0'-13'16,"13"-1"-16,1 14 15,-1 0-15,0-13 16,14 13-1,-27 13-15,13-13 0,0 0 16,-13 14-16,13-14 0,1 13 16,-1 0-1,-13 0-15,13-13 16</inkml:trace>
  <inkml:trace contextRef="#ctx0" brushRef="#br0" timeOffset="35544.06">4247 4815 0,'13'14'16,"0"-1"-16,0 0 16,0 14-16,1-14 0,-1 13 0,13 1 15,14 12-15,-13-12 16,-1 13-16,-13-27 15,80 79 17,-93-78-1,13-14-31,-13 13 16</inkml:trace>
  <inkml:trace contextRef="#ctx0" brushRef="#br0" timeOffset="35909.82">4551 5014 0,'13'13'15,"0"0"1,1 1-16,-14-1 16,13-13-16,-13 13 0,13 0 15,0 0-15,0 1 16,-13-1-16,14 0 0,-14 0 15,0 1-15,0-1 16,0 0 0,-14-13-16,14 13 0,-13-13 0,-13 27 15,13-27-15,-14 13 0,14 0 16,-14 0-16,-12 1 0,12-1 16,-12 0-16,12 0 0,-13 1 0,14-1 15</inkml:trace>
  <inkml:trace contextRef="#ctx0" brushRef="#br0" timeOffset="39365.78">304 5861 0,'14'26'0,"-28"-52"0,28 78 0,-14-38 16,0-1-16,0 0 0,0 0 0,0 14 16,0-14-16,0 13 0,0-12 0,0-1 15,0 0-15,0 0 0,0 1 0,0-1 16,0 0-16,0 0 15,13-39 17,-13 13-32,13-1 15,0 1-15,-13 0 0,13 0 0,1 13 16,-1-14-16,0 14 0,0-13 16,14 26-1,-14-13-15,-13 14 0,13-14 16,-13 13-16,13-13 0,1 26 0,-14-12 15,13-14-15,-13 13 0,0 0 16,13 0-16,0 1 16,1-14-1</inkml:trace>
  <inkml:trace contextRef="#ctx0" brushRef="#br0" timeOffset="39710.51">675 6085 0,'0'-13'16,"0"0"-16,0 0 0,0-40 31,0 40-15,-14 13-16,1 13 31,0-13-15,13 13-16,0 0 0,-13-13 0,13 13 15,0 1-15,0-1 16,0 0-16,0 0 16,13 1-16,0-14 15,0 0-15,1 0 16,-1 0-1,0 0-15,0 0 0,1-14 0,-1 14 16,0 0-16</inkml:trace>
  <inkml:trace contextRef="#ctx0" brushRef="#br0" timeOffset="40156.94">966 5940 0,'-14'0'0,"28"0"0,-41 0 15,14 13-15,0-13 16,0 13-16,-1 1 0,14-1 16,-13-13-16,13 13 15,-13 0-15,13 0 16,13-13 0,14-13-1,-14 13 1,-13-13-16,13 13 15,0 0 1,0 0 0,-13 13-1,0 0 1,14-13-16,-14 14 16,13-14-16</inkml:trace>
  <inkml:trace contextRef="#ctx0" brushRef="#br0" timeOffset="40572.04">1111 5887 0,'-13'0'0,"0"26"31,0-26-31,13 14 0,0-1 16,-14 0-16,14 0 0,0 1 15,0-1-15,0 0 0,0 0 16,0 0-16,14 1 16,-1-28-1,0 14-15,0-13 16,0 0-16,-13 0 0,0 0 16,0-1-16,0-12 0,0 13 15,0-14-15,0 1 0,0-1 0,0 1 16,0-1-16,0 14 0,-13 0 0,13 0 15,0-1-15,0 1 0,0 0 16,0 53 0,0-27-1,0 0-15,0 14 0,0-14 0,0 13 16,13 1-16,-13-1 0,14-13 16,-14 14-16,0-14 0,13 0 0,-13 14 15,13-27-15,-13 13 0,13 0 16,1 0-16,-1-13 15</inkml:trace>
  <inkml:trace contextRef="#ctx0" brushRef="#br0" timeOffset="41812.92">1376 5861 0,'-27'26'31,"14"-13"-31,13 0 0,0 1 16,0-1-1,0 0 1,13-13-1,1-13-15,-1 13 0,-13-13 16,13-1-16,0 14 16,-13-13-1,14 13 32,-1 0-31,0 0-1,0 0 1,0 0-16,-13-13 0,14 13 0,-1-13 16,0 13-16,0-13 15,1 13 1,-1 13 0,-13 0-1,0 0 1,13-13-16,-13 13 15,13-13-15,1 0 16,-1 0-16,0 0 16,-13-13-16,13 13 0,0 0 15,-13-13-15,14 0 0,-1 0 16,-13-1-16,0 1 0,0 0 0,13 0 16,-13-14-16,0 14 0,-13-14 15,13 14-15,0-13 0,0 13 0,0-1 16,0 1-16,-13 0 0,13 0 0,0-1 15,0 1-15,0 0 16,0 0-16,0 39 47,0-13-47,0 1 0,0-1 16,0 0-16,13 0 0,-13 1 15,0-1-15,0 0 0,0 0 16,0 0-16,13 1 0,-13-1 0,0 0 15,0 0-15,13-13 0,-13 14 0,0-1 16,0 0-16,14-13 16,-14 13-16,13-13 0,0 0 15,0 0-15,-13-13 16,13 13-16,1-13 0,-1 0 16,-13-1-16,13 14 0,-13-13 15,13 13-15,-13-13 0,0 0 16,14 13-16,-28 26 31,1-13-15,13 1-16,0-1 0,0 0 15,0 0-15,0 1 16,0-1-16,0 0 16,13-13-16,1 13 0,-1-13 15,13-13 1,-12 13-16</inkml:trace>
  <inkml:trace contextRef="#ctx0" brushRef="#br0" timeOffset="42182.12">2077 5821 0,'40'-13'16,"-27"13"-1,0 0-15,0 0 16,1 0-16,-1 0 0,0-14 16,0 14-16,0 0 0,1 0 0,-1 0 15,0-13-15,0 13 0,14-13 16,-14 13-16</inkml:trace>
  <inkml:trace contextRef="#ctx0" brushRef="#br0" timeOffset="42424.7">2249 5622 0,'53'40'31,"-40"-27"-31,0 1 16,1-1-16,-1 0 0,0 0 0,0 0 15,0 1-15,1-1 0,-14 0 16,13 0-16,-13 1 0,0-1 16,-13 0-16,13 0 0,-14 27 15,1-27-15,0 0 0,13 1 0,-13-14 16</inkml:trace>
  <inkml:trace contextRef="#ctx0" brushRef="#br0" timeOffset="45658.07">2725 5517 0,'-13'13'0,"0"-13"0,13 13 0,0 0 16,-13 0-16,13 1 0,0-1 0,-14 0 15,14 0-15,0 1 0,0 12 16,0-13-16,0 1 0,0 12 0,14-13 16,-14 0-16,13 14 0,-13-14 15,13 0-15,-13 1 0,13-1 0,0-13 16,1 13-16,-1-13 0,0 0 15,0 0-15,1 0 0,12 0 0,-13 0 0,14 0 16,-14-13-16,13 13 0,-12-13 16,12-1-16,1 14 0,-14-13 0,0 0 15,0 0-15,0-1 0,1 1 0,-1 0 16,0 0-16,-13 0 0,13-1 16,-13 1-16,14-13 0,-14 12 15,-14 1-15,14 0 0,0 0 16,0-1-16,-13 1 0,0 0 15,0 0-15,13 0 0,-27-1 0,14 14 16,0-13-16,0 13 0,-1-13 0,-12 13 16,13 0-16,-1 0 0,-12 13 15,13-13-15,-14 0 0,-12 13 16,25 1-16,1-14 0,-13 13 0,12-13 16,1 13-16,0-13 0</inkml:trace>
  <inkml:trace contextRef="#ctx0" brushRef="#br0" timeOffset="45920.93">2910 5530 0,'-13'26'0,"0"-13"16,13 1-16,0-1 16,-13 13-16,13-12 0,0-1 0,-13 13 15,13-12-15,-14-1 0,14 13 0</inkml:trace>
  <inkml:trace contextRef="#ctx0" brushRef="#br0" timeOffset="46665.18">2831 6085 0,'-13'40'31,"13"-27"-31,0 1 16,0-1-16,0 0 0,-13 0 16,13 0-16,0 14 0,0-14 0,-14 0 15,14 1-15</inkml:trace>
  <inkml:trace contextRef="#ctx0" brushRef="#br0" timeOffset="46934.85">2858 6032 0,'-27'14'0,"54"-28"0,-54 41 0,14-14 15,0-13-15,13 13 0,-14 1 16,1-1-16,13 0 0,-13 0 0,0 1 16,-1-1-16,1 0 0,0 0 0,0 0 15,0-13-15,13 14 16</inkml:trace>
  <inkml:trace contextRef="#ctx0" brushRef="#br0" timeOffset="47072.93">2738 6125 0,'27'-26'0,"-14"26"0,0-14 15,1 14-15,-1 14 16,0-14-16,0 0 16,1 13-16,-1-13 0,0 0 15,0 0-15,0 13 0,1-13 16,-1 0-16,0 13 0,0-13 15</inkml:trace>
  <inkml:trace contextRef="#ctx0" brushRef="#br0" timeOffset="50951">2805 5768 0,'-14'26'0,"28"-52"0</inkml:trace>
  <inkml:trace contextRef="#ctx0" brushRef="#br0" timeOffset="59169.75">2910 5530 0,'0'-13'47,"-13"39"47,0-13-78,13 0-1,-13 1 1,13-1-16,-13 0 16,13 0-1,-14-13 1,14 14-16,0-1 15,-13-13-15,13 13 16,0 0 0,-13 1-1,13-1 1,-13-13-16,13 13 16,0 0-16,-14 0 31,14 1-16,0-1 17,0 0-17,-13 0 17,13 1-32,0-1 46,0 0-14,13-39 93,-13 12-125,0 1 31,14 13-31,-14-13 16</inkml:trace>
  <inkml:trace contextRef="#ctx0" brushRef="#br0" timeOffset="110871.99">6152 3268 0,'13'0'31,"13"0"-31,-13 0 0,40 0 16,0 0-16,40 0 16,13 0-16,13 0 15,40 0-15,13 0 16,13 0-16,-27 0 15,54 0-15,-53 0 16,26 0-16,-13 0 16,-26 0-16,26 0 15,-27 0-15,14 0 16,0 0-16,-1 0 16,28 0-16,-28 0 15,1 0-15,0 0 16,0 0-16,-54 0 15,14 0 1,1 0-16,-1 0 16,-14 0-16,15 0 15,-1 0-15,-27 0 16,27 0-16,-26 0 16,13 0-16,-14 0 15,14 0-15,-40 0 16,14 0-16,-1 0 15,-26 0-15,-13 0 16,-1 0-16,-12 0 16,-14 0 77,13 0-93,1 0 16,13 0-16,13 0 16,-14 0-16,27 0 15,0 0-15,27 0 16,0 0-16,13 0 16,-14 0-1,14 0-15,-27 0 16,54 0-16,-28 0 15,28 0-15,-1 0 16,-13 0-16,27 0 16,-14 0-16,0 0 15,-13 0-15,-13 0 16,26 0-16,14 0 16,26 0-16,13 0 15,0 0-15,-26 0 16,-13 0-16,-27 0 15,-27 0-15,-26 0 16,27 0-16,-40 0 16,-27 0-16,-12 0 15,-1 0-15,0 0 16,0 0 46,1 0-62,-1 0 32,0 0-17,0 0 1,14 0 0,-14 0-1,0 0-15,14 0 16,12 0-16,14 0 15,0 0-15,26 0 16,-26 0-16,66 0 16,-26 0-16,26 0 15,27 0-15,-14 0 16,66 0-16,-12 0 16,-28 0-16,-12 0 15,-1 0-15,-39 0 16,-26 0-16,12 0 15,-26-27-15,-13 27 16,-13 0-16,0 0 16,-27 0-16,13-13 15,1 13-15,-14 0 16,13 0 0,-12 0 30,12 0-30,-13-13 0,1 13-1,12 0-15,-13 0 16,1 0-16,12-27 16,0 27-1,-12 0-15,12 0 16,14 0-16,-14 0 15,14 0-15,0 0 16,-27 0-16,27 0 16,12 0-16,-12 0 15,13 0-15,0 0 16,0 0-16,26-13 16,-26 13-16,0 0 15,13 0-15,0 0 16,1 0-16,-15 0 15,41 0-15,0 0 16,-40 0-16,13 0 16,-13 0-16,0 0 15,13 0-15,-27 0 16,1 0-16,0 0 16,-14 0-1,14 0-15,-14 0 16,-12 0-16,12 0 15,1 0-15,-1 0 16,0 0-16,14 0 16,66 0-1,-66 0 1,13 0-16,-14 0 16,27 0-16,-13 0 15,-13 0-15,13 0 16,-27 0-16,1 0 15,-1 0-15,1 0 16,-14 0-16,0 0 16,0 0 46,14 0-46,-14 0-1,0 0 1,1 0-16,-1 0 0,13 0 16,-12 0 15,12 0 16,-13 0-32,14 0 1,-14 0 15</inkml:trace>
  <inkml:trace contextRef="#ctx0" brushRef="#br0" timeOffset="113231.97">1204 3850 0,'13'0'62,"40"0"-46,79 26-16,-13-13 16,53 1-16,53 12 15,-53-26-15,40 0 16,26 27-16,-13-27 16,66 0-16,-40 0 15,106 0 1,-65 0-16,-41 0 15,0 0-15,14 0 16,-54 0-16,-39 0 16,-13 0-16,-53 0 15,-53 0-15</inkml:trace>
  <inkml:trace contextRef="#ctx0" brushRef="#br0" timeOffset="117080.93">7633 5636 0,'-13'13'16,"0"0"-16,13 0 15,0 1-15,-13-1 0,13 0 16,0 0-16,0 14 0,-14-1 0,14 1 15,-13-1-15,13 14 0,-13-14 0,13 14 16,-13 0-16,13-1 0,0 1 16,-14 0-16,14-1 0,0 1 0,-13-14 15,13 14-15,0 0 0,0 0 0,-13-1 16,13 1-16,0 0 0,0-1 16,0 1-16,-13 0 0,13-1 0,0 1 15,0 0-15,-14-1 0,14 1 0,0 0 16,0-1-16,-13 1 15,13 0-15,0 13 0,0-14 0,-13 1 16,13 0-16,0 0 0,0-1 0,-13 14 16,13-13-16,0-1 0,-13 1 15,13 0-15,0 0 0,0-1 0,0 1 16,-14 0-16,14-1 0,0 1 0,0 13 16,0-13-16,-13-1 0,13 1 0,0 0 15,0-1-15,-13 1 0,13 13 16,0-13-16,0-1 0,-13 1 0,13 0 15,0 13-15,0-14 0,-14 1 0,14 13 16,0-13-16,-13-1 16,13 1-16,-13 0 0,13 13 0,0-14 15,-13 1-15,13 0 0,0-14 0,-14 14 16,14-1-16,0 1 0,0 0 16,-13 0-16,13-1 0,0 1 0,0 0 15,0-14-15,0 1 0,0 12 0,0 1 16,0-14-16,0 14 0,0 0 15,0-1-15,0 1 0,0 13 16,0-13-16,-13-1 0,13 1 0,0 0 0,0-1 16,0 1-16,0 0 0,-13 0 0,13-1 15,0 14-15,0-13 16,-13-1-16,13 1 0,0 0 0,0 0 16,-14-1-16,14 14 0,0-13 0,0 0 15,0-1-15,0-12 0,0 12 16,0 1-16,0 0 0,0-1 0,0 1 15,0 0-15,0-14 0,14 14 0,-14-14 16,0 1-16,0 13 0,0-1 16,0-12-16,0-1 0,0 1 0,0-1 15,-14 1-15,14 12 16,0-26-16,0 14 0,0-14 16,0 0-16,0 1 0,0-1 0,0 0 15,0 0-15,-13 1 0,0-1 16,0-40 15</inkml:trace>
  <inkml:trace contextRef="#ctx0" brushRef="#br0" timeOffset="118141.05">384 7289 0,'13'80'31,"-13"-54"-31,0-13 0,0 14 16,0-14-16,13 13 0,-13-12 16,0-1-16,0 13 0,0-12 0,0-1 0,0 0 15,0 0-15,0 1 0,0-1 0,13 0 16</inkml:trace>
  <inkml:trace contextRef="#ctx0" brushRef="#br0" timeOffset="118463.93">542 7382 0,'0'26'32,"0"-12"-17,0-1-15,14 13 16,-1-13-16,0 14 0,0-27 15,1 0-15,-1 13 0,0-13 16,0 0-16,0-13 0,1 13 16,-1 0-16,-13-13 0,13 13 0,0-14 0,-13 1 15,0 0-15,14 0 16,-28 0-16,14-1 0,0 1 0,0 0 16,0 0-16,-13-1 0,13 1 0,-13 0 15,0 0-15,-1-1 0,1 14 16,0 0-16,0 0 15,0 0-15,-1 14 0,1-1 16,0-13-16</inkml:trace>
  <inkml:trace contextRef="#ctx0" brushRef="#br0" timeOffset="119068.87">833 7117 0,'0'0'0,"-13"14"31,26 12-31,-13-13 0,0 0 0,0 14 16,0-1-16,14 1 0,-14 12 0,0-12 15,13-1-15,-13 1 0,0-1 16,13 1-16,-13-14 0,0 0 0,0 14 15,13-14-15,-13 0 0,0 0 0,0 1 16,0-1-16,0 0 0,-13-39 47,13 12-47,-13-12 16,13-14-16,-13 1 0,13-1 15,0 13-15,0 1 0,0-1 0,13 1 16,-13 0-16,0 12 0,13 1 0,0 0 15,-13 0-15,14-1 0,-1 14 16,0 0-16,13 0 16,-12 14-16,-14-1 0,13 0 15,-13 0-15,0 1 0,0-1 16,0 0-16,-13 0 0,13 0 0,-14 14 16,14-14-16,-13 0 0,0 1 0,0-14 15,13 13-15,-13 0 0,-1-13 0,1 0 31</inkml:trace>
  <inkml:trace contextRef="#ctx0" brushRef="#br0" timeOffset="119867.55">1124 7131 0,'-26'0'31,"13"0"-31,0 13 0,-1-13 16,14 13-16,-13-13 0,0 13 0,13 0 15,-13 1-15,13-1 0,-14 0 16,14 0-16,0 1 0,0-1 15,0 0-15,14-13 16,-1 0 0,0-13-16,0 0 15,1-1-15,-1 14 16,-13-13 0,13 26-1,0-13 1,0 0-16,-13 14 15,14-14-15,-1-14 16,0 1-16,-13 0 16,13 13-16,-13-13 0,14-1 0,-14-12 15,0 13-15,0-14 0,0 14 0,0-13 16,0 12-16,0-12 0,0-1 16,0 14-16,0 0 0,0 0 15,0 0-15,13-1 0,-13 41 31,0-14-15,0 0-16,0 0 0,13 1 16,-13 12-16,0-13 0,13-13 0,-13 14 15,0-1-15,14-13 0,-14 13 16,13-13-16,0 0 0,0 0 16,0-13-16,1 13 15,-1 0 1,0 0-1,0 13-15,1 0 16,-14 1-16,13-1 0,-13 0 16,13 0-1</inkml:trace>
  <inkml:trace contextRef="#ctx0" brushRef="#br0" timeOffset="119981.53">1561 6826 0,'0'0'0</inkml:trace>
  <inkml:trace contextRef="#ctx0" brushRef="#br0" timeOffset="120172.32">1124 7078 0,'14'-14'31,"-1"1"-31,0 13 0,0-13 16,1 13-16,12-13 0,-13 13 0,14-14 15,-1 14-15,-13-13 0</inkml:trace>
  <inkml:trace contextRef="#ctx0" brushRef="#br0" timeOffset="121059.76">1521 7170 0,'0'13'31,"14"-13"-31,-1 0 15,0-13-15,0 13 16,-13-13-16,14 0 16,-1 0-16,0-1 0,-13 1 15,13 0-15,-13 0 0,13-1 16,-13 1-16,0 0 16,0 0-16,14-1 15,-14 1 1,-14 40 15,14-14-15,0 13-16,14-12 15,-14-1 1,13-13-16,0 13 16,0-26-1,1 13-15,-14-13 16,13 13-16,0 0 15,0 0 1,0 0-16,1 0 16,-1-14-16,0 14 15,0-13 1,1 13-16,-1-13 0,-13 0 16,13 13-16,0-14 0,-13 1 15,14 0-15,-14 0 0,0-14 0,0 14 16,0-13-16,0 12 0,0 1 15,0-13-15,0 12 0,0 1 0,0 0 16,0 0-16,0 0 0,-14 26 31,14 0-15,0 0-16,0 14 0,0-14 0,0 0 16,14 0-16,-14 14 0,0-14 0,0 14 15,13-1 1,-13-13-16,0 0 0</inkml:trace>
  <inkml:trace contextRef="#ctx0" brushRef="#br0" timeOffset="121370.97">1826 7038 0,'0'-13'0,"0"26"0,13-40 15,-13 14-15,13 13 0,-13-13 16,13 0-16,1 0 15,-1 13-15,0-14 0,-13 1 0,13 13 16,0 0-16,1-13 0,-1 13 16,0 0-16,0 0 15,1 0-15,-1 13 16,0-13-16,-13 13 0,13-13 0,1 14 16,-14-1-16,13-13 0,-13 13 15,0 0-15,13 0 0,-13 1 16,0-1-16,0 0 0,0 0 0,-13 1 15,13-1-15,-13 0 16,-1 0-16,1 1 0,0-14 0,0 13 16,-1-13-16,14 13 0,-13-13 0,0 0 15</inkml:trace>
  <inkml:trace contextRef="#ctx0" brushRef="#br0" timeOffset="122984.61">6350 5609 0,'26'-13'31,"-12"13"-31,-1 0 16,0-13-16,-39 26 31,-1-13-15,14 13-16,-13-13 0,-14 13 15,13 1-15,14-14 16,0 13-16,0-13 0,-1 0 0,1 13 0,0-13 15,13 13 17,13 1-32,0-1 0,1-13 0,-1 13 15,0 0-15,14-13 0,-14 13 0,0-13 0,0 14 16,-13-1-16,14-13 16,-14 13-16,0 0 0,0 1 15,-14-1-15,1 0 0,0 0 16,0-13-16,-1 14 0,-12-1 15,13 0-15,-14 0 0,14-13 0,-13 13 16,12-13-16,1 0 0,0 0 0,0 0 16,-1 0-16</inkml:trace>
  <inkml:trace contextRef="#ctx0" brushRef="#br0" timeOffset="123272.01">5953 5530 0,'-13'39'0,"26"-78"0,-39 92 15,26-27-15,0-13 0,-14 27 16,14 0-16,0-1 0,0-12 0,0 13 15,0-1-15,0 1 0,14 0 0,-14-1 16,13-12-16,0 12 16,0-12-16,14-1 0,-1-12 0,-13 12 15,14-26-15,-14 13 0,14-13 0,-1 0 16,1 0-16,12 0 0,1-13 16,0 0-16</inkml:trace>
  <inkml:trace contextRef="#ctx0" brushRef="#br0" timeOffset="123632.04">6482 5358 0,'27'13'0,"-54"-26"0,67 39 0,-27 1 0,14-14 0,-1 13 15,-13 14-15,14-13 16,-14 12-16,14 14 0,-1-13 0,-13 0 15,0-1-15,1 14 0,-14-13 0,0 0 16,0-1-16,0 1 0,-14 0 16,14-1-16,-26-12 0,13 12 0,-14-12 15,14 13-15,-13-27 0,-1 13 0,1-13 16,-1 1-16</inkml:trace>
  <inkml:trace contextRef="#ctx0" brushRef="#br0" timeOffset="124760.08">5517 4882 0,'0'26'47,"0"-13"-47,0 14 0,-14-1 0,14 1 15,-13 12-15,13 1 0,0 0 16,-13-14-16,13 1 0,0-1 0,0-13 16,-13 14-16,13-14 0,0 0 0,0 0 15,0 1 1,0-54-1,0 27-15,0-14 16,0 1-16,13-14 0,0 0 16,-13 1-16,13-14 0,1 13 0,-1 0 15,0 1-15,13-1 0,-12 14 0,-1 12 16,0 1-16,0 0 0,1 0 16,-1 13-16,0 0 0,0 13 15,1-13-15,-1 13 0,0 14 16,-13-14-16,13 0 0,-13 14 0,13-14 0,-13 13 15,0 1-15,0-14 0,0 13 16,0-12-16,0 12 0,0-13 16,0 14-16,0-14 0,-13 0 0,13 0 15,0 1-15,0-1 0,0 0 16,-13-13-16</inkml:trace>
  <inkml:trace contextRef="#ctx0" brushRef="#br0" timeOffset="124939.75">5609 5014 0,'27'0'31,"-14"0"-31,0 0 16,0 0-16,1 0 0,-1 0 0,0 0 15,0 0-15,14 0 0,-14 0 0,0 0 16,0-13-16,1 13 0,-1 0 15</inkml:trace>
  <inkml:trace contextRef="#ctx0" brushRef="#br0" timeOffset="125136.02">5265 4842 0,'-26'53'0,"52"-106"0,-52 119 16,13-40-16,13 1 0,0-1 0,0 14 16,13-13-16,-13 12 0,13-12 15,-13-1-15,13 1 0,0-14 0,1 13 16,-1-12-16,0-1 0</inkml:trace>
  <inkml:trace contextRef="#ctx0" brushRef="#br0" timeOffset="125451.9">5808 4643 0,'39'14'0,"-78"-28"0,105 41 0,-40-14 16,1 0-16,-1 14 0,-13-1 0,14 1 15,-1 12-15,-13-12 16,1-1-16,-1 14 0,0 0 0,-13-14 16,0 1-16,0-1 0,-13 14 0,13-1 15,-27 1-15,14-13 0,-13 12 16,13-12-16,-14-14 0,14 13 0,-14 1 15,14-14-15,0 0 0</inkml:trace>
  <inkml:trace contextRef="#ctx0" brushRef="#br0" timeOffset="126483.81">11576 5411 0,'-40'53'16,"27"-14"-16,-1-25 16,14 12-16,0 0 0,0 1 15,0-14-15,0 14 0,0-1 0,0-13 16,0 14-16,0-14 0,14 13 0,-14-12 15,13-1-15,0 0 0,0 0 16,1 1-16,-1-14 0,-13 13 0,13-13 16,0 0-16,0 0 0</inkml:trace>
  <inkml:trace contextRef="#ctx0" brushRef="#br0" timeOffset="126857.93">11946 5556 0,'-53'13'31,"40"-13"-31,0 14 15,-1-14-15,1 13 16,26 0 0,-13 0-16,14-13 15,-14 14-15,13-14 0,-13 13 16,13 0-16,0 0 0,-13 1 16,0-1-16,0 0 15,0 0-15,0 0 16,-13-13-16,0 14 0,0-1 15,-1-13-15,1 13 16,0-13-16,0 0 16</inkml:trace>
  <inkml:trace contextRef="#ctx0" brushRef="#br0" timeOffset="127187.93">12277 5398 0,'26'13'16,"-52"-26"-16,65 39 0,-25-13 0,-14 0 0,13 1 16,0 12-16,-13 1 0,0-14 0,13 26 15,-26-12-15,13 13 0,-13-14 16,13 14-16,-13-14 0,-1 1 0,1-1 16,0 1-16,0-14 0,-1 13 0,1-12 15,-13-1-15,13-13 0,-1 13 0,-12-13 16,13 0-16,-1 0 0</inkml:trace>
  <inkml:trace contextRef="#ctx0" brushRef="#br0" timeOffset="128323.78">11152 4762 0,'-13'27'15,"0"-14"-15,13 0 16,0 1-16,-14-1 0,14 0 0,-13 0 15,13 14-15,-13-14 0,13 0 0,0 0 16,-13 1-16,13-1 0,0 0 16,0 0-16,-13 1 0,13-1 15,0 0-15,0-39 63,0 12-63,13 1 15,-13 0-15,0 0 0,13-14 0,-13 14 16,13 0-16,-13 0 0,0-14 0,13 14 16,1-14-16,-14 14 0,13-13 15,0 12-15,-13 1 0,13 0 0,1 0 16,-14 0-16,13 13 0,0-14 0,0 14 16,1 0-1,-14 14-15,0-1 16,0 0-16,0 0 0,0 0 15,-14 1-15,14-1 0,0 0 16,0 0-16,0 1 0,0-1 16,14 0-16,-14 0 15,0 1-15,13-14 0,-13 13 16,0 0-16,13 0 0,-13 0 16,-13 1-16,13-1 15,-13-13-15,-1 13 16,1 0-16,0-13 0,0 0 15,-1 14-15</inkml:trace>
  <inkml:trace contextRef="#ctx0" brushRef="#br0" timeOffset="128625.3">10980 4630 0,'0'0'0,"-39"40"16,-1 26-1,13-40-15,14 14 0,0-13 0,0-1 16,13 1-16,0-14 0,-14 13 15,14-13-15,0 14 0,14-14 0,-14 0 16,13 1-16,-13-1 0,13 0 16,0 0-16,1 1 0,-1-14 0,13 13 15,-12-13-15,12 0 0,-13 0 0</inkml:trace>
  <inkml:trace contextRef="#ctx0" brushRef="#br0" timeOffset="128956.55">11390 4485 0,'0'0'0,"14"0"0,-1 13 0,0-13 16,13 26-16,-12-12 0,12 12 0,-13 14 15,1-14-15,-1 1 0,0-1 16,-13 1-16,0-1 0,0 0 16,0 1-16,-13 13 0,13-1 0,-13-12 15,-1 12-15,-12-12 0,-1 13 16,1-1-16,0-12 0,-27 12 0,26-12 15,1-1-15,-1 1 0,1-14 0,-1 14 16</inkml:trace>
  <inkml:trace contextRef="#ctx0" brushRef="#br0" timeOffset="130249.02">4299 6826 0,'0'0'0,"0"40"31,-13-27-15,13 0-16,0 1 0,0-1 15,0 0-15,0 0 0,0 1 0,-13-1 16,13 0-16,0 13 0,0-12 16,-13-1-16,13 0 15,0 0-15</inkml:trace>
  <inkml:trace contextRef="#ctx0" brushRef="#br0" timeOffset="130784.2">4154 6694 0,'-53'26'16,"40"-12"-16,0-1 0,-1 0 16,14 0-16,-26 27 0,13-14 15,-1 1-15,1-1 0,0 14 0,13-13 16,-13 12-16,13-26 0,0 14 0,0-1 16,0 1-16,0-14 0,13 14 0,0-14 15,-13 13-15,27-13 0,-14 1 16,13-1-16,1-13 0,-14 13 15,14-13-15,-1 13 0,0-13 0,1 0 16,-1 0-16,1 0 0,-14 0 0,13-13 16,1 13-16,-14 0 0,14-13 15,-14 13-15,13-13 0,-12-1 0,-1 14 16,0-13-16,0 0 0,0 13 16,1-13-16,-14 0 0,13-1 0,-13-12 15,0 13-15,0-1 0,0-12 0,0-1 16,0 14-16,0-13 0,0-1 15,0 1-15,-13-14 0,-1 14 16,14 12-16,-13-12 0,0 13 0,0 0 16,0-1-16,-1 1 0,1 0 0,0 0 15,-14 13-15,14 0 0,0 0 16,-14 0-16,14 0 0,-13 13 16,13-13-16,-1 13 0,1 0 0,0-13 0</inkml:trace>
  <inkml:trace contextRef="#ctx0" brushRef="#br0" timeOffset="131380.94">4247 7686 0,'0'0'0,"26"-13"0,-13 13 0,14 0 16,-14 13-16,0-13 15,-13 13-15,0 1 16,0-1 0,-13 13-16,13-12 0,-13-1 0,-14 0 15,14 13-15,-13 1 0,-1-14 0,14 0 16,-14 1-16,14-1 0,0 0 0,0-13 16,0 13-16,-1-13 0,14 14 15,-13-14-15,13 13 16,13-13-1,1 0-15,-1 0 0,0-13 16,0 13-16,14 0 0,-14 0 0,13-14 16,1 14-16,-1-13 0,-13 13 0,14-13 15,-1 13-15,-12-13 0,-1-1 16</inkml:trace>
  <inkml:trace contextRef="#ctx0" brushRef="#br0" timeOffset="131768.69">4088 7435 0,'0'0'16,"-53"26"-16,40-13 0,-14 14 16,1-1-16,13 14 0,-14-13 0,14 12 15,0 1-15,-1 0 0,1-1 0,13 14 16,0-13-16,0 0 0,0-1 15,13 1-15,1-14 0,-1 14 0,13-13 16,1-1-16,-1 0 0,1 1 0,12-14 16,-12 0-16,13 1 0,-14-14 15,0 0-15,1 0 0,-1 0 0,1-14 16,12 14-16,-12-13 0,13 0 0,-27 0 16,13-1-16,1 1 0,-14-13 15,0 13-15,0-14 0,1 14 0,-14-27 16,13 14-16,-13-1 0,0-12 0,-13-1 15,13 0-15,-14 1 0,1-1 16,0 0-16,0 14 0,0-1 16,13 1-16,-14 13 0,1-1 0,0 1 15,0 13-15,-1 13 16,1-13-16,0 14 16</inkml:trace>
  <inkml:trace contextRef="#ctx0" brushRef="#br0" timeOffset="132214.17">4061 8546 0,'0'0'0,"27"13"31,-27 0-31,0 1 0,0-1 15,-13 0-15,13 0 0,0 1 16,-14-1-16,14 0 16,0 0-16,0 1 0,14-1 15,-14 0-15,0 0 0,13 0 16,-13 1-16,0-1 16,0 0-16,0 0 15,-13 1-15,-1-14 0,14 13 16,-13-13-16,0 13 0,0-13 15,-1 0-15,1 0 0,0 0 16</inkml:trace>
  <inkml:trace contextRef="#ctx0" brushRef="#br0" timeOffset="132553.29">4008 8414 0,'0'0'0,"-39"13"0,26 0 0,-1 0 15,-12 1-15,13 12 0,-14 1 16,14-1-16,-14 14 0,14-1 0,0 1 16,0 0-16,13-1 0,-13 1 0,13 13 15,13-13-15,0-1 0,0 1 16,0-13-16,14 12 0,13-25 16,-14 12-16,14-13 0,-1 0 0,14 1 15,-26-14-15,26-14 0,-14 14 0,1-13 16,13-13-16,-13-1 0,-1 1 15,-12-1-15,13-12 0,-14 12 0,-13-12 16,0-1-16,-13 0 0,0 0 0,-13-12 16,0-1-16,-13 0 0,-1 0 15,1 0-15,-1 0 0,-13 13 0,14 1 16,0 12-16,12 14 0,-12 0 16,13-1-16,-1 14 0,1-13 15,0 26-15,0 1 0,-14-1 0,14 27 16,0-14-16</inkml:trace>
  <inkml:trace contextRef="#ctx0" brushRef="#br0" timeOffset="132961.5">3995 9604 0,'-13'0'0,"0"0"16,0 14-16,-1-1 0,1 0 15,-13 0-15,12 1 0,1-1 0,0 0 16,0 0-16,-1-13 0,14 13 0,-13 1 16,0-1-16,13 0 15,13 0 1,0 1-16,1-14 0,-1 0 16,0 0-16,14 13 0,-14-13 0,13 0 15,-12 0-15,12 0 16,-13-13-16,14 13 0,-14 0 0,13 0 15,-12-14-15,-1 14 0,0-13 0,0 0 16</inkml:trace>
  <inkml:trace contextRef="#ctx0" brushRef="#br0" timeOffset="133144.64">4128 9538 0,'-27'27'0,"14"-14"0,13 0 15,-13 14-15,13-14 0,-14 13 0,14 14 16,-13-14-16,0 14 0,13 0 0,-13-1 16,-1-12-16,14 13 0,-13-1 15,13-12-15,0-1 0,0 1 0,-13-14 16,13 13-16,0-12 0</inkml:trace>
  <inkml:trace contextRef="#ctx0" brushRef="#br0" timeOffset="133712.62">4075 9287 0,'0'0'0,"-40"0"0,-159 106 31,160-67-31,-1 1 0,14 0 0,-14 13 16,13-14-16,14 14 0,-13 0 16,13 0-16,13-13 0,-14-1 0,14 14 15,0-13-15,14 0 0,-1 13 0,0-14 16,0-12-16,14 13 0,-1-14 16,1 0-16,12-12 0,1-1 15,0 0-15,-1 0 0,1-13 0,0-13 16,-1 13-16,1-13 0,0 0 0,0-1 15,-1-12-15,-12 0 0,12 12 16,-12-12-16,-14-1 0,13 1 0,-12-1 16,-14-12-16,13 12 0,-13 1 0,-13-14 15,-1 0-15,1 1 0,0-14 16,-13 13-16,-1-13 0,1 0 0,-1 0 16,1 14-16,-14-1 0,27 14 0,-14-1 15,14 1-15,0 12 0,0 1 16,-1 13-16,1-13 0,0 26 15,0-13-15,13 13 0,-13 1 0,13 12 16,-14 1-16</inkml:trace>
  <inkml:trace contextRef="#ctx0" brushRef="#br0" timeOffset="134233.04">3956 10702 0,'-27'0'16,"27"14"-16,-13-14 0,0 13 15,-1 0-15,-12-13 0,13 13 0,-1 1 16,1-1-16,0 0 15,0-13-15,13 13 0,13 0 16,-13 1-16,13-14 0,0 13 16,1 0-16,12 0 0,-13 1 15,14-14-15,-14 13 0,0 0 0,1 0 16,-1 1-16,-13-1 0,0 0 0,0 0 16,0 0-16,-13 1 0,-1 12 15,-12 1-15,-14-1 0,14-13 0,-14 14 16,0-14-16,1 0 0,-14 0 0,13 1 15,0-1-15,1-13 0,12 0 16,1-13-16,-1 13 0,14 0 16,0 0-16,-14-14 0</inkml:trace>
  <inkml:trace contextRef="#ctx0" brushRef="#br0" timeOffset="134723.88">3612 10438 0,'-80'79'0,"54"-39"15,-1 13-15,14 0 0,-13 0 0,-1 0 16,14 13-16,0 0 0,-1-13 0,14 13 16,0 0-16,14 0 0,-1-13 15,0 13-15,14-13 0,-1 0 0,14-13 16,-1-1-16,1 1 0,13-13 0,0-1 16,0 1-16,13-14 0,-26-13 15,26 13-15,-26-26 0,12 13 16,15-27-16,-14 14 0,-1-13 0,1-1 15,-13 1-15,13-14 0,-27 0 0,14 1 16,0-1-16,-14 0 0,1-13 16,-14 0-16,0 14 0,0-1 0,-13-13 15,0 0-15,-13-13 0,0 13 0,0-13 16,-14 13-16,1 0 0,-14 13 16,0-12-16,1 25 0,-14-13 0,0 14 15,0 13-15,0-14 0,0 14 0,13 13 16,-12-13-16,12 13 0,0 0 0,0 0 15,1 13-15,-14-13 0,13 0 16,14 0-16,12 13 0,1-26 16,0 13-16</inkml:trace>
  <inkml:trace contextRef="#ctx0" brushRef="#br0" timeOffset="135563.99">8943 6720 0,'-13'27'31,"13"-1"-31,-14-12 16,14-1-16,0 13 0,-13 1 0,13-1 16,0 1-16,0-14 0,0 13 15,0-12-15,-13-1 0,13 0 16,0 0-16,0 0 0,0 1 0,0-1 15</inkml:trace>
  <inkml:trace contextRef="#ctx0" brushRef="#br0" timeOffset="135961.72">8705 6601 0,'-146'186'15,"133"-147"-15,0-12 16,0 12-16,13 1 0,0-13 16,13 12-16,0-12 0,0 12 0,14-12 15,-1-1-15,1 1 0,-1-14 0,1 13 16,12-12-16,-12-1 0,-1-13 15,-13 0-15,14 13 0,-1-13 0,-12-13 16,12 13-16,0-13 0,1-1 16,-1-12-16,1 13 0,-1-14 0,-12 1 15,-1-14-15,0 14 0,-13-14 0,0 14 16,0-14-16,-13-13 0,0 13 16,-1-13-16,-12 0 0,13 14 0,-14 12 15,14 1-15,-14-1 0,14 14 16,0 0-16,-13 0 0,12 13 0,1 0 15,0 0-15,0 13 0,-1 0 0,-12 0 16</inkml:trace>
  <inkml:trace contextRef="#ctx0" brushRef="#br0" timeOffset="136395.6">8916 7752 0,'0'0'0,"27"0"0,-14 14 0,0-14 16,1 0-16,-14 13 0,0 0 15,0 0-15,0 0 0,0 1 0,-14 12 16,-12 1-16,13-1 0,-1 1 16,-12-1-16,13 0 0,-14-12 0,14-1 15,0 0-15,13 0 0,-13-13 0,13 14 16,-14-14-16,14 13 0,14-13 31,12 0-31,-13 0 16,14-13-16,-14 13 0,13-14 0,-12 1 15,12 13-15,1-26 0,-1 12 16,1-12-16,-1 0 0,-13 12 16,0-25-16</inkml:trace>
  <inkml:trace contextRef="#ctx0" brushRef="#br0" timeOffset="136712.06">8877 7567 0,'-252'146'31,"226"-107"-31,-1-12 0,14 12 16,0 1-16,0 0 0,0 13 16,13-14-16,0 1 0,13 0 0,0-1 15,13 1-15,-12-13 0,25-1 0,-12 1 16,13-14-16,-1 0 15,1 0-15,-14-13 0,14 0 0,0 0 16,13-13-16,0-13 0,-14 12 0,14-12 16,-26-14-16,-1 14 0,1-14 15,-1 0-15,-26 1 0,13-14 0,-13 13 16,-13-26-16,0 13 0,0-13 0,-1 13 16,-12 0-16,13 13 0,-1 14 0,-12-1 15,13 1-15,0 13 0,-1-1 16,1 14-16,0 0 0,13 14 0,-13-14 15,-14 13-15,14 13 0</inkml:trace>
  <inkml:trace contextRef="#ctx0" brushRef="#br0" timeOffset="137157.64">8718 8797 0,'26'14'0,"-52"-28"0,66 41 0,-40-14 16,0 0-16,-14 1 0,14-1 16,0 0-16,-13-13 15,13 13-15,0 0 0,0 1 0,13-1 16,1 0-16,-1 0 15,0 1 1,0-1-16,-13 0 16,-13 0-1,13 1-15,-13-14 0,0 0 16,13 13-16,-14-13 0,1 0 0,0 13 16,0-13-16,0 0 0</inkml:trace>
  <inkml:trace contextRef="#ctx0" brushRef="#br0" timeOffset="137628.51">8480 8652 0,'-66'40'0,"132"-80"0,-159 106 0,54-40 0,12 1 15,-13 13-15,14 13 0,13-14 0,-14 14 16,14-13-16,13 0 0,-13-1 15,13 1-15,13 13 0,0-13 0,1-14 16,12 14-16,0-14 0,14 1 0,13-1 16,0-13-16,-13 0 0,26-13 15,-13-13-15,13 0 0,0 0 0,0 0 16,0-14-16,0 1 0,-13-1 16,0-12-16,-13-1 0,0 0 15,-14 14-15,-13-14 0,1 0 0,-14 1 16,0-14-16,-14 13 0,-12-13 0,-1 0 15,1 0-15,0 14 0,-1-14 0,1 26 16,-1 1-16,-13-1 0,14 14 16,0 0-16,-1 13 0,14 0 0,-14 13 15,1-13-15,-1 26 0,1 1 0</inkml:trace>
  <inkml:trace contextRef="#ctx0" brushRef="#br0" timeOffset="138020.1">8599 9975 0,'-27'13'0,"-78"53"32,91-53-32,1 1 0,0-1 15,0 0-15,0 0 0,-1 1 16,14-1-16,0 0 15,14 0-15,-1-13 16,0 13-16,13-13 0,1 0 16,-14 0-16,14 0 0,-1 0 0,0 0 15,1-13-15,-14 13 0,14-13 0,-14 0 16,13 0-16,-12-1 0,-1 1 16</inkml:trace>
  <inkml:trace contextRef="#ctx0" brushRef="#br0" timeOffset="138174.2">8718 9922 0,'-13'0'0,"-14"13"16,14 0-16,0 1 0,0 12 16,13-13-16,-14 27 0,1-14 15,0 1-15,0-1 0,13 1 0,0-1 16,-14 1-16,14-1 0,0 1 0,0-1 16,-13 1-16,13-1 0,0-13 15,0 14-15,0-14 0,0 13 0</inkml:trace>
  <inkml:trace contextRef="#ctx0" brushRef="#br0" timeOffset="138656.97">8731 10888 0,'-26'13'0,"-54"0"31,67-13-31,-13 0 0,12 13 0,1-13 0,0 14 16,0-14-16,0 13 0,13 0 16,13 0-1,0 0 1,0-13-16,0 14 0,-13-1 0,14-13 15,-14 13-15,13-13 0,-13 13 0,0 1 16,-13-1-16,13 0 16,-14 0-16,1 0 0,0 1 0,0-1 15,0-13-15,-1 13 0,1-13 0,0 0 16,0 0-16,-1 0 16,14-13-16</inkml:trace>
  <inkml:trace contextRef="#ctx0" brushRef="#br0" timeOffset="138988.65">8453 10716 0,'-39'13'0,"-67"66"15,79-39 1,-12 0-16,12-1 0,1 1 0,-1 13 16,1 0-16,13 0 0,-1 0 15,1-14-15,13 14 0,0-13 0,13 0 16,1-1-16,-1 1 0,13 0 0,1-14 15,13 1-15,-1-14 0,14 0 16,0-13-16,0 0 0,13-13 0,0 0 16,0-1-16,-13-12 0,53-40 15,-53 39-15,-13-12 16,-14 12-16,-13 1 0,1-14 0,-1 14 16,-13-1-16,0 1 0,-13-14 0,-1 13 15,-12 1-15,0 0 0,-14-14 0,0 13 16,-13 1-16,0 0 0,0 12 15,0-12-15,14 13 0,-1-1 0,0-12 16,1 13-16,-1-1 0,14 1 0,-1 0 16,1-13-16,-14 12 15</inkml:trace>
  <inkml:trace contextRef="#ctx0" brushRef="#br0" timeOffset="139429.31">8321 9459 0,'0'0'0,"-53"40"0,27-14 16,-14 0-16,0 14 0,1 13 0,-1 0 15,0 0-15,14 13 0,-1 0 0,1 0 16,0 0-16,12 14 16,14-14-16,-13 0 0,26 0 0,1 0 15,12-13-15,0 0 0,14 0 0,0-13 16,13-14-16,0 1 0,13-1 16,0-13-16,79-26 0,1-13 15,-1-27-15,-52 13 16,-14 1-16,1-14 0,-14-14 15,0 15-15,-13-1 0,-13-14 0,-27 15 16,13-15-16,-26 1 0,-13 0 0,-13 0 16,-1 0-16,-12 13 0,-1 0 15,-13 0-15,0 13 0,-13 14 16,0-1-16,-14 1 0,14 13 0,0 0 16,13-1-16,-13 14 0,13 0 0,-26 0 15,-1 14-15,-92-1 16,93-13-16</inkml:trace>
  <inkml:trace contextRef="#ctx0" brushRef="#br0" timeOffset="141854.91">1085 7673 0,'0'40'0,"0"26"16,0-53-1,0 0-15,13 14 0,-13-14 0,0 0 16,0 14-16,0-14 0,0 0 16,0 0-16</inkml:trace>
  <inkml:trace contextRef="#ctx0" brushRef="#br0" timeOffset="142373.75">966 7951 0,'0'13'31,"13"0"-16,-13 0-15,13 1 16,-13-1-16,13-13 0,-13 13 16,14 0-16,-14 1 0,13-14 15,0 13-15,0-13 16,1 0-16,-1 0 16,0 0-16,0-13 0,0-1 15,1 1-15,-1 0 0,0-14 0,0 14 16,1 0-16,-14-13 0,13 12 15,0-12-15,0 13 0,-13-1 0,14 1 16,-14 0-16,13 0 0,0-1 16,0 1-16</inkml:trace>
  <inkml:trace contextRef="#ctx0" brushRef="#br0" timeOffset="144132.76">728 8811 0,'13'-14'31,"0"1"-15,-13 0-16,13 0 0,1-1 16,-14 1-16,13 0 0,0-13 0,-13-1 15,13 1-15,-13-1 0,0 1 0,0-1 16,0 1-16,0-1 0,-13 14 16,13-13-16,0 12 0,-13-12 0,13 13 15,0 0-15,-13 13 0,-1 13 31,14 0-31,0 13 0,-13 1 16,13 13-16,13-1 0,-13 14 0,0-13 16,14 13-16,-14 13 0,13-13 0,-13-13 15,13 12-15,0-12 0,-13 0 16,13 0-16,-13-14 0,0 0 0,14 1 16,-14-14-16,0 14 0,0-14 0,-14 0 15,14 0-15,0 1 0,0-1 16,-13-13-16,0 13 15,-13-13-15,12 0 16,1-13-16,0 0 16,0-1-16,-1 14 15,14-13-15,0 0 0,-13 0 16,26-1-16,-13 1 0,0 0 16,14 0-16,-14-1 0,13 1 15,0 0-15,14-13 0,-1-1 0,-13 1 16,14 12-16,-14-12 0,0-1 0,0 14 15,1 0-15,-1-27 16,0 1-16,-13 25 16,0 1-16,0 0 0,0 0 0,0-1 15,0 1-15,-13 13 16,13-13-16,-13 13 0,-1 0 16,14 13-1,-13-13-15,13 13 0,0 1 16,0-1-16,0 0 0,0 0 15,13 1-15,-13-1 0,14 0 16,-1-13-16,-13 13 0,13-13 16,0 14-16,0-14 0,1 0 15,-14 13-15,13-26 0,0 13 16,0-14-16,-13 1 16,0 0-16,0 0 15,0-1-15,0 1 16,0 0-16,0 0 0,0-1 0,0-12 15,0 13 1,0 0 0,14 13-16,-1 13 15,0-13 1,-13 13-16,13 0 0,1-13 0,-14 13 16,13-13-16,-13 14 0,13-14 0,0 13 15,0-13-15,-13 13 16,14-13-16,-1 0 0,0 0 31,-13-13-15,0 0-16,0-1 15,0 1-15,13 0 0,-13 0 16,0 0-16,14-1 0,-14 1 16,0 0-16,13 13 15,-13-13-15,0-1 0,13 14 0,-13-13 16,0 0-1,0 0 1,13 39 47,1-13-48,-1-13-15,0 0 16,0 14-1,0-14-15,-13 13 16,14-13-16,-14 13 0,13 0 31,-13 1-31,0-28 47,13 1-31,-13 0-16,13 0 0,-13-1 15,14 1-15,-14 0 0,13 0 16,-13-1-16,13 1 0,0 13 0,-13-13 16,14 13-16,-1-13 0,0 13 15,0 0 1</inkml:trace>
  <inkml:trace contextRef="#ctx0" brushRef="#br0" timeOffset="147233.81">1217 8639 0,'13'-27'47,"-13"14"-32,0 0 1,0-14 0,0 14-1,-13 39 17,13-12-17,0 12 1,13-13-16,-13 1 15,14-1 1,-1-13 0</inkml:trace>
  <inkml:trace contextRef="#ctx0" brushRef="#br0" timeOffset="147600.9">1310 8546 0,'0'53'15,"0"-40"1,0 0-16,0 14 16,0-14-16,0 0 0,0 1 15,0-1-15,-14-13 0,14 13 0,0 0 16,0-39 31,14 26-47,-14-13 0,0-1 15,13 1-15,0 0 0,-13 0 0,13-1 16,1 1-16,-1 0 16,0 0-16</inkml:trace>
  <inkml:trace contextRef="#ctx0" brushRef="#br0" timeOffset="147721.12">1548 8493 0</inkml:trace>
  <inkml:trace contextRef="#ctx0" brushRef="#br0" timeOffset="158799.96">5146 6204 0,'-13'0'15,"0"0"1,26 14 62,0-14-78,0 0 16,1 13-1,-1-13-15,0-13 0,0 13 16,1 0-16,-1 0 16,0 0-16,0 0 0,0 0 0,1 0 15,-1-14-15,0 14 0,0 0 16</inkml:trace>
  <inkml:trace contextRef="#ctx0" brushRef="#br1" timeOffset="165880.14">6443 4762 0,'-27'0'0,"-13"14"31,27-1-31,0-13 0,13 13 16,-13-13-16,13 13 0,-13-13 15,13 14-15,0-1 0,13-13 16,0 13-16,0-13 16,0 0-16,1 13 0,-1-13 15,0 0-15,0 14 0,1-14 0,-1 13 16,0-13-16,0 0 0,1 13 16,-14 0-1,0 0-15,-14-13 16,1 14-16,13-1 0,-26 0 0,12-13 15,1 13-15,-13-13 0,12 14 16,1-1-16,-13-13 0,13 0 0,-1 13 16,1-13-16,0 0 0</inkml:trace>
  <inkml:trace contextRef="#ctx0" brushRef="#br1" timeOffset="166574.03">6601 4776 0,'-26'0'0,"52"0"0,-65 0 15,25 0 1,1 0-16,13 13 15,-13 0-15,0 0 16,13 1-16,0-1 16,0 0-16,0 0 15,0 1-15,13-14 16,-13 13-16,13-13 16,0 0-16,1 0 15,-14-13-15,13 13 16,-13-14-16,13 1 15,-13 0-15,13 0 16,-13-1 0,0 1-16,0 0 15,14 13-15,-14-13 16,13 13 0,0 0-16,0 0 15,1 13-15,-1-13 0,-13 13 16,13 0-16,-13 1 15,13-14-15,-13 13 0,0 0 16,0 0 0,0-39 31,0 13-32,13 13-15,-13-14 0,0 1 16,14 13-16,-14-13 0,13 0 0,-13-1 15,13 14-15,-13-13 0,13 13 16,1 0 0,-1 0-1,0 0-15,-13 13 0,13 1 16,-13-1-16,13 0 16,-13 0-16,0 1 15,0-1-15,14-13 16,-14 13-16</inkml:trace>
  <inkml:trace contextRef="#ctx0" brushRef="#br1" timeOffset="166725.74">6839 4617 0,'0'0'0,"-13"-13"31</inkml:trace>
  <inkml:trace contextRef="#ctx0" brushRef="#br1" timeOffset="167216.84">6998 4524 0,'13'14'32,"-13"-1"-32,0 0 0,0 14 0,14-14 15,-14 0-15,0 0 0,0 14 16,0-14-16,0 0 0,0 0 0,13 27 31,-13-27-31,0 0 0,0 1 31,-13-14-15,-1 0-16,1 0 16,0 0-1,0 0-15,13 13 0,-13-13 16,-1 13-16,14 0 0,-13-13 16,13 14-16,0-1 15,0 0-15,13-13 0,1 0 16,-1 13-1,-13-26-15,13 13 0,13 0 0,-12 0 16,-1-13-16,0 13 0,0-13 16,1-1-16,-1 14 0,0-13 15,0 0-15,-13 0 0,14-1 16,-14 1-16,0 0 16,-14 0-1,1 26 1,0-13-16,0 0 15,-1 13 1</inkml:trace>
  <inkml:trace contextRef="#ctx0" brushRef="#br1" timeOffset="167900.79">7302 4670 0,'-26'13'31,"13"0"-31,13 1 0,-13-1 0,13 0 16,-14-13-16,14 13 16,0 0-16,0 1 0,0-1 31,14-13-16,-1 0 1,0 0-16,-13-13 0,13 13 0,-13-14 16,13 14-16,-13-26 15,0 13-15,0 0 16,0-1-16,0 1 31,-13 0-31,26 13 31,1 13-15,-1-13 0,0 0-16,-13 13 0,13-13 15,1 14-15,-1-1 16,0 0 0,0-13 15,1-13-31,-1 13 15,0-13 1,0 13 0,0 0-16,1 0 15,-1 0-15,0 0 32</inkml:trace>
  <inkml:trace contextRef="#ctx0" brushRef="#br2" timeOffset="172320.49">12316 4657 0,'0'-14'0,"0"41"32,0-14-17,0 0-15,0 1 0,0-1 0,0 13 16,0-13-16,0 14 0,0-14 0,0 0 16,0 14-16,0-14 0,0 0 15,0 1-15,0-1 0,0 0 0,0 0 16,0 0-16</inkml:trace>
  <inkml:trace contextRef="#ctx0" brushRef="#br2" timeOffset="172641.86">12277 4564 0,'0'-13'0,"53"0"31,-40 13-31,0 0 16,0 13-16,0-13 0,1 13 15,-1 0-15,0 1 0,0-1 0,-13 0 16,0 0-16,0 0 15,-13 1-15,13-1 0,-13 0 16,0 0-16,13 1 0,-14-1 0,1 0 16,0-13-16,0 13 0,0 0 0,-1-13 15,1 0-15,13 14 16</inkml:trace>
  <inkml:trace contextRef="#ctx0" brushRef="#br2" timeOffset="172864.89">12515 4498 0,'0'0'15,"13"0"-15,0 13 16,-13 0 0,0 1-16,0-1 0,13 13 15,-13-12-15,0 12 0,0 0 0,0-12 16,0 12-16,-13-13 0,13 14 15,0-14-15,0 13 0,0-12 0,0-1 16,0 0-16,0 0 0,0 1 16,13-1-16,-13 0 15</inkml:trace>
  <inkml:trace contextRef="#ctx0" brushRef="#br2" timeOffset="173336.25">12859 4670 0,'-13'-13'0,"-14"-1"15,14 28 1,0-14-16,-1 0 0,14 13 16,-13 0-16,0 0 0,0 1 0,-1-1 15,14 0-15,-13-13 0,13 13 0,-13 0 16,13 1-16,0-1 0,0 0 16,13 0-1,14-26-15,-14 0 16,0 13-16,0-13 15,1-1-15,-1 1 0,0 0 16,0 0-16,-13 0 0,0-1 0,14 14 16,-14-13-16,13 13 0,-13-13 15,13 26 17,-26 0-32,13 1 15,0-1-15,0 0 16,0 0-16,0 0 15,13-13-15,-13 14 0</inkml:trace>
  <inkml:trace contextRef="#ctx0" brushRef="#br2" timeOffset="173774.53">13097 4564 0,'-13'-13'0,"-1"26"15,1 0-15,0 1 16,0-1-16,13 0 0,-13 0 16,-1 0-16,14 1 15,0-1-15,-13 0 0,13 0 0,0 1 0,0-1 16,0 0-16,13-13 15,-13 13-15,14-13 16,-1 13-16,0-13 0,13-13 16,-12 13-16,-14-13 0,13 13 15,0-13-15,0 0 16,-13-1-16,14 1 0,-14 0 16,13 13-16,-13-13 0,0-1 15,-13 41 16,-1-27-31,14 13 0,0 0 0,0 1 16,0-1 0,0 0-1,14-13-15,-14 13 16,26-13-16,-13-13 16</inkml:trace>
  <inkml:trace contextRef="#ctx0" brushRef="#br2" timeOffset="174224.09">13467 4405 0,'-13'53'15,"0"-26"1,13-14-16,-13 0 0,13 0 16,0 14-16,-14-14 0,14 14 0,-13-14 15,13 0-15,0 0 0,0 0 0,-13 1 16,13-1-16,0 0 16,0 0-16,13-26 31,0 13-16,-13-13-15,14 13 0,-1-13 16,0-1-16,0 14 0,1-13 16,-1 13-16,0 0 0,0 0 15,0 0 1,-13 13-16,0 1 16,0-1-16,-13 0 15,0 0-15,0-13 16,13 14-16,-13-1 0,-1-13 0,1 0 15,0 13 1</inkml:trace>
  <inkml:trace contextRef="#ctx0" brushRef="#br2" timeOffset="174539.9">13719 4511 0,'-27'27'16,"14"-14"-1,13 0-15,-13-13 0,13 13 16,0 1-16,-14-14 0,14 13 16,0 0-16,14-13 15,-14 13-15,13-13 0,13 0 16,-12-13-1,-1 0 1,-13 0-16,13 13 0,-13-14 16,0 1-16,0 0 0,-13 0 15,13-1-15,-13 1 16,-1 0-16,1 13 16,0 0-16,0 0 0,-1 0 15</inkml:trace>
  <inkml:trace contextRef="#ctx0" brushRef="#br3" timeOffset="182996.73">225 10544 0,'0'-14'0,"0"28"32,13-1-17,-13 0-15,0 0 0,13 14 0,-13-14 16,0 0-16,14 14 0,-14-1 15,13-13-15,-13 14 0,0-14 0,0 0 16,13 14-16,-13-14 0,0 0 0,0 0 16,13 1-16,-13-1 15,-13-26 17,13-14-32,0 14 15,-13-13-15,13-14 0,-13 0 16,13 0-16,0 1 0,-14-1 0,14-13 15,-13 14-15,13 12 0,0 1 0,0-1 16,0 1-16,0 12 0,13 1 16,-13 0-16,0 0 0,0 0 0,0-1 15,14 14-15,-1 0 16,0 14 0,0-1-16,1 0 0,-1 0 0,0 27 15,0-14-15,0 1 0,1-1 0,-1 1 16,0-1-16,-13 1 0,13-1 15,-13-13-15,14 14 0,-14-14 0,13 13 16,-13-12-16,13-1 0,-13 0 0,13 0 16,-13 1-16,13-1 15</inkml:trace>
  <inkml:trace contextRef="#ctx0" brushRef="#br3" timeOffset="183220.96">198 10689 0,'-13'0'0,"40"-26"31,-14 26-31,0-14 0,14 1 16,-14 13-16,13-13 0,1 0 0,-1 0 15,14-1-15,-14 1 0,-12 0 0,12 0 16,0-1-16,-12 1 16</inkml:trace>
  <inkml:trace contextRef="#ctx0" brushRef="#br3" timeOffset="184056.83">635 10067 0,'0'0'16,"-13"-13"-16,0 13 0,-1 13 31,14 1-31,0-1 0,0 13 0,0 1 0,0-1 16,0 14-16,0 13 15,14-13-15,-14-1 0,13 14 0,-13-13 16,13 13-16,0-14 0,-13 1 0,13 0 15,1-1-15,-14-12 0,13-1 16,-13-12-16,13 12 0,-13-13 0,0 1 16,0-1-16,0 0 0,0 0 15,0 0-15,-13-13 16,0 0-16,-1 0 16,1-13-16,0 13 0,0 0 15,13-13-15,-13 13 0,-1-13 0,1 13 16,13-13-1,-13-1-15,13 1 16,0 0-16,0 0 0,0-1 16,13 14-16,-13-13 0,13 0 15,1 0-15,-14-1 0,13 1 0,0 0 16,0 0-16,0 0 0,1-1 0,-1-12 16,-13 13-16,13-1 0,0 1 15,-13 0-15,0-13 0,14 12 0,-14 1 16,0-13-16,0 12 0,13-12 0,-13-1 15,0 1-15,0 0 0,0-1 16,0 14-16,0-14 0,0 14 0,0-13 16,0 12-16,0 1 0,0 0 15,0 0-15,0 0 0,0-1 16,0 1-16,0 53 31,0-14-15,0-13-16,0 14 0,0-1 15,0 1-15,13 26 0,-13-40 16,0 13-16,27 14 16,-27-27-16,13 1 0,-13-1 15,13-13-15,0 13 0,0-13 0,-13 13 16,14-13-16,-1 0 0,0 0 16,-13-13-16,13 13 0,-13-13 15,14 13-15,-14-13 0,0-1 0,13 14 16,-13-13-16,0 0 0,0 0 15,0-1-15,13 41 32,-13-14-17,13-13-15,-13 13 0,13 1 16,1-14-16,-14 13 16,13-13-16,0 0 0,0 0 15,1 0-15,-1-13 16</inkml:trace>
  <inkml:trace contextRef="#ctx0" brushRef="#br3" timeOffset="184247.73">622 10332 0,'39'-13'31,"-25"0"-31,-1 13 0,13-14 0,-12 14 0,-1-13 16,13 13-16,-12-13 0,12 13 15,-13-13-15,0 13 0</inkml:trace>
  <inkml:trace contextRef="#ctx0" brushRef="#br3" timeOffset="184500.92">1019 10186 0,'0'0'15,"13"14"-15,0-1 16,-13 0-16,13 0 0,-13 1 16,0-1-16,14-13 0,-14 13 15,0 0-15,0 1 0,0-1 16,0 0-16,0 0 16,13-39 15,-13 13-16,13-1-15,-13 1 0,0 0 0,13 0 16,-13-1-16,0 1 0,13 0 0,-13 0 16,14-1-16,-1 14 15</inkml:trace>
  <inkml:trace contextRef="#ctx0" brushRef="#br3" timeOffset="185151.92">556 11232 0,'53'-14'31,"-40"28"-31,0-1 0,-13 0 16,13 0-16,-26 0 15,13 1-15,0-1 0,0 0 16,-13 0-16,13 1 0,0-1 0,-13-13 16,13 13-16,0 0 15,-14 1-15,14-1 16,14-26 15,-1 13-31,0 0 16,0-14-16,14 14 0,-14-13 0,0 0 15,14 0-15,-14-1 0,0 14 16,14-13-16,-14 0 0,0 0 0,0-1 16,0 1-16</inkml:trace>
  <inkml:trace contextRef="#ctx0" brushRef="#br3" timeOffset="185505.23">966 10954 0,'0'-13'0,"0"39"31,0-13-31,0 0 16,0 1-16,0 12 0,13-13 0,-13 1 15,0 12-15,13-13 0,-13 0 0,0 1 16,13-1-16,-13 0 0,0 0 15,14 1-15,-14-1 0,0 0 16,-14-13 0,1 0-1,0 0-15,0 0 0,-1 0 16,1 0-16,0 0 16,13 13-16,-13-13 0,0 0 15,-1 14-15,1-1 0,13 0 16,-13-13-16,13 13 0,0 0 15,0 1 1,13-14-16,0 0 0,1 0 16,-1 0-16,0 0 0,13 0 15,-12-14-15,12 1 0,-13 13 16</inkml:trace>
  <inkml:trace contextRef="#ctx0" brushRef="#br3" timeOffset="186325.67">1217 11060 0,'-40'0'16,"27"0"-16,0 13 16,0-13-16,13 13 15,-14 0-15,14 0 16,0 1-1,0-1-15,0 0 16,14-13 0,-1-13-1,0 13-15,-13-13 0,13 13 16,-13-14-16,14 1 0,-14 0 16,13 13-1,-13-13-15,13 13 0,-13-13 16,13 26 31,-13 0-32,14-13 1,-1 0 0,0-13-1,0 0 1,0 13-16,1-14 15,-1 14 1,0 14-16,0-1 16,-13 0-16,14-13 15,-1 13-15,-13 0 0,13 1 0,-13 12 16,13-13-16,-13 1 0,14-1 0,-14 0 16,0 0-16,0 1 0,0-1 15,0 0-15,0 0 0,0 0 0,-14-13 16,14 14-16,-13-1 15,0-26 1,0-14 0,26 14-1,-13 0-15,0 0 0,0-1 16,13 14-16,-13-13 0,0 0 16,13 0-16,-13-1 0,0 1 0,14 0 15,-14 0-15,13-1 0,-13 1 0,13 0 16,-13 0-16,13 0 0,-13-1 15,13 1-15,1 0 16,-14 0-16,13 13 16,0 0-16,0 13 15,-13 0 1,14-13-16,-14 13 16,0 1-16,0-1 0,-14-13 15,14 13-15,0 0 16,-13-13-16,13 13 0,-13-13 15</inkml:trace>
  <inkml:trace contextRef="#ctx0" brushRef="#br3" timeOffset="186440.53">1746 10927 0</inkml:trace>
  <inkml:trace contextRef="#ctx0" brushRef="#br3" timeOffset="188495.74">4630 6972 0,'0'13'47,"0"0"-31,0 0-16,0 1 15,13-14-15,-13 13 16,0 0-1,14-13 1,12 0 0,-13-13-1,14 13-15,-14-13 0,0 13 0,0-14 0,14 14 16,-14-13-16,0 0 16,14 13-16,-14-13 0,0 13 0,1-13 15,-1 13-15,0-14 0,0 14 0,0 0 16,-13-13-16,14 13 0,-1 0 15,-13 13 32,0 14-47</inkml:trace>
  <inkml:trace contextRef="#ctx0" brushRef="#br3" timeOffset="189135.79">4670 7845 0,'0'0'0,"13"-13"32,0 26-17,-13 0 1,0 0-16,0 1 15,0-1-15,0 0 16,0 0-16,0 1 16,14-1-1,12-13 1,-13-13-16,0 13 16,1 0-16,-1-14 0,0 1 15,0 13-15,1-13 0,-1 0 0,0 13 16,0-14-16,1 14 0,-1-13 15,0 0-15,0 13 0,0-13 16,1 13-16,-1-14 16,0 28 15</inkml:trace>
  <inkml:trace contextRef="#ctx0" brushRef="#br3" timeOffset="189784.7">4710 8639 0,'0'13'31,"0"0"-16,0 0-15,0 1 16,0-1-16,13 0 16,0-13-1,0 0 1,0-13-16,1 13 16,-1-13-16,0 13 0,0-14 0,1 14 15,-1-13-15,0 0 0,0 13 16,1-13-16,-1 13 0,0-14 0,0 1 15,0 13-15,-13-13 0,14 13 16,-1 0-16,-13-13 0,13 13 16,0-14-1</inkml:trace>
  <inkml:trace contextRef="#ctx0" brushRef="#br3" timeOffset="190547.6">4604 9882 0,'0'0'0,"-27"13"31,27 1-15,-13-1-16,13 0 0,-13 0 15,13 1-15,-13-1 0,13 13 0,-14-13 0,1 14 16,13-14-16,-13 0 0,0 1 16,13-1-16,-14 0 0,14 0 0,-13 1 15,13-1-15,-13-13 0</inkml:trace>
  <inkml:trace contextRef="#ctx0" brushRef="#br3" timeOffset="190809.87">4419 9948 0,'13'27'31,"0"-27"-31,0 13 16,-13 0-16,13-13 0,-13 13 15,14 1-15,-1-1 0,0 0 16,0 0-16,1-13 0,-14 14 0,13-1 16,0-13-16,0 13 0,1-13 0,-1 13 15,0 1-15,0-1 16</inkml:trace>
  <inkml:trace contextRef="#ctx0" brushRef="#br3" timeOffset="191368.84">4829 10901 0,'0'-13'0,"-14"13"16,1 13-1,0 0 1,13 0-16,-13-13 15,-1 14-15,14-1 0,-13 0 0,0-13 16,13 13-16,-13 0 0,0 1 0,-1-1 16,1 0-16,0 0 15</inkml:trace>
  <inkml:trace contextRef="#ctx0" brushRef="#br3" timeOffset="191631.67">4657 10941 0,'13'0'0,"13"13"31,-12-13-31,-1 13 0,0-13 16,0 13-16,0-13 0,1 0 15,-1 13-15,0-13 16,0 0-16,-13 14 0,14-14 0,-1 13 16,0-13-16,0 13 0,1-13 15,-14 13 1,13-13-16</inkml:trace>
  <inkml:trace contextRef="#ctx0" brushRef="#br3" timeOffset="193417.02">9260 6747 0,'0'26'47,"0"-12"-32,0 12 1,0-13-16,0 0 16,0 1-16,0-1 15,14-13-15,-1 0 16,13 0 0,-12 0-16,-1-13 0,13 13 15,-13-14-15,14 1 0,-14 13 0,14-13 16,-14 0-16,13 0 0,1-1 15,-14 14-15,13-13 0,-12 0 0,12 13 16,-13-13-16,1-1 0,-1 14 0,-13-13 16,13 13-16,0 0 0,-13-13 15,14 13-15,-14 13 32,0 0-17</inkml:trace>
  <inkml:trace contextRef="#ctx0" brushRef="#br3" timeOffset="194052.37">9379 7805 0,'14'27'47,"-14"-14"-47,0 0 16,13-13-16,-13 13 15,13-13-15,0 0 16,1 0-1,-1 0-15,0-13 0,0 13 16,1-13-16,-1 0 0,0-1 0,13 14 16,-12-13-16,-1 0 0,0 0 0,14 0 15,-14 13-15,0-14 0,0 1 16,1 13-16,-1-13 16,-13 39-1</inkml:trace>
  <inkml:trace contextRef="#ctx0" brushRef="#br3" timeOffset="194696.69">9287 8890 0,'0'0'0,"0"26"47,0-12-47,13-14 0,-13 13 0,0 0 16,13 0-16,1 1 31,-1-14-31,0 0 15,0 0-15,0-14 16,1 14-16,-1-13 0,0 0 16,0 13-16,1-13 0,-1-1 0,0 14 15,0-13-15,1 13 0,-1-13 0,0 13 16,0-13-16,0 0 16,1 13-16,-1 0 0,-13-14 15,13 14-15,-13-13 16</inkml:trace>
  <inkml:trace contextRef="#ctx0" brushRef="#br3" timeOffset="195427.22">9604 10054 0,'0'-13'0,"-13"39"32,0-12-17,13-1-15,0 0 0,-13 0 0,-1 1 0,14-1 16,-13 0-16,13 0 0,-13 0 0,13 1 16,-13-1-16,13 0 0,-13-13 15,13 13-15,-14-13 0,14 14 16</inkml:trace>
  <inkml:trace contextRef="#ctx0" brushRef="#br3" timeOffset="195652.53">9459 10107 0,'26'27'31,"-12"-14"-31,-14 0 16,13-13-16,-13 13 0,13-13 0,-13 13 15,13 1-15,0-1 0,1 0 16,-1 0-16,-13 1 16,13-14-16</inkml:trace>
  <inkml:trace contextRef="#ctx0" brushRef="#br3" timeOffset="196156.83">9499 10941 0,'0'0'15,"-27"13"1,14 0-16,0 0 16,13 0-16,-14 1 15,1-1-15,13 0 0,-13 0 0,0 1 16,-1-1-16,1 0 0,13 0 16,-13 0-16</inkml:trace>
  <inkml:trace contextRef="#ctx0" brushRef="#br3" timeOffset="196444.46">9247 10980 0,'40'13'0,"-27"1"16,0-14-16,1 13 0,-1-13 0,0 13 16,0-13-16,0 13 0,14-13 0,-14 14 15,0-14-15,1 13 16,12 0-16,-13-13 0,1 13 0,-1-13 15,0 13-15</inkml:trace>
  <inkml:trace contextRef="#ctx0" brushRef="#br3" timeOffset="198100.81">9406 11099 0,'-27'13'15,"27"1"-15,-13-14 0,13 13 0,-13-13 16,13 13-16,-13-13 0,0 13 16,-1 1-16</inkml:trace>
  <inkml:trace contextRef="#ctx0" brushRef="#br3" timeOffset="-207474.81">3770 11919 0,'-13'14'31,"13"-1"-16,0 0-15,0 0 0,-13 1 0,13-1 16,0 13-16,-13-12 0,13-1 0,0 13 16,-14-13-16,14 14 0,0-14 0,0 0 15,0 1-15,0 12 0,0-13 16,14 14-16,-14-14 16,13 0-16,-13 0 15,13-13-15,0 0 0,1 14 0,-1-14 16,0 0-16,0 13 0,0-13 15,14 0-15,-14 0 0,14 0 0,12 0 16,-12 0-16,-1 13 0,14-26 16,13 26-16,-13-13 0,79-13 15,-67 13-15,68 0 0,-54 0 16,13-13-16,-13 13 0,0 0 16,14 0-16,-14-14 0,13 14 0,1 0 15,-1 0-15,0-13 0,1 13 0,-1 0 16,-13 0-16,14 0 0,-1 0 0,0 0 15,14-13-15,-14 13 0,1 0 16,12 0-16,1 0 0,-14 0 0,14 0 16,-14-13-16,1 13 0,-1 0 15,0 0-15,1 0 0,-1 0 16,1 0-16,-1 0 0,0 0 0,1 0 16,-1-13-16,-13 13 0,0 0 0,-13 0 15,13 0-15,-13 0 0,0 0 16,0 0-16,0 0 0,0 0 0,-13 0 15,13 0-15,-14 0 0,1 0 0,0 0 16,-14-14-16,1 14 0,-1 0 0,1 0 16,-14 0-16,13-13 0,-13 13 15,1 0-15,-1 0 0,0-13 16,0 13-16,1-13 0,-1-1 16,0 14-16,-13-13 0,13 13 15,-13-13-15,13 0 0,1-1 0,-14 1 16,13-13-16,-13 13 0,13-14 0,-13 1 15,13-1-15,1 1 0,-14-1 16,13 14-16,-13-13 0,13-14 16,-13 27-16,13-1 0,-13 1 0,0 0 15,0 0 1,-13 13-16</inkml:trace>
  <inkml:trace contextRef="#ctx0" brushRef="#br3" timeOffset="-206312.57">5146 12621 0,'13'-14'0,"1"14"16,-1 0-1,0 14-15,-13-1 16,0 0-16,-13 0 16,13 1-16,-13-1 0,-1 0 15,14 0-15,-13-13 0,13 13 16,-13 1-16,0-14 0,13 13 16,13 0-1,0-13-15,0 0 16,-13 13-16,14-13 0,-1 14 15,0-14-15,-13 13 0,13-13 0,-13 13 16,0 0-16,0 1 0,0-1 16,0 0-16,-13-13 0,0 13 15,0 0-15,-1 1 0,-12-1 16,13 0-16,-14-13 0,14 13 0,0-13 0,0 0 16,-14 14-16,14-14 0,0 0 15,-1 0-15,14-14 0,-13 14 16</inkml:trace>
  <inkml:trace contextRef="#ctx0" brushRef="#br3" timeOffset="-205659.15">5450 12687 0,'14'13'31,"-1"0"-15,0 0-16,0 1 16,1-14-16,-14 13 15,13-13-15,0 0 0,0 0 16,0 0-16,1 0 0,12-13 16,-13-1-16,1 14 15,-14-13-15,13 13 0,-13-13 16,13 0-16,-39 39 31,12-13-15,14 1-16,-13 12 0,0-13 15,0 14-15,-67 118 32,67-145-17,13 14-15,13-1 16</inkml:trace>
  <inkml:trace contextRef="#ctx0" brushRef="#br3" timeOffset="-205229.92">5728 12859 0,'13'-40'15,"-26"80"-15,26-93 0,1 40 0,-14-1 16,0 1 0,-14 0-16,1 26 31,0 0-31,13 1 16,0-1-16,-13-13 0,13 13 15,0 0-15,0 1 0,-13-14 0,13 13 16,0 0-16,13 0 0,0 0 15,0-13 1,14 0-16,-14 0 16,0-13-16,14 0 15,-14 0-15,13-14 16,-12 27-16,-14-13 16,13 13-16,-13-13 0,13 13 15,0 0-15,0 0 16,-13 13-16,14-13 0,-14 13 15,13 1-15,-13-1 16,0 0-16,0 0 0,0 0 16,-13 1-16,13-1 0,-14 0 15,1 0-15,0 1 16</inkml:trace>
  <inkml:trace contextRef="#ctx0" brushRef="#br3" timeOffset="-204891.88">5292 13189 0,'26'0'16,"-52"0"-16,65 0 0,14 0 0,-13 0 15,-14-13-15,14 13 0,13-13 0,0 13 16,40-13-16,-54 0 15,1 13-15,13-14 0,-27 14 16,-12 0-16,-1 0 0,0 0 16,0 0-16</inkml:trace>
  <inkml:trace contextRef="#ctx0" brushRef="#br3" timeOffset="-204665.94">5252 13295 0,'-13'0'0,"145"-13"47,-92 13-47,13-13 0,-14 13 16,14-13-16,40-1 0,-14 1 16,-26 0-1,0 0-15,0-14 47</inkml:trace>
  <inkml:trace contextRef="#ctx0" brushRef="#br3" timeOffset="-198522.6">7104 4987 0,'-13'0'31,"13"27"1,-13-14-17,13 0-15,0 14 16,0-14-16,0 13 0,0 1 0,0-1 16,0 14-16,0 0 0,-14-1 0,14 1 15,0 0-15,-13 0 0,13 12 16,-13-12-16,0 0 0,13-1 0,-14 1 15,14 0-15,-13-14 0,0 1 0,13-1 16,-13 1-16,13-14 0,0 13 16,-13-12-16,13-1 0,0 0 0,0 0 15,0 1-15,-14-14 0,14 13 0,0 0 16,0 0 0,0 0-16,-13-13 15,13 14-15,0-1 16</inkml:trace>
  <inkml:trace contextRef="#ctx0" brushRef="#br3" timeOffset="-197830.92">6906 5702 0,'0'39'63,"0"-25"-63,0-1 16,0 0-16,0 0 0,0 1 0,0 12 15,0-13-15,0 1 0,0-1 0,0 0 16,0 0-16,-14 0 0,14 1 15,0-1-15,0 0 0,0 0 0,0 1 16,0-1 0,14 0-16,-1-26 31,0 13-31,0 0 0,1-13 16,-1-1-16,13 14 0,-26-13 15,13 13-15,1-13 0,-1 13 16,0-13-16,0 13 0,1-14 15,-1 14-15,0-13 16,0 13 0,1-13-1,-1 13 32,-13-13 16,13 13-32</inkml:trace>
  <inkml:trace contextRef="#ctx0" brushRef="#br3" timeOffset="-195083.1">6244 4617 0,'-26'66'15,"26"-39"-15,0 12 0,-14 1 16,14 0-16,0-1 0,-13 1 0,13 13 16,0-13-16,0-1 0,0-12 15,0 12-15,0-25 0,0 12 0,0-13 16,0 14-16,0-14 0,13 0 0,-13 1 16,0-1-16</inkml:trace>
  <inkml:trace contextRef="#ctx0" brushRef="#br3" timeOffset="-194217.89">6112 4498 0,'40'-13'0,"-80"26"0,106-26 16,-40-1-16,14 14 0,0-13 15,13 0-15,0 0 0,26 13 0,-13-13 16,0-1-16,14 1 0,-1 0 0,0 0 16,14-1-16,-14 1 0,14 0 15,-14 0-15,1 13 0,-1-14 0,-13 1 16,-13 13-16,-13-13 0,13 13 0,-27 0 15,27-13-15,-40 13 0,14 0 16,-14 0-16,0 0 16,1 0-16,-1 13 0,0-13 15,-13 13-15,0 0 16,13-13-16,-13 14 16,0-1-16,0 13 0,0-12 0,0 12 15,0 1-15,0-1 0,0 14 0,0-14 0,0 1 16,0-1-16,0 14 0,0-14 15,0 1-15,0-1 0,0 1 0,14-14 16,-14 13-16,0-13 0,0 1 0,0 12 16,0-13-16,0 1 0,0-1 15,0 0-15,0 0 0,0 1 16,0-1-16,-14 0 0,1 0 16,13 0-16,-13-13 15,0 0-15,-1 14 0,1-14 16,-13 0-16,-1 13 0,14-13 0,-27 0 15,14 0-15,-27 0 0,0 13 0,0-13 16,0 0-16,0 13 0,-13-13 16,0 14-16,0-14 0,-14 13 0,14 0 15,0 0-15,-13 1 0,13-1 0,13 0 16,0-13-16,0 13 0,0 0 16,13-13-16,1 14 0,-1-14 15,13 0-15,1 13 0,0-13 0,12 0 0,1 0 16,0 13-16,0-13 15,-1 0-15,1 0 0,0 0 0,0 0 16,-1 13 0,1-13-1,13 14 1,-13-14 78,39-14-47</inkml:trace>
  <inkml:trace contextRef="#ctx0" brushRef="#br3" timeOffset="-193400.07">12025 4432 0,'14'92'31,"-14"-52"-31,0 13 0,0-13 16,0 13-16,0-14 0,0 14 0,0-13 0,0 0 15,0-1-15,0 1 0,0-14 16,0 1-16,0-1 0,0-12 15,0 12-15,0-13 0,0 0 0,0 1 16,13-14-16,-13 13 0</inkml:trace>
  <inkml:trace contextRef="#ctx0" brushRef="#br3" timeOffset="-192466.88">11959 4379 0,'0'0'15,"13"-13"-15,1 13 16,12 0-16,1-14 0,-1 14 0,14-13 15,13 13-15,13-13 0,0 0 0,13-1 16,1 1-16,-1 13 0,14-13 16,-1 0-16,1 0 0,26-1 0,-26 1 15,-1 0-15,1 13 0,-1-13 16,1-1-16,-14 1 0,14 13 0,-27-13 16,13 0-16,-12 0 0,-15 13 15,1-14-15,-13 14 0,0 0 0,-14-13 16,1 13-16,-14 0 0,0 0 15,14 0-15,-14-13 0,0 13 0,0 0 16,1 0-16,-1 0 16,0 0-16,0 0 15,-13 13 1,13-13-16,-13 13 0,0 1 16,0-1-16,0 0 0,0 0 15,0 14-15,0-1 0,0 1 16,0-1-16,0 0 0,0 1 0,-13 13 15,13-1-15,0 1 0,0 0 0,0-14 16,0 1-16,0-1 0,0 1 16,0-1-16,0 0 0,13 1 0,-13-14 15,0 14-15,0-14 0,0 0 0,0 0 16,0 0-16,0 1 0,0-1 16,0 0-16,-13-13 0,13 13 0,0 1 15,-13-1-15,0-13 0,13 13 0,-13-13 16,-14 13-16,14-13 0,-14 14 15,1-14-15,-1 0 0,1 13 0,-14-13 16,14 0-16,-27 0 0,13 13 0,-13-13 16,0 0-16,0 13 15,1-13-15,-15 0 0,-12 13 0,13-13 16,0 14-16,-14-14 0,14 13 0,-13-13 16,13 13-16,0-13 0,-1 13 0,15-13 15,-1 0-15,0 0 16,0 14-16,13-14 0,-13 0 0,27 0 15,-14 13-15,14-13 0,-14 0 0,-79 0 32,92 0-32,1 0 0,-1 13 0,1-13 15,13 0-15,-14 0 0,14 0 0,0 0 0,-14 0 16,14 0-16,0 0 16,0 0-16,-1 0 0,1 0 0,0 0 15,0 0-15,13 13 0,-13-13 0,-1 0 16,1 0-16,0 0 0,0 0 15,-1 14-15,1-14 16,0 0-16,0 0 31,-1 0-15,14 13-16,27-13 16</inkml:trace>
  <inkml:trace contextRef="#ctx0" brushRef="#br3" timeOffset="-191912.36">14261 4630 0,'40'0'32,"-27"0"-32,0 0 0,0 0 15,14 0-15,-14 0 0,14 0 0,-1 0 0,0 0 16,-12-13-16,12 13 15,1 0-15,-14 0 0,13 0 0,-12 0 16,-1-13-16</inkml:trace>
  <inkml:trace contextRef="#ctx0" brushRef="#br3" timeOffset="-191678.25">14565 4498 0,'14'-13'16,"25"26"-1,-26-13-15,1 13 16,-1 0-16,0 1 0,0-1 0,1 0 16,-14 0-16,13 14 0,-13-14 15,0 0-15,0 0 0,0 14 16,-13-14-16,-1 0 0,14 1 0,-13 12 16,0-13-16,0-13 0,-1 13 0,1 1 15,0-1-15,0-13 16</inkml:trace>
  <inkml:trace contextRef="#ctx0" brushRef="#br3" timeOffset="-189628.87">15280 4260 0,'0'26'31,"0"-13"-31,0 14 0,-14-1 0,14 1 16,0-1-16,0 1 0,0 12 15,-13-12-15,13-1 0,0 1 0,0-1 16,0-12-16,-13 12 0,13-13 0,0 0 16,0 14-16,0-14 0,0 0 0</inkml:trace>
  <inkml:trace contextRef="#ctx0" brushRef="#br3" timeOffset="-188841.1">15068 4617 0,'0'0'0,"-13"0"32,26-26-32,0 26 0,0-14 15,1 14-15,12 0 0,1-13 16,-1 13-16,1-13 0,-1 13 0,0-13 16,1 13-16,-1 0 0,1-14 0,-14 14 15,14 0-15,-14-13 0,0 13 16,0 0-16,0 0 0,1-13 15,-1 13-15,0 0 16,-53 0 15,27 0-15,0 13-16,0-13 0,0 13 16,-1-13-16,1 14 15,0-1-15,0 0 0,13 0 16,0 1-1,13-14-15,0 0 16,0 0-16,1 0 16,-1 0-16,-13-14 0,13 14 15,0 0-15,0-13 16,1 13-16,-1 13 16,-13 1-1,0-1 1,13-13-16,-13 13 0,13-13 15,1 0 1,-1 0-16,-13-13 16,13 13-16,-13-13 0,13 13 15,-13-14-15,0 1 0,14 0 0,-14 0 16,0-14-16,0 14 0,0-14 0,0 1 16,0 0-16,0 12 0,0-12 15,0 13-15,0-1 0,0 1 0,0 0 16,0 0-16,-14 39 31,1-13-31,13 1 0,-13-1 16,13 0-16,0 14 0,-13-14 0,13 0 15,0 0-15,0 0 16,13 1-16,-13-1 16,13-13-16,0 0 0,1 0 15,-1 0-15,0 0 0,0 13 16,0-13-1,1 13-15,-14 1 16,0-1-16,-14-13 0,14 13 16,-13 0-16,0 1 0,0-1 15,0 0-15,-1 0 16</inkml:trace>
  <inkml:trace contextRef="#ctx0" brushRef="#br3" timeOffset="-188138.82">15716 4617 0,'13'-13'0,"-26"26"0,26-39 0,1 26 15,-14-14-15,13 14 0,0-13 0,-13 0 16,13 13-16,-13-13 0,14 13 16,-14-14-16,0 1 15,0 0-15,-14 13 16,1 0-1,0 0 1,13 13-16,-13-13 0,-1 13 16,14 1-16,-13-14 0,13 13 0,0 0 15,0 0-15,0 1 16,0-1-16,13-13 16,1 13-16,-1-13 15,0-13-15,0 13 0,1 0 0,-1-13 16,0 13-16,0-14 0,1 1 15,-1 0-15,0 0 0,13-1 16,-12-25-16,-1 12 0,0 1 0,0-1 0,1 14 16,-1-13-16,-13 12 0,13 1 15,-13 0-15,0 0 0,0-1 16,13 14-16,-13-13 0,-13 40 16,0-14-1,0 0-15,13 0 0,-14 14 16,1-14-16,13 14 0,-13-14 0,13 13 15,-13-13-15,13 1 0,0-1 0,0 0 16,0 0-16,0 1 0,0-1 16</inkml:trace>
  <inkml:trace contextRef="#ctx0" brushRef="#br3" timeOffset="-187909.78">16166 4313 0,'-40'39'16,"40"-25"-16,0-1 15,-13 0-15,13 0 0,0 1 16,-13-1-16,13 0 0,0 0 0,-13 0 15,13 1-15,0-1 0,0 0 0</inkml:trace>
  <inkml:trace contextRef="#ctx0" brushRef="#br3" timeOffset="-187743.75">15981 4524 0,'-13'0'15,"39"-13"1,-13 0 0,1 13-16,-1-13 0,13 13 0,-13 0 15,1-14-15,12 14 0,-13-13 0,14 13 16</inkml:trace>
  <inkml:trace contextRef="#ctx0" brushRef="#br3" timeOffset="-187581.79">16391 4471 0,'-13'-26'63</inkml:trace>
  <inkml:trace contextRef="#ctx0" brushRef="#br3" timeOffset="-180708.53">4895 6496 0,'-13'-14'16,"-1"14"-1,1 0 1,0 0-16,0 0 15,-1 14-15,1-14 0,0 0 0,0 13 16,-1-13-16,1 13 0,0-13 16,13 13-16,-13-13 0,13 13 15,0 1-15,13-1 16,0 0-16,0-13 16,-13 13-16,14-13 0,-1 0 0,0 14 15,0-14-15,-13 13 0,14-13 16,-14 13-16,0 0 15,0 1 1,-14-14-16,14 13 0,-13-13 16,0 13-16,0-13 0,-1 13 0,1-13 15,0 0-15,0 13 16,0-13-16,-1 0 0</inkml:trace>
  <inkml:trace contextRef="#ctx0" brushRef="#br3" timeOffset="-180380.12">5040 6443 0,'0'0'0,"0"39"32,0-25-32,0-1 15,0 0-15,0 0 0,0 0 16,0 1-16,0-1 0,-13-13 0,13 13 16,0 0-16,0 1 15,0-1-15,0 0 16,0 0-1,-13-13-15,0 0 16</inkml:trace>
  <inkml:trace contextRef="#ctx0" brushRef="#br3" timeOffset="-179577.02">5940 6363 0,'-27'13'15,"14"-13"-15,0 0 16,0 14-16,0-14 0,-1 0 15,1 13-15,0-13 0,0 0 16,13 13-16,-14-13 0,1 13 0,0-13 16,13 14-16,-13-14 0,13 13 15,-14 0-15,28-13 16,-14 13-16,13-13 16,-13 14-16,13-14 0,0 0 15,-13 13-15,14-13 0,-1 0 0,0 0 16,-13 13-16,13-13 0,1 0 0,-14 13 15,13-13-15,0 13 16,-13 1 0,-13-1-16,13 0 0,-13-13 15,-1 13-15,1-13 0,13 14 16,-13-14-16,0 0 0,13 13 16,-14-13-16,1 0 15,0 0-15</inkml:trace>
  <inkml:trace contextRef="#ctx0" brushRef="#br3" timeOffset="-179116.96">6019 6403 0,'13'0'0,"-26"0"0,40 0 16,-1 0-16,-13 13 15,-13 0 1,14 1-16,-28-1 15,14 0-15,-13 0 0,0 1 16,13 12-16,-13-26 0,-1 13 0,1 0 16,13 1-16,-13-14 0,0 13 0,0 0 15,13 0 1,-14-13-16,41 14 31,-14-28-15,0 14-16,0 0 0,1 0 0,-1 0 15,13 0-15,-12-13 0,-1 13 0,0 0 16,0 0-16,1 0 16,-1-13-16,0 26 15</inkml:trace>
  <inkml:trace contextRef="#ctx0" brushRef="#br3" timeOffset="-177940">5847 7064 0,'14'14'15,"-1"-1"1,-13 0-16,0 0 16,13 1-16,-13-1 0,0 0 0,0 0 15,0 0-15,13-13 16,-13 14-16,13-1 15,14-13 1,-27-13-16,13 13 0,0-14 16,1 14-16,-1-13 0,13 13 15,-13-13-15,1 13 0,-1-13 0,0 0 16,0 13-16,1 0 0,-1-14 0,0 14 0,0 0 16,1 14-1,-14-1-15,13-13 0,-13 13 16,-13 0-16</inkml:trace>
  <inkml:trace contextRef="#ctx0" brushRef="#br3" timeOffset="-177532.86">5993 7620 0,'0'13'31,"0"0"-31,0 1 15,0-1-15,0 0 0,0 0 16,0 1-16,13-1 16,-13 0-1,13-13-15,0 0 16,1-13-16,-1 13 0,0 0 16,0-13-16,1-1 0,-1 14 15,0-13-15,0 13 0,1-13 0,12 0 16,-13 13-16,0-14 0,1 14 0,-1-13 15,0 13-15,0 13 16</inkml:trace>
  <inkml:trace contextRef="#ctx0" brushRef="#br3" timeOffset="-177043.65">5847 8480 0,'-13'66'15,"13"-53"1,0 0-16,0 1 0,0-1 0,13 0 16,-13 0-16,0 1 15,0-1-15,14-13 0,-1 13 16,0-13-16,13-13 16,-12 13-16,-1 0 15,0-13-15,14-1 0,-14 1 0,0 0 16,13 13-16,-12-13 0,-1-1 15,0 14-15,0-13 0</inkml:trace>
  <inkml:trace contextRef="#ctx0" brushRef="#br3" timeOffset="-176516.04">5781 9750 0,'0'26'15,"0"-12"-15,0-1 0,0 0 0,0 0 16,0 0-16,0 1 0,13-14 16,-13 13-16,14 0 15,-1-13-15,0 0 16,0 0-16,1 0 0,-1-13 16,0 13-16,0-13 0,0 13 0,1-14 15,-1 1-15,0 13 0,14-13 16,-14 0-16,0 0 0,0 13 15,0-14-15,1 14 0,-1 0 16,-13 14 0</inkml:trace>
  <inkml:trace contextRef="#ctx0" brushRef="#br3" timeOffset="-175867.05">5781 10702 0,'0'27'0,"0"-14"15,-13 0-15,13 1 16,0-1-16,0 0 0,0 0 15,0 0-15,13 1 0,-13-1 16,13 0 0,1-13-16,12 0 15,1 0 1,-14 0-16,0-13 16,0 13-16,0 0 0,1-13 15,-1 13-15,0-14 0,0 14 0,1-13 16,-1 13-16,0 0 0,0-13 0,0 13 15,1-13-15,-1 13 0,0 0 16,-13-13-16,13 13 0,1 0 0,-1-14 16,0 14-16,0 0 15,1 0 1,-1 0 0,0 0 15,0-13 0,-26 0 0</inkml:trace>
  <inkml:trace contextRef="#ctx0" brushRef="#br3" timeOffset="-173911.55">10504 6654 0,'-13'27'16,"26"-14"-16,-13 0 15,0 0-15,13 1 0,-13-1 16,13-13-16,1 0 16,-1 0-16,0 0 0,0 0 15,1 0-15,-1-13 0,0 13 16,13-14-16,-12 14 0,-1-13 16,0 13-16,-13-13 0,13 13 0,1-13 15,-1 13-15,0-13 16,0 13-16,1 13 15,-14 0 1</inkml:trace>
  <inkml:trace contextRef="#ctx0" brushRef="#br3" timeOffset="-173574.67">10636 7448 0,'-13'0'0,"-40"93"31,40-67-15,-14 1-16,14-14 0,0 13 0,0-13 15,0 1-15,-1-1 0</inkml:trace>
  <inkml:trace contextRef="#ctx0" brushRef="#br3" timeOffset="-173388.9">10411 7527 0,'27'14'15,"-27"-1"1,13-13-16,-13 13 0,13 0 15,1 1-15,-1-14 0,13 13 0,-13 0 16,1 0-16,12-13 0,-13 13 0,14-13 16,-14 14-16,0-1 0</inkml:trace>
  <inkml:trace contextRef="#ctx0" brushRef="#br3" timeOffset="-173027.8">10610 8559 0,'-27'27'0,"27"-14"16,-13-13-16,13 13 0,-13 0 0,0 14 15,-1-14-15,1 14 0,13-14 16,-26 13-16,13 1 0,-1-14 0</inkml:trace>
  <inkml:trace contextRef="#ctx0" brushRef="#br3" timeOffset="-172818.76">10411 8678 0,'27'14'15,"-27"-1"-15,13 0 0,0 0 0,1 0 16,-1-13-16,0 14 0,0-1 16,0 0-16,14 0 0,-14 14 0,0-14 15,1-13-15,-1 13 0,13 1 0,-13-1 16</inkml:trace>
  <inkml:trace contextRef="#ctx0" brushRef="#br3" timeOffset="-172449.05">10676 9723 0,'-40'40'0,"80"-80"0,-93 93 0,53-39 16,-13 12-16,0-13 0,-1 14 0,1-14 16,0 13-16,13-12 0,-13 12 15,-1-13-15,1 14 0,0-14 16</inkml:trace>
  <inkml:trace contextRef="#ctx0" brushRef="#br3" timeOffset="-172211.16">10411 9909 0,'27'39'31,"-14"-39"-31,0 14 0,1-1 16,-1 0-16,0 0 0,13 0 16,-12 1-16,12-1 0,-13 0 0,14 0 15,-14 1-15,13-14 0,-12 13 16,-1 0-16,0-13 0,0 13 0,1-13 16,-14 14-16,13-1 0</inkml:trace>
  <inkml:trace contextRef="#ctx0" brushRef="#br3" timeOffset="-171943.12">10676 10729 0,'-27'26'15,"-12"40"1,26-39-16,-1-1 0,1 1 16,0-1-16,0 1 0,-1-14 0,1 13 15,13-12-15,-13-1 0,0 0 16</inkml:trace>
  <inkml:trace contextRef="#ctx0" brushRef="#br3" timeOffset="-171743.72">10385 10888 0,'40'13'16,"-27"0"-16,13 0 15,-12 1-15,12-1 0,0 0 0,1 0 16,-1 0-16,1 1 0,-14-14 0,13 13 16,-12-13-16,12 13 0,-13-13 15,1 0-15,-1 0 0,0 0 16</inkml:trace>
  <inkml:trace contextRef="#ctx0" brushRef="#br3" timeOffset="-171198.76">10570 9948 0,'-26'14'16,"12"-1"-1,1 0-15,13 0 16,-13 14-16,0-14 0,0 0 16,-1 14-16,1-14 0,0 13 0,13-12 15,-13-1-15,-1 13 0,14-13 0</inkml:trace>
  <inkml:trace contextRef="#ctx0" brushRef="#br3" timeOffset="-166907.62">9353 6324 0,'0'-14'15,"-13"14"1,0 0-16,-1 14 0,1-14 16,0 13-16,0-13 0,-14 13 0,14-13 15,13 13-15,-13 0 0,0-13 0,-1 0 16,14 14-16,-13-1 15,26-13 1,1 0-16,-1 0 0,0 0 16,0 0-16,0 0 0,1 13 15,-1-13-15,0 0 0,0 0 16,1 0-16,-14 13 0,13-13 0,-13 14 16,0-1-1,-13 0-15,-1 0 0,1 1 16,0-1-16,0-13 15,-14 13-15,27 0 0,-13-13 16,0 0-16</inkml:trace>
  <inkml:trace contextRef="#ctx0" brushRef="#br3" timeOffset="-166723.12">9446 6310 0,'13'14'16,"0"-1"-16,-13 0 16,-13 0-16,13 0 0,0 1 0,0-1 15,-13 0-15,13 0 0,0 14 0,-14-14 16,1 0-16,13 1 0,0-1 16,0 0-16</inkml:trace>
  <inkml:trace contextRef="#ctx0" brushRef="#br3" timeOffset="-166090.72">10702 6244 0,'-26'0'0,"13"0"0,-1 0 16,1 0-16,13 13 16,-13-13-1,26 14 1,-13-1-16,13-13 0,1 13 16,-1 0-1,0-13-15,-13 14 0,13-14 16,1 13-16,-14 0 15,-14 0 1,14 0-16,-13-13 16,0 0-16,0 14 0,-1-14 15,1 13-15,0-13 0,0 0 0,0 13 16,-1-13-16,1 13 0,0-13 16,0 0-16</inkml:trace>
  <inkml:trace contextRef="#ctx0" brushRef="#br3" timeOffset="-165762.09">10835 6218 0,'13'0'0,"-26"0"0,39 0 0,-13 13 16,-13 0-16,0 14 15,-13-14 1,13 0-16,-13 0 0,0 1 0,13-1 16,-14 0-16,1 0 15,13 0-15,-13-13 0,13 14 0,0-1 16,0 0 0,13-13-16,0 0 15,1 0-15,-1 0 16,0 0-16,0 0 0,1 0 15,-1 0-15,0-13 0,0 13 16,1 0-16,12 0 16</inkml:trace>
  <inkml:trace contextRef="#ctx0" brushRef="#br3" timeOffset="-160872.72">9856 12528 0,'-27'0'32,"14"13"-32,0-13 15,0 13-15,-1-13 0,1 14 16,0-14-16,0 13 0,-1 0 15,14 0-15,0 1 16,0-1 0,14 0-1,-1-13-15,0 13 0,0 1 16,1-14-16,-14 13 16,13-13-16,-13 13 15,0 0-15,-13 0 0,-1 1 16,14-1-16,-13 0 15,0 0-15,0-13 0,-14 14 16,14-1-16,0 0 0,0-13 0,-1 13 16,1-13-16,0 14 0,0-14 15,-1 0-15</inkml:trace>
  <inkml:trace contextRef="#ctx0" brushRef="#br3" timeOffset="-160552.02">10001 12554 0,'13'0'0,"1"14"16,-14-1 0,0 0-16,-14 0 0,1 14 0,0-14 15,0 14-15,-14-1 0,14 0 0,0 1 16,0-14-16,-1 14 15,1-14-15,0 0 0,13 0 16,0 1-16,-13-14 0,13 13 0,0 0 16,13 0-1,0-13-15,0 0 0,1 0 16,-1 0-16,0 0 0,14 0 16,-14 0-16,0 0 0,0-13 15,0 13-15,1 0 0,-1 0 16,0-13-16,0 13 0,1 0 0,-1 0 15,-13-13-15</inkml:trace>
  <inkml:trace contextRef="#ctx0" brushRef="#br3" timeOffset="-160306.93">10319 12687 0,'26'0'15,"-13"-13"1,1 13-16,-1 0 0,0 13 16,0-13-16,14 0 0,-14 0 0,0 0 15,1 0-15,-1 0 0,0 0 0,0 0 16,0 0-16</inkml:trace>
  <inkml:trace contextRef="#ctx0" brushRef="#br3" timeOffset="-160063.95">10491 12541 0,'39'0'16,"-25"0"-1,-1 13-15,0 1 0,0-1 16,1-13-16,-14 13 0,13 0 0,0 14 16,-13-14-16,0 0 0,0 1 15,-13 12-15,13-13 0,-13 14 0,-14-1 16,14 1-16,-14-1 0,1-13 0,0 14 16,12-14-16,-12 0 0,-1 0 15,14 1-15,0-1 0,-14-13 16,14 13-16</inkml:trace>
  <inkml:trace contextRef="#ctx0" brushRef="#br3" timeOffset="-159124.36">11258 12488 0,'0'14'15,"-13"-1"-15,13 0 0,0 13 16,-13-12-16,13 12 0,-14 1 0,14 12 15,-13-12-15,13 12 0,-13-12 16,0-1-16,-1 1 0,14-14 0,0 0 16,-13 14-16,13-14 0,0 0 15,-13-13-15,39-13 32,-26 0-32,0-14 15,14 14-15,-14-27 0,13 1 16,-13-1-16,13 0 0,0 1 0,-13-1 15,14 0-15,-1 14 0,0-14 16,0 27-16,0-14 0,1 14 0,-14 0 16,13 0-16,0 13 0,0 0 15,1 0-15,-1 0 16,0 13-16,-13 0 0,13 0 16,-13 1-16,0-1 0,-13 0 15,13 0-15,0 1 0,-13-1 0,0 0 16,-1 13-16,1-12 0,0-1 15,0 0-15,-1 0 0,1 1 0,0-14 16,13 13-16,-13 0 0,0 0 0,-1-13 16,1 14-16,13-1 15</inkml:trace>
  <inkml:trace contextRef="#ctx0" brushRef="#br3" timeOffset="-158958.71">11443 12621 0,'13'0'0,"-13"13"16,0 0-16,0 0 15,0 1-15,0-1 0,0 0 16,0 0-16,-13 0 0,13 1 0,0-1 16,-13 0-16,13 0 0,0 1 15</inkml:trace>
  <inkml:trace contextRef="#ctx0" brushRef="#br3" timeOffset="-158803.72">11549 12528 0,'-13'-13'31,"0"26"-31,-1-13 15</inkml:trace>
  <inkml:trace contextRef="#ctx0" brushRef="#br3" timeOffset="-158581.52">11708 12382 0,'-13'14'16,"-1"-1"-16,14 0 0,-13 0 0,13 14 16,0-1-16,-13 1 0,0-1 15,13 14-15,-14-14 0,1 1 0,13-1 16,0 1-16,-13-14 0,13 13 16,-13-12-16,13-1 0,0 0 0,0 0 15</inkml:trace>
  <inkml:trace contextRef="#ctx0" brushRef="#br3" timeOffset="-158359.12">11893 12382 0,'-13'27'15,"13"-14"1,-13 0-16,13 14 0,-14-14 15,14 14-15,-13-1 0,13 0 0,-13 1 16,13-1-16,-13 1 0,-1-1 16,14-12-16,0-1 0,0 0 0,0 0 15,-13 0-15,13 1 0,0-1 0,0 0 16</inkml:trace>
  <inkml:trace contextRef="#ctx0" brushRef="#br3" timeOffset="-158159.91">12224 12621 0,'-13'13'0,"13"0"15,-14 53 16,14-53-31,-13 1 16</inkml:trace>
  <inkml:trace contextRef="#ctx0" brushRef="#br3" timeOffset="-157943.71">12171 12435 0,'-13'0'0,"13"-13"16,-14 40-1</inkml:trace>
  <inkml:trace contextRef="#ctx0" brushRef="#br3" timeOffset="-157665.39">12396 12594 0,'-14'0'31,"14"13"-31,0 1 0,14-1 16,-14 0-16,0 0 15,0 1-15,0 12 16,0-13-16,-14 0 0,1 1 16,0-1-1,0-13-15,0 13 0,-1-13 16,1 0-16,0 13 0,0-26 15</inkml:trace>
  <inkml:trace contextRef="#ctx0" brushRef="#br3" timeOffset="-157092.72">12951 12581 0,'-13'13'47,"13"0"-47,0 1 16,0-1-16,0 0 15,13 0 1,1-13-16,-1 0 16,0 0-16,0 0 15,1 0 1,-1 0-16,0 0 0,0 0 16,0 0-16,1 0 15,-1 0 1,-13-13-16,13 13 0,0 0 15,-13-13-15,14 13 16,-14-13-16,0-1 16,13 1-16,-13 0 15,13 13 1,0 0 0</inkml:trace>
  <inkml:trace contextRef="#ctx0" brushRef="#br3" timeOffset="-156622.9">13335 12581 0,'-13'40'32,"26"-27"-17,-13 0-15,13-13 16,0 0-16,-13 13 0,14-13 15,-1 0-15,0 0 16,0-13 0,-13 0-16,0 0 15,-13-1-15,13 1 16,-13 0-16,13 0 16,-13 13-16,13-14 15,13 14 1,0 0-16,0 0 15,1 14-15,-1-14 0,0 13 16,0 0-16,1 0 0,-1-13 0,0 14 16,-13-1-16,13 0 15,0 0-15,-13 1 0,14-1 16,-14 0 15,13-39-15,-13 12-16,13 14 15,-13-13-15,0 0 0,13 0 16,-13-1-16,14 1 0,-14 0 16,13 0-16,-13-1 0,13 1 0,-13 0 15,13 0-15</inkml:trace>
  <inkml:trace contextRef="#ctx0" brushRef="#br3" timeOffset="-156456.02">13772 12343 0,'-14'53'16,"14"-40"0,0 0-16,-13 14 0,13-14 0,-13 0 15,13 0-15,-13 14 0,13-14 0,0 0 16,-14 0-16,14 1 0,0-1 16,0 0-16</inkml:trace>
  <inkml:trace contextRef="#ctx0" brushRef="#br3" timeOffset="-156107.05">13930 12488 0,'-26'-13'16,"-1"26"-16,14-13 16,0 14-16,0-14 0,-1 13 15,1 0-15,0-13 0,0 13 0,0 0 16,13 1-16,-14-14 0,14 13 15,0 0-15,0 0 0,0 1 16,14-1-16,-1-13 16,0 0-16,0 0 15,0 0-15,1 0 0,-1-13 0,13 13 16,-12-14-16,12 14 16,-13-13-16,1 13 0,-1 0 0,-13-13 15,13 13-15,0 0 0,0 13 31,-26 0-15,13 1-16,0-1 0,0 0 16,-13-13-16,13 13 15,0 1-15,-13-1 16</inkml:trace>
  <inkml:trace contextRef="#ctx0" brushRef="#br3" timeOffset="-155648.28">14155 12554 0,'-13'14'0,"0"-1"31,13 0-31,0 0 16,13-26 31,0 13-47,0-13 16,1 13-1,-1 0 1,0 0-16,0 0 15,1 0 1</inkml:trace>
  <inkml:trace contextRef="#ctx0" brushRef="#br3" timeOffset="-155388.15">14327 12541 0,'13'0'0,"-26"27"31,0-14-15,13 0-16,-13 0 0,13 1 16,-13 12-16,-1-13 0,1 1 15,0-1-15,0 0 0,13 0 0,-14 0 16,1 1-16,0-14 16,13 13-16,-13-40 31,26 14-31,0 0 15,0 0-15,1 0 0,-1-1 0,0 14 16,0-13-16,1 0 0,-1 0 16,0-1-16,0 14 0,0-13 0</inkml:trace>
  <inkml:trace contextRef="#ctx0" brushRef="#br3" timeOffset="-155133.96">15161 12660 0,'-14'14'0,"28"-28"0,-41 41 15,27-14-15,-13-13 16,0 13-16,13 0 16,-14-13-16,14 14 0</inkml:trace>
  <inkml:trace contextRef="#ctx0" brushRef="#br3" timeOffset="-154576.91">15412 12422 0,'-13'53'0,"13"-40"16,0 1-16,-13-1 0,-1 13 0,14-13 0,-13 1 15,13-1-15,0 0 0,-13 0 0,13 1 16,0-1-16,0 0 0,0 0 15,0 1-15,13-14 0,-13 13 16,13-13-16,1 0 0,-14 13 16,13-13-16,0 0 0,0 0 15,0-13-15,1 13 16,-14-13-16,0-1 16,-14 1-1,1 13-15,0-13 16,0 13-16,0-13 0,-1 13 0,1 0 15,0 0-15,0-14 0,-1 14 16,1-13 0,40 13-1,-14 0-15,0-13 0,0 13 16,1 0-16,-1 0 0,13 0 16,-13-13-16,1 13 0,12 0 15,-13 0-15,1 0 0,-1 0 0</inkml:trace>
  <inkml:trace contextRef="#ctx0" brushRef="#br3" timeOffset="-154282.87">15081 12541 0,'0'-13'0</inkml:trace>
  <inkml:trace contextRef="#ctx0" brushRef="#br3" timeOffset="-154000.21">15875 12634 0,'13'13'0,"-13"0"15,13 1 1,-13-1-16,0 0 16,0 0-16,0 0 0,0 1 15</inkml:trace>
  <inkml:trace contextRef="#ctx0" brushRef="#br3" timeOffset="-153823.95">15901 12462 0,'0'0'0,"-13"0"0</inkml:trace>
  <inkml:trace contextRef="#ctx0" brushRef="#br3" timeOffset="-153591.99">16113 12607 0,'0'14'0,"0"-28"0,0 41 15,0-14-15,0 0 16,0 1-16,13-1 16,-26-13-16,13 13 0,0 0 0,-13-13 15,13 13-15,-13-13 16,-1 14-16,1-14 0,13 13 0,-13-13 16,0 0-16,0 0 0,-1 13 0</inkml:trace>
  <inkml:trace contextRef="#ctx0" brushRef="#br3" timeOffset="-152103.58">17013 12475 0,'0'-13'0,"-53"39"31,40-12-31,-1-14 0,14 13 16,-13 0-16,0 0 0,0 14 15,13-14-15,0 0 0,-14 0 0,14 1 16,0-1-16,14 0 0,-14 0 16,13 1-16,0-14 15,0 13-15,1-13 16,-1 0-16,0-13 0,0 13 15,-13-14-15,13 14 0,1-13 16,-1 0-16,0 13 0,-13-13 16,13 13-16,-13-14 15,14 1 1,-1 26 15,-13 1-31,13-1 16,-13 0-1,13-13-15,-13 13 16,14-13-16,-1 0 16,0 0-1,0 0-15,0-13 0,1 13 16,-1-13-16,-13 0 16,13 13-16,-13-14 0,13 14 15,-13-13-15,14 13 16,-14-13-16,13 13 15,0 13 1,0 0 0,-13 1-1,0-1-15,14 0 32,-14 0-17,13-39 16,0 26-31,0-13 16,0 13-16,-13-14 16,14 14-16,-1 0 15,0 0-15,0 0 16,1 14-16,-14-1 16,13-13-1,-13 13-15,0 0 16,26-26 31,-26 0-47,13 0 15,-13-1-15,14 14 0,-1-13 16,0 13-16,0-13 16,1 13-16,-1 0 15,0 0-15,0 0 16,1 0-16,-14 13 15,13-13-15,-13 13 16,13 1-16,-13-1 0,-13 0 16,13 0-16,0 1 15,-13-14 1,13 13-16</inkml:trace>
  <inkml:trace contextRef="#ctx0" brushRef="#br3" timeOffset="-151980.22">17595 12462 0</inkml:trace>
  <inkml:trace contextRef="#ctx0" brushRef="#br3" timeOffset="-151399.93">17793 12568 0,'-13'0'31,"13"13"-31,0 0 0,-13-13 16,13 13-1,0 1 1,13-14 31,13-14-32,-12 1-15,-1 13 16,0-13-16,0 13 0,1-13 16,-1 13-16,0 0 0,-13-14 15,13 14-15,1 0 16,-1 0 0,-13 14-1,0-1-15,0 0 16,0 0-16,0 1 0,-13-1 15,13 13-15,-14-12 0,14-1 0,-13 13 16,0-13-16,13 1 0,-13-1 0,-1 0 16,14 0-16,-13 1 0,13-1 15,-13-13-15,0 13 16,26-39 0,-13 12-16,13 1 15,0 0-15,1 0 16,-1-1-16,13 1 0,14-13 15,-27 13-15,14-14 0,26 14 16,-40 0-16,13-1 0,1 1 16</inkml:trace>
  <inkml:trace contextRef="#ctx0" brushRef="#br3" timeOffset="-150586.9">18640 12740 0,'26'-40'16,"-26"27"0,14 0-16,-1-1 0,0-12 15,0 13-15,0-14 0,14-39 16,-1 40-16,-12-14 0,-14 27 16,13-14-16,0 1 0,-13 12 15,13 1-15,-13 0 0,14 0 16,-14 0-16,-14 26 31,14 0-31,-13 0 16,13 14-16,0-14 0,-13 0 0,13 0 15,0 1-15,0-1 0,0 0 0,0 0 16,0 14-16,0-14 0,13 0 16,-13 0-16,0 1 15,13-14-15,1 13 0,-1-13 16,0 0-16,0-13 15,0 13-15,1-14 0,-1 1 16,0 0-16,0 0 0,1-14 16,-14 14-16,13 0 0,0 0 15,-13-1-15,13 1 0,-13 0 0,14 13 16,-14-13-16,0-1 16,-14 41 15,14-14-31,-13 0 0,0 1 15,13-1-15,-13 0 16,13 0-16,-14 1 16,14-1-16,0 0 15,14 0 1,-1 0 0,0-13-16,0 0 15,1 0-15,-1 0 0,-13-13 0,13 13 16,0 0-16,0 0 15,1 0-15,-1 0 0,0 0 16,-13 13-16,13-13 0,1 0 16,-1 0-1,0 0-15,-13 14 16,13-28-16</inkml:trace>
  <inkml:trace contextRef="#ctx0" brushRef="#br3" timeOffset="-150402.68">18706 12502 0,'40'-14'31,"-27"14"-31,13-13 0,1 13 0,-1 0 16,27-13-16,-26 13 0,12 0 15,-12 0-15,13 0 0,-1 0 0,-12-13 16,-1 13-16,1 0 0</inkml:trace>
  <inkml:trace contextRef="#ctx0" brushRef="#br3" timeOffset="-149266.89">20108 12435 0,'0'-13'0,"-13"-13"32,13 12-32,0 1 0,0 0 15,-13 0-15,13 0 0,-13 13 16,13-14-16,-14 28 31,1-1-31,13 0 0,0 13 0,0 1 16,-13-1-16,13 14 0,-13 0 15,-1-1-15,14 1 0,-13 0 0,0 0 16,0-14-16,-14 14 0,14-14 0,0 1 16,-14 12-16,27-25 15,-13-1-15,0-13 0,13 13 0,-13-13 16,0 0-16,-1 0 16,14-13-16,0 0 15,0-1 1,14 1-16,12-13 15,-13 12-15,0 1 0,14 0 0,-1-14 16,1 1-16,-1 13 0,1-14 0,-1 1 16,-13 13-16,14-1 0,-14 1 15,-13 0-15,13 0 0,1-1 0,-1 1 16,-13 0 0,-27 26 15,27 0-31,0 1 15,0-1 1,0 0-16,0 0 0,0 1 16,14-1-16,-1 0 15,0-13 1,0 0-16,0 0 0,1 0 16,-1 0-16,13-13 0,-12 13 15,-1-13-15,0-1 0,0 14 16,1-13-16,-14 0 0,13 13 0,0-13 15,0-1-15,0 1 16,1 13-16,-1-13 16,0 13-1,0 13 1,-13 0-16,14-13 0,-14 14 16,13-1-16,-13 0 15,13-13-15,-13 13 0,13 1 16,-13-1-1,14-13 1,-1-13 0,0-1-16,0 1 15,-13 0 1,13 13-16,-13-13 0,14 13 0,-1-14 16,0 14-16,-13-13 15,13 13-15,1 0 0,-1-13 0,0 0 16,0 13-16,-13-13 15,14 13-15,-28 13 63,1 0-63,13 0 16,0 0-1,0 1 1,13-14-16,1 0 15,-1 13-15,0-13 16,0 0-16,0 0 16</inkml:trace>
  <inkml:trace contextRef="#ctx0" brushRef="#br3" timeOffset="-148843.66">20849 12528 0,'-13'26'32,"13"-12"-17,-13-1-15,-1 0 31,14 0-31,14-39 47,-1 26-47,0-13 0,0 13 0,-13-14 16,14 1-16,-1 13 0,0-13 0,0 13 16,1 0-16</inkml:trace>
  <inkml:trace contextRef="#ctx0" brushRef="#br3" timeOffset="-148704.99">21153 12515 0,'14'-13'15,"-1"13"1,-13-14 0,13 1-1</inkml:trace>
  <inkml:trace contextRef="#ctx0" brushRef="#br3" timeOffset="-138740.04">18732 4405 0,'27'14'31,"-14"-14"-31,0 0 0,1-14 0,-1 14 16,0 0-16,0-13 0,1 13 15,-1-13-15,13 13 0,-13-13 0,1-1 16,12 1-16,-13 0 0,-13 0 0,14-1 15,-1 1-15,-13 0 0,13 0 16,-13 0-16,0-1 16,0 1-16,0 0 15,0 0-15,-13 13 16,0 13 0,-1-13-16,14 13 0,-13 0 0,0 1 15,13-1-15,0 0 0,-13 0 16,13 0-16,0 1 0,0-1 0,0 0 15,13 0-15,-13 1 16,13-1-16,0-13 0,1 13 16,-1-13-16,13 0 0,-12 0 15,-1 0-15,13 0 0,-13 0 16,14-13-16</inkml:trace>
  <inkml:trace contextRef="#ctx0" brushRef="#br3" timeOffset="-137826.9">19354 3956 0,'0'-14'0,"-26"41"32,13-1-32,13-13 0,0 14 15,-14 13-15,1-1 0,13 1 0,-13 0 16,0-1-16,-1 14 0,1 0 0,0-13 16,13 13-16,-13-14 0,0 1 15,13 0-15,-14 0 0,14-14 0,-13 0 16,13 1-16,0-14 0,-13 0 0,13 1 15,0-1-15,-13 0 0,13 0 16,-14-13-16,14 13 0,-13-13 16,-13 0-16,12 0 15,1-13-15,0 13 0,13-13 16,-13 0-16,0 0 16,13-1-16,0 1 15,13 0-15,-13 0 0,13 13 0,-13-14 16,13 1-16,0 0 0,1-13 15,12 12-15,-13 1 0,14 0 0,-1-14 16,-12 1-16,12-1 0,0 14 16,-12-13-16,-1-14 0,13 14 0,-12-1 15,-1-13-15,13 1 0,-12-1 16,-1 0-16,0 14 0,-13-14 0,13 14 16,0 13-16,-13-14 0,0 14 0,14 0 15,-14-1-15,0 1 16,0 40-1,0-14 1,0 0-16,-14 14 0,14-1 16,-13 1-16,13 12 0,-13-12 15,13 12-15,-13 1 0,13 0 0,-13-1 0,13-12 16,0-1-16,-14 1 0,14-1 16,0-13-16,0 14 0,0-14 15,0 0-15,0 1 0,0-1 0,0 0 0,0 0 16,0 1-16,0-1 15,14-13-15,-1 0 16,-13-13 0,13-1-16,-13 1 15,0 0-15,0 0 0,0-1 0,-13 1 16,13 0-16,-13 0 0,13-1 0,-14 1 16,1 0-16,0 0 0,0 0 0,-1-1 15,1 14-15,0-13 16,13 0-1,13 13 1,0 0-16,-13-13 0,14 13 16,-1 0-16,13 0 0,-12-14 15,-1 14-15,0 0 0,13-13 0,-12 13 16,-1 0-16,0-13 0,14 13 0,-14 0 16,0-13-16,0 13 15,0 0-15</inkml:trace>
  <inkml:trace contextRef="#ctx0" brushRef="#br3" timeOffset="-137471.08">19579 4326 0,'13'-13'16,"-13"-1"-16,0 1 16,14 0-16,-14 0 15,-14 13 1,1 0 0,0 13-1,0-13-15,13 13 16,-14 0-16,14 14 15,14-14 1,-14 0-16,26-13 16,-13 0-16,1 0 15,-1 0-15,0 0 0,0 0 0,1 0 16,-1 14-16,0-14 16</inkml:trace>
  <inkml:trace contextRef="#ctx0" brushRef="#br3" timeOffset="-136782.92">19870 4247 0,'0'0'0,"-13"-14"15,0 14-15,0 0 16,13 14-16,-14-14 0,1 13 15,0-13-15,13 13 0,-13 0 16,-1 0-16,14 1 0,0-1 16,0 0-1,14 0-15,-1-13 16,-13 14-16,13-14 0,0 0 0,1 0 16,-1 0-16,0 0 0,0 0 0,0-14 15,1 14-15,-1-13 0,0 13 0,0-13 16,1 0-16,-1-14 0,0 14 15,0-13-15,14-14 0,-14 13 0,0 1 16,-13 0-16,13-1 0,1 14 16,-14 0-16,0-1 0,13 1 0,-13 0 15,0 0-15,13-1 16,-26 54 0,13-27-1,0 1-15,-13-1 0,13 13 0,0 1 16,-14-1-16,14-13 0,0 14 0,0-14 15,0 14-15,0-14 0,0 13 0,0-13 16,14 1-16,-14 12 0,0-13 16,0 1-16,0-1 0,0 0 15,13 0-15,-13 1 16,-13-41 46,13 14-46,-14 13-16,14-13 16,14-1-1,-1 14 1,0-13 0,0 13-16,1 0 15,-1 0-15,0-13 16,0 13-16,0 0 0,1 0 15,-14-13 1,13 13-16,0 0 0</inkml:trace>
  <inkml:trace contextRef="#ctx0" brushRef="#br3" timeOffset="-136487.22">20055 4154 0,'-13'-13'16,"26"13"0,1 0-16,12 0 15,-13 0-15,1 0 16,-1 0-16</inkml:trace>
  <inkml:trace contextRef="#ctx0" brushRef="#br3" timeOffset="-136099.79">20280 4233 0,'14'27'31,"-14"-14"-31,0 0 16,0 0-1,0 1 1,0-1-16,0 0 0</inkml:trace>
  <inkml:trace contextRef="#ctx0" brushRef="#br3" timeOffset="-135920.18">20320 4075 0,'0'0'16,"-13"0"-1</inkml:trace>
  <inkml:trace contextRef="#ctx0" brushRef="#br3" timeOffset="-134832.08">20439 4233 0,'0'14'0,"13"-1"31,-13 0-31,0 0 16,0 0-16,0 1 15,0-1 1,0 0-1,27-26 32,-27 0-47,13-1 16,0 1 0,0 13-16,1-13 15,-1 13 1,0-13-16,0 13 0,1-13 15,-1 13 1,-26 13 47,26 0-48,-13 0-15,13 0 16,0 1-1,1-14 1,-1 0 0,0 0-16,0-14 15,0 14 1,1-13-16,-1 13 16,-13-13-16,13 13 15,0 13 1,-13 0-1,0 1 17,14-1-17,-1-26 17,0 13-17,0-14-15,0 14 16,1-13-1,-1 13 1,0 0 0,0 0-16,-13-13 15,14 13-15,-1 0 16,-13-13-16,13 13 16,-13 13 77,13-13-77,1 0 0,-1 13-16,0-13 31,-13 13-16,13-13-15,0 0 47,1 0-31,-1 0 0,-13-13-1</inkml:trace>
  <inkml:trace contextRef="#ctx0" brushRef="#br3" timeOffset="-134043.78">21431 4154 0,'-13'13'31,"13"0"-31,-13-13 16,13 14-16,-13-1 16,13 0-16,0 0 15,13-13-15,-13 14 0,13-14 16,0 13-16,0-13 15,14 0-15,-27-13 16,13 13-16,0 0 0,-13-14 0,14 1 16,-14 0-16,0 0 15,0-1-15,-14 14 16,14-13-16,-13 13 0,13-13 16,-13 13-16,0 0 15,39-13 32,-13 13-47,14 13 16,-14-13-16,0 0 15,1 13-15,-1-13 0,0 13 16,0 1-16,-13-1 16,0 0-16,13 0 0,-13 14 0,-13-14 15,13 13-15,-13-12 0,0 25 0,0-25 16,-1 12-16,1-13 0,0 1 15,0-1-15,13 0 0,-14 0 0,14 0 16,-13-13-16,13 14 0,-13-14 16,26-27-1,-13 14 1,13 0-16,1 0 0,-1-1 0,0 1 0,14 0 16,-14-14-16,0 27 0,0-13 15,27-13-15,-27 26 16,-13-14-16,13 14 0,1 0 0,-1-13 15,0 13-15,0 0 0,1-13 0</inkml:trace>
  <inkml:trace contextRef="#ctx0" brushRef="#br3" timeOffset="-133392.16">22212 3969 0,'-13'26'16,"13"-13"-16,0 1 0,0 12 0,-14 1 15,14-1-15,-13 1 0,0 12 16,13-12-16,0-1 0,-13 1 16,13-1-16,-14-13 0,14 14 0,0-14 15,-13 13-15,13-12 0,0-1 0,0 0 16,-13 0-16,13 1 15,0-1-15,0-53 47,0 27-47,13 0 0,-13-1 0,0 1 16,13-13-16,-13-1 0,14 1 0,-14-14 16,13 14-16,0-1 0,-13 1 15,13-1-15,1 1 0,-14-1 16,13 14-16,0 0 0,0 0 0,0-1 15,1 1-15,-1 13 0,13-13 0,-12 13 16,-1 0-16,0 13 0,14-13 16,-14 13-16,0 1 0,0-1 0,-13 0 15,13 0-15,-13 1 0,0-1 0,-13 0 16,13 0-16,-13 1 0,0 12 16,0-13-16,-1 0 0,1 1 15,0-14-15,-14 13 0,14 0 0,0-13 16,0 13-16,-1-13 0,1 14 0,0-14 15,0 0 1</inkml:trace>
  <inkml:trace contextRef="#ctx0" brushRef="#br3" timeOffset="-133228.47">22542 4154 0,'0'0'0,"14"0"0,-14 13 15,0 0-15,0 1 16,0-1-16,-14-13 16,14 13-16,0 0 0,-13 1 15,13-1-15,-13-13 0,13 13 0,-13 0 16,13 0-16</inkml:trace>
  <inkml:trace contextRef="#ctx0" brushRef="#br3" timeOffset="-133046.97">22675 4022 0,'0'-14'0,"-40"28"31,27-14-16</inkml:trace>
  <inkml:trace contextRef="#ctx0" brushRef="#br3" timeOffset="-132791.15">22834 3836 0,'0'53'32,"0"-39"-32,-14 12 15,14 1-15,-13 12 0,0-12 0,0-1 16,-1 14-16,14-14 0,-13-12 16,0 12-16,13-13 0,-13 14 0,13-14 15,-14 0-15,14 0 0,0 1 0,-13-1 16,13 0-16,0 0 15,13-13-15</inkml:trace>
  <inkml:trace contextRef="#ctx0" brushRef="#br3" timeOffset="-132553.12">23006 3876 0,'0'0'0,"13"-26"0,-13 12 0,-13 41 31,13-14-31,-14 14 16,1-1-16,0 1 0,0 12 0,13-12 16,-14-1-16,1 14 0,13-27 0,-13 14 15,13-1-15,0 0 0,-13-12 16,13-1-16,0 13 0,0-12 0,-14-1 16,14 0-16,0 0 0,0 0 31,14-13-31</inkml:trace>
  <inkml:trace contextRef="#ctx0" brushRef="#br3" timeOffset="-132330.92">23336 4154 0,'0'13'16,"0"0"-1,0 14-15,-13-14 16,13 0-16,0 1 0,-13-1 16,13 0-16,-13 0 0,13 0 15</inkml:trace>
  <inkml:trace contextRef="#ctx0" brushRef="#br3" timeOffset="-132159.22">23363 4048 0,'-14'-13'0</inkml:trace>
  <inkml:trace contextRef="#ctx0" brushRef="#br3" timeOffset="-131891.25">23455 4114 0,'0'27'31,"0"-14"-31,0 0 16,0 0-16,14 1 0,-14-1 16,0 0-16,-14 0 15,14 1-15,0-1 16,-13-13-16,13 13 0,-13 0 15,0-13-15,-1 13 16,-12-26 0</inkml:trace>
  <inkml:trace contextRef="#ctx0" brushRef="#br3" timeOffset="-130664.36">24156 3889 0,'0'27'0,"-13"-14"15,13 27-15,0-27 0,-26 119 32,13-92-32,-1-14 0,1 14 0,13-13 15,-13-14-15,0 13 0,13-13 0,0 1 16,-14-1-16,14 0 0,0 0 15,-13 1-15,13-1 16,0-40 0,13 14-1,-13-13-15,14 12 0,-1 1 16,13-13-16,-12-1 0,12 14 0,-13 0 16,0 13-16,1-13 0,12-1 0,-13 14 15,1 0-15,-1 0 16,-13 14-16,-13-1 15,-1 0 1,1 0-16,0 1 0,0-14 0,-1 13 16,1 0-16,0 0 0,-13 0 15,26 1-15,-14-14 16,14 13-16,14 0 16,-1 0-1,0-13-15,0 0 0,0 0 16,14 0-16,-1 0 0,1-13 0,-1 13 15,1 0-15,-1-13 0,1 13 16,-14-13-16,13-1 0,-12 14 0,12-13 16,-13 0-16,1 0 0,-1 0 15,-13-1-15,13 14 0,-13-13 16,13 0-16,-26 0 16,0 13-1,0 0 1,-1 13-16,1-13 15,13 13-15,-13-13 0,0 13 16,13 1-16,-14-14 0,14 13 16,-13-13-16,13 13 15,0 0-15,13 0 16,1-13 0,-1 14-16,0-14 15,0 0-15,1 0 16,-1 0-1,0 0-15,0 0 16,0-14-16,1 14 16,-1-13-16,0 13 15,-13-13-15,13 13 16,1 0-16,-14-13 0,13 13 16,-13-13-1,13 13-15,0 13 31,-13 0-15,0 0 0,0 0-1,13 1-15,-13-1 32,14-13-32,-1-13 15,0 13-15,0 0 16,1-14-1,-1 14-15,0 0 16,0 0 0,1 0-1,-1 0 1,0 0-16,0 14 16,14-14-1,-14 0 1</inkml:trace>
  <inkml:trace contextRef="#ctx0" brushRef="#br3" timeOffset="-129915.27">22159 4696 0,'-13'27'31,"13"-14"-31,-14 0 0,14 0 16,-13 1-16,13 12 0,-13-13 16,13 1-16,0-1 0,0 0 0,-13 0 15,13 1-15,0-1 0,13 0 16,-13 0-16,0 0 0,13 1 16,0-1-16,1-13 0,-1 0 15,0 0-15,0 0 0,1 0 16,-1 0-16,0 0 0,0 0 15,-13-13-15</inkml:trace>
  <inkml:trace contextRef="#ctx0" brushRef="#br3" timeOffset="-129736.89">21974 4842 0,'0'0'16,"26"-13"-16,-13 13 15,1 0-15,-1 0 16,13 0-16,-13-14 0,14 14 16,-14 0-16,14 0 0,-1 0 0,1 0 0,-14 14 15,13-14-15,1 0 0,-14 0 16,13 13-16</inkml:trace>
  <inkml:trace contextRef="#ctx0" brushRef="#br3" timeOffset="-129421.22">22397 4961 0,'13'-40'32,"-13"27"-32,13 13 15,-13-13-15,0 0 0,-13-1 16,0 14 15,0 0-31,0 14 16,-1-14-16,14 13 0,-13 0 15,26 0 1,-13 0-16,14-13 16,-14 14-16,13-14 0,0 0 15,0 13-15,14-13 16,-1 0-16,-13 0 0,1 0 15,-1 0-15,0-13 0</inkml:trace>
  <inkml:trace contextRef="#ctx0" brushRef="#br3" timeOffset="-129188.11">22609 4882 0,'0'-14'0,"13"41"46,-13-14-46,0 0 16,13-13-16,-13 13 0,0 1 16,0-1-16,0 0 15,-13 0-15,0 1 16,-1-14-16,14 13 0,-13-13 16,0 0-16,0 13 15,13-26 1</inkml:trace>
  <inkml:trace contextRef="#ctx0" brushRef="#br3" timeOffset="-128804.08">22847 4670 0,'13'-13'31,"-13"39"-15,0-13-16,0 1 0,0-1 0,-13 0 15,13 0-15,0 14 0,-13-14 0,13 0 16,0 14-16,0-14 0,0 0 16,0 0-16,0 1 0,13-1 0,-13 0 15,13-13-15,0 13 0,0 0 16,1-13-16,-1 0 0,0 0 16,0 0-16,1 0 0,-1 0 15,0-13-15,0 0 0,1 0 16,-1 0-16,-13-1 0,13 1 15,-39 26 17,26 1-17,0-1 1,0 0-16,0 0 0,13 0 16,0 1-16,0-14 15,0 0-15,14 0 16,-14 0-1</inkml:trace>
  <inkml:trace contextRef="#ctx0" brushRef="#br3" timeOffset="-128605.7">22754 4815 0,'53'-13'31,"-40"13"-31,14 0 0,-14-13 16,13 26-16,1-13 0,26 0 15,-13 0-15,-14 0 0,14 0 0,-14 0 16,14 0-16,0 0 0</inkml:trace>
  <inkml:trace contextRef="#ctx0" brushRef="#br3" timeOffset="-128236.36">23455 4789 0,'-39'13'0,"25"0"16,1-13-16,0 0 0,0 14 0,-1-1 15,1-13-15,0 13 0,0 0 16,13 1-16,-13-14 0,13 13 16,13 0-1,0-13-15,0 0 16,0 0-16,1-13 15,-1 13-15,13-27 16,-12 14-16,-1-13 0,0 12 16,0 1-16,1-13 0,-14 12 0,13 1 15,-13 0-15,13 0 0,-13 0 0,0-1 16,-13 41 15,0-14-31,13 0 16,0 0-16,0 1 0,-14 12 0,14-13 15,0 1-15,0-1 0,0 13 16,14-12-16,-14-1 0,0 0 16,0 0-16,13 0 0,-13 1 0,13-1 15,13-13 1</inkml:trace>
  <inkml:trace contextRef="#ctx0" brushRef="#br3" timeOffset="-128070.38">23879 4855 0,'0'-13'32,"-14"0"-32</inkml:trace>
  <inkml:trace contextRef="#ctx0" brushRef="#br3" timeOffset="-109155.24">6178 4061 0,'13'27'32,"-13"-14"-17,0 14-15,0-14 0,0 0 16,0 0-16,13 14 0,-13-14 0,0 13 16,0-12-16,0 12 0,0-13 15,0 0-15,14 1 0,-14-1 16,0 0-16,0 0 15</inkml:trace>
  <inkml:trace contextRef="#ctx0" brushRef="#br3" timeOffset="-108879.28">6165 4061 0,'13'-26'0,"-26"52"0,39-52 0,-13 13 15,1-1-15,-1 14 0,0 0 16,14 0 0,-14 14-16,0-14 0,-13 13 15,13 0-15,-13 0 0,0 1 16,0-1-16,0 0 15,-13 0-15,13 1 0,-13-1 0,13 0 16,-13 0-16,-1-13 0,14 13 0,-13 1 16,0-14-16,13 13 0,-13-13 15</inkml:trace>
  <inkml:trace contextRef="#ctx0" brushRef="#br3" timeOffset="-108503.97">6363 3995 0,'13'27'31,"-13"-14"-31,0 0 16,14 0-16,-14 1 0,0-1 0,0 13 16,0-12-16,0 12 0,0 0 0,0-12 15,0-1-15,0 0 0,0 14 16,0-14-16,0 0 0,0 0 15,0 0 1,13-39 0,-13 13-1,13 13-15,0-13 0,-13-1 0,14 14 0,-1-13 16,0 13-16,-13-13 0,13 13 16,14 0-1,-14 0-15,-13 13 0,0 0 16,13-13-16,-13 14 0,0-1 15,0 0-15,13 0 0,-13 0 0,0 1 16,0-1-16,14 0 16,-14 0-16,13-13 0,-13 14 15</inkml:trace>
  <inkml:trace contextRef="#ctx0" brushRef="#br3" timeOffset="-108004.91">6720 4154 0,'-13'-13'16,"0"13"-16,0 0 15,0 0 1,13 13-16,0 0 0,-14-13 15,14 13-15,0 1 16,0-1 0,14-13-1,-1 0 1,0 0 0,0 0-16,0 0 0,1 0 15,-1 0-15,0 0 16,0 13-16,-13 0 15,14 1 1,-14-1-16,0 0 31,0-39 1,13 12-17,-13 1-15,13 0 0,0 0 16,0-1-16,-13 1 0,14 13 15,-14-13-15,13 13 0,0 0 16,-13-13-16,13 13 0,1 0 16,-14 13-16</inkml:trace>
  <inkml:trace contextRef="#ctx0" brushRef="#br3" timeOffset="-107506.55">7025 4101 0,'0'-13'31,"-14"39"-15,14-12 0,0-1-16,0 0 0,0 0 15,0 0 1,0 1-16,14-28 47,-1 14-47,-13-13 0,13 13 0,0-13 15,1 13 1,-14-13-16,13 13 16,0 0-16,0 0 15,1 0 1,-1 13-1,0-13 1,0 0 31,0-13-31,1 13-1,-1 0-15,0-13 16,0 13-1,1 0-15,-1 0 16,0 0-16,0 0 16,0-14-16,1 14 15</inkml:trace>
  <inkml:trace contextRef="#ctx0" brushRef="#br3" timeOffset="-107232.9">7395 4061 0,'0'-13'16,"-26"13"-1,26 13 1,-14 1 0,14-1-1,0 0-15,14 0 32,-1-26-17,0 13-15,0 0 16,1 0-1,-1 0 1,0 0-16,0 0 16,0 0 15</inkml:trace>
  <inkml:trace contextRef="#ctx0" brushRef="#br3" timeOffset="-105227.98">12144 4128 0,'14'0'0,"-1"0"16,0 13-16,0-13 15,-13 13-15,14-13 0,-1 13 16,0-13-16,0 13 0</inkml:trace>
  <inkml:trace contextRef="#ctx0" brushRef="#br3" timeOffset="-104972.71">12330 4088 0,'13'13'15,"0"0"1,-13 1-16,13-14 16,-13 13-16,0 0 0,0 0 0,0 0 15,-13 1-15,13-1 0,-13 0 0,13 0 16,-13 1-16,-1-1 0,1 0 16,0 13-16</inkml:trace>
  <inkml:trace contextRef="#ctx0" brushRef="#br3" timeOffset="-86355.63">7157 13375 0,'0'-14'15,"13"14"-15,0 0 47,-39 0 0,13 14-47,0-14 0,-1 13 16,1-13-16,0 13 0,0 0 0,-1-13 15,1 14-15,0-1 0,0-13 16,-1 13-1,14 0 1,14-13-16,-1 14 16,0-14-16,-13 13 15,13-13-15,1 0 0,-14 13 0,13-13 16,-13 13-16,13-13 16,-26 13-16,13 1 15,-13-1-15,-1 0 0,1-13 16,0 13-16,0-13 0,-1 14 15,1-14-15,-13 0 0,13 0 0,-1 13 16,1-13-16,-13 0 16,52 0 15,-13 0-31</inkml:trace>
  <inkml:trace contextRef="#ctx0" brushRef="#br3" timeOffset="-86041.88">7329 13547 0,'0'0'16,"26"0"15,-12 0-31,-1 0 0,0 0 16,14 0-16,-14 0 15,0 0-15,0 0 0,0 0 0,1 0 16,-1 0-16,0 0 15,0 0-15,1 0 0</inkml:trace>
  <inkml:trace contextRef="#ctx0" brushRef="#br3" timeOffset="-85833.13">7580 13454 0,'0'-13'16,"0"26"-16,14-13 15,-14 13 1,0 1-16,13-14 0,-13 13 0,0 0 16,0 0-16,0 0 15,0 1-15,0-1 0,-13 0 0,13 0 16,-14 1-16,14-1 0,-13-13 16,13 13-16,-13 0 0,13 0 15</inkml:trace>
  <inkml:trace contextRef="#ctx0" brushRef="#br3" timeOffset="-84991.18">8202 13322 0,'-13'0'0,"0"0"16,13 13-16,-14 0 16,14 0-16,-13-13 0,13 27 0,-13-14 15,13 0-15,-13 14 0,13-14 16,-14 14-16,14-14 0,0 0 0,0 0 15,0 0-15,0 1 0,14-1 0,-14 0 16,13-13-16,-13 13 0,13-13 16,-13 14-16,13-14 0,1 0 0,-1 0 15,13 0 1,-12-14-16,-1 14 16,-13-13-16,13 13 15,0-13 1,0 26-1,1 0 1,-14 1-16,13-14 16,-13 13-16,13-13 15,0 13-15,1-13 16,-1 0 0,-13-13-16,13 13 15,-13-13-15,0-1 16,0 1-16,0 0 0,0 0 15,-13 13-15,13-14 16,-13 1-16,-1 13 16,1 13-1,0-13-15,0 14 16</inkml:trace>
  <inkml:trace contextRef="#ctx0" brushRef="#br3" timeOffset="-84631.59">8427 13494 0,'13'0'0,"-26"0"0,26 13 31,0-13-31,-13 13 16,0 0-16,14 1 15,-14-1-15,0 0 0,13 0 16,-13 1-16,13-14 0,-13 13 15,13-13-15,1 13 16,-1-13-16,0 0 16,0-13-16,0 13 0,-13-13 0,14 13 15,-1-14-15,0 1 16,0 13-16,-13-13 0,14 13 16,-14-13-16,13 13 0,0 13 31,-13 0-31,13 0 15,-13 1-15,0-1 0,-13 0 16,13 0-16,0 0 0,0 1 16,0-1-16,0 0 15</inkml:trace>
  <inkml:trace contextRef="#ctx0" brushRef="#br3" timeOffset="-84473.29">8797 13441 0,'-26'-13'0,"13"13"16</inkml:trace>
  <inkml:trace contextRef="#ctx0" brushRef="#br3" timeOffset="-84105.04">8956 13322 0,'0'26'31,"0"-13"-31,0 1 0,-13-1 0,13 0 16,0 0-16,0 14 0,0-14 15,-13 0-15,13 1 0,0-1 0,0 0 16,0 0-16,0 0 0,0 1 16,-14-1-1,1-13 1,0 0-16,0 0 16,0 0-16,-1 13 15,1-13-15,0 13 0,0-13 16,13 14-16,-14-14 0,14 13 0,-13-13 15,13 13-15,-13-13 16,13 13-16,0 0 0,13 1 16,0-14-16,1 0 15,-1 0-15,0 0 16,0 0-16,14 0 0,-14 0 16</inkml:trace>
  <inkml:trace contextRef="#ctx0" brushRef="#br3" timeOffset="-83701.13">9379 13375 0,'-52'13'31,"38"0"-31,14 0 16,0 1-1,0-1-15,0 0 0,14 0 0,-14 1 16,13-1-16,-13 0 15,0 0-15,13-13 0,-13 13 0,0 1 16,13-1-16,-13 0 16,-13-13-16,13 13 0,-13 1 15,13-1-15,-13-13 16,-1 13-16,1-13 0,0 13 0,0-13 16,-1 0-16,1 0 15</inkml:trace>
  <inkml:trace contextRef="#ctx0" brushRef="#br3" timeOffset="-82926.88">9551 13322 0,'14'-13'31,"-14"39"-15,0-13-16,0 0 0,-14 1 0,14-1 15,0 13-15,0-12 0,0-1 16,-13 0-16,13 0 0,0 1 0,0-1 16,0 0-16,0 0 0,0 0 0,0 1 15,0-1 1,13-13 15,1 0 0,-1 0-15,0 0 15,-13 13-31,13-13 16,1 0 0,-1 0-16,-13-13 15,13 13 1,0-13-16,1 13 15,-1 0 1,0 13 15,13-13 1,-26-13-32,14 13 0,-1-14 15,0 1 1,-13 0-1,0 0-15,-13 13 32,0 13-17,13 0 1,-14 0-16,28-13 16,-1 0-1,0 0 1,0-13-16,1 13 0,-1-13 0,0 13 15,0-13-15,0 0 0,1 13 16,-1-14-16,0 14 0,-13-13 0,13 13 16,1-13-16,-1 26 31,-13 0-31,0 1 16,0-1-16,0 0 15,0 0-15,0 0 16,0 1-1</inkml:trace>
  <inkml:trace contextRef="#ctx0" brushRef="#br3" timeOffset="-82736.09">9776 13454 0,'80'-26'31,"-67"12"-31,13 14 16,-12-13-16,12 13 0,1-13 16,-14 13-16,0-13 0,13 13 0,-12 0 15,-14-14-15,13 14 0,0 0 16</inkml:trace>
  <inkml:trace contextRef="#ctx0" brushRef="#br3" timeOffset="-81823.01">7038 13917 0,'13'0'16,"-39"13"15,12-13-31,1 14 16,0-1-16,0 0 0,0 0 15,13 0 1,0 1-16,0-1 16,13-13-16,0 13 15,0 0-15,0-13 16,-13 14-16,14-14 0,-1 13 15,0 0 1,-13 0-16,-13 1 16,0-1-1,-1 0-15,1-13 0,0 0 16,0 13-16,0-13 0,-1 0 16,1 13-1,0-13-15</inkml:trace>
  <inkml:trace contextRef="#ctx0" brushRef="#br3" timeOffset="-81628.06">7342 14023 0,'53'0'31,"-40"0"-31,1-13 16,-1 13-16,0 0 0,0 0 16,0 0-16,1 0 0,-1 0 15</inkml:trace>
  <inkml:trace contextRef="#ctx0" brushRef="#br3" timeOffset="-81385.08">7501 13864 0,'13'13'16,"0"-13"0,-13 14-16,14-14 0,-14 13 0,13-13 15,-13 13-15,13 0 0,-13 1 16,13-14-16,-13 13 0,0 0 0,0 0 15,0 0-15,0 1 0,0-1 16,-13 0-16,13 0 16,-13 1-16,13-1 0</inkml:trace>
  <inkml:trace contextRef="#ctx0" brushRef="#br3" timeOffset="-79156.06">8176 13970 0,'-14'26'31,"14"-12"-15,0-1-16,0 0 15,0 0-15,0 1 16,0-1-16,0 0 0,0 0 16,0 1-1,14-41 32,-14 14-47,13 13 16,-13-13-16,0-1 0,13 14 0,-13-13 15,13 13-15,-13-13 16,14 13-16,-1 0 16,-13 13-1,13 0-15,-13 1 16,13-14-16,-13 13 16,13-13-16,1 0 15,-1 0 1,0 0-16,-13-13 0,13 13 15,1-14-15,-1 1 0,0 0 16,-13 0 0,13 13-16,1 13 47,-14 0-47,13-13 15,-13 13-15,13-13 0,0 0 16,0 0-16,1 0 15,-1-13-15,0 0 16,-13 0 0,0-1 15,0 1-31,13 26 47,-13 1-47,14-14 0,-14 13 0,0 0 15,13 0-15,-13 1 16,0-1-16,0 0 0,13-13 0,-13 13 16,0 1-16,0-1 0,13-13 15,-13 13 1,13-26 0,1 0-1,-14-1-15,13 1 16,-13 0-16,13 13 15,-13-13-15,13 13 16,1 0-16</inkml:trace>
  <inkml:trace contextRef="#ctx0" brushRef="#br3" timeOffset="-78896.58">8718 14023 0,'0'0'16,"0"13"15,0 0-16,0 1 1,0-1-16,13-13 16,-13 13-16,0 0 15,13-13 1,1 0 0,-1-13-1,0 13 1,0-13-16,14 13 15,-14 0 1</inkml:trace>
  <inkml:trace contextRef="#ctx0" brushRef="#br3" timeOffset="-77715.33">9128 13957 0,'-13'26'32,"0"-13"-32,13 1 0,0-1 15,0 13-15,0-12 0,-14 12 0,14 1 16,0-1-16,0-13 0,0 14 16,0-1-16,0-13 0,-13 14 0</inkml:trace>
  <inkml:trace contextRef="#ctx0" brushRef="#br3" timeOffset="-77448.08">9075 13957 0,'0'0'0,"13"-27"15,-13 14-15,14 13 16,-1 0-16,0 13 15,0 1-15,1-1 16,-14 0-16,0 0 16,13-13-16,-26 13 0,-1 54 31,1-54-31,13 0 0,-13 0 0,0 1 16,13-1-1</inkml:trace>
  <inkml:trace contextRef="#ctx0" brushRef="#br3" timeOffset="-77264.02">9274 13851 0,'0'26'31,"0"-12"-31,-14 12 16,14-13-16,0 1 0,0 12 0,0 0 15,0 1-15,-13-14 0,13 14 16,0-14-16,0 0 0,0 14 16,13-14-16,-13 0 0</inkml:trace>
  <inkml:trace contextRef="#ctx0" brushRef="#br3" timeOffset="-76180.77">9499 13983 0,'-53'0'32,"39"13"-32,1 1 15,0-1-15,13 0 0,-13 0 16,13 1-16,0-1 0,0 0 15,-14 0-15,28 1 0,-14-1 16,13 0-16,0 0 16,0-13-16,1 0 15,-1-13 1,0 0-16,0 0 16,-13-1-16,0 1 0,14 0 15,-14 0-15,0-1 16,0 1-16,0 40 47,0-14-32,0 0-15,0 0 16,0 1-16,0-1 0,13-13 16,-13 13-1,13-13-15,0 0 16,0-13-16,1 13 15,-1 0-15,-13-13 0,13 13 16,0-14-16,1 1 16,-14 0-16,13 13 15,-13-13-15,13 13 0,-13-14 0,13 14 16,-13-13-16,14 0 16,-14 39 15,0-12-16,0-1 1,0 0-16,0 0 0,13-13 16,0 14-1,0-14-15,0 0 16,1 0-16,-1-14 0,0 14 0,0-13 16,1 0-16,-1 0 0,0 13 15,-13-14-15,13 1 0,-13 0 0,13 0 16,-13-1-1,-26 28 17,26-1-32,0 0 15,0 0 1,0 1-16,0-1 0,0 0 16,13-13-16,-13 13 0,13 1 0,1-14 15,-1 13-15,0-13 16,0 0-16,1 0 0,-1 0 0,0 0 15</inkml:trace>
  <inkml:trace contextRef="#ctx0" brushRef="#br3" timeOffset="-75707.08">10067 13864 0,'-26'13'0,"26"1"16,-13 25 0,13-25-16,-14-1 0,14 0 0,0 0 15,0 14-15,0-14 0,-13 0 0,13 0 16,0 1-16,0-1 0,0 0 15,0 0-15,0 1 16,27-28 15,-14 1-15,0 13 0,-13-13-16,13 13 15,1 0 1,-14 13-1,0 0-15,0 1 16,0-1 0,-14-13-1,14 13-15,-13-13 16</inkml:trace>
  <inkml:trace contextRef="#ctx0" brushRef="#br3" timeOffset="-75183.23">10173 13996 0,'-13'14'15,"26"-28"-15,-39 41 0,26-14 0,0 0 16,0 1-16,0-1 16,0 0-16,13 0 0,-13 1 15,13-14-15,0 13 16,1-13-16,-1 0 15,0-13-15,0-1 16,-13 1-16,0-13 16,-13 26-16,13-14 15,0 1-15,-13 0 16,13 0-16,0-1 16,-13 14-16</inkml:trace>
  <inkml:trace contextRef="#ctx0" brushRef="#br3" timeOffset="-74791.08">10544 13944 0,'0'0'0,"-27"13"0,14 0 16,13 0-16,0 0 15,13 1-15,-13-1 16,13 0-16,-13 0 0,14-13 15,-14 14-15,13-1 16,0 0-16,0 0 0,-13 1 16,14-1-1,-28-13 1,14 13-16,-13-13 0,13 13 16,-13-13-16,0 13 0,-1-13 15,1 0-15,0 14 16,0-14-1</inkml:trace>
  <inkml:trace contextRef="#ctx0" brushRef="#br3" timeOffset="-74127.21">10702 13930 0,'0'0'0,"-13"40"32,13-27-32,0 0 15,0 1-15,0-1 0,0 0 16,0 0-16,0 1 0,0-1 16,0 0-16,-13 0 0,13 1 15,0-1 1,0 0-16,26-26 47,-12 0-32,-1 26 1,0 0 0,0-13-1,-13 13-15,14 0 16,-1 1-1,13-14 1,-13-14-16,1 1 16,-1 13-16,-13-13 0,13 13 15,-13-13-15,13 13 0,-13-13 16,14 13-16,-14-14 0,13 1 16,0 26 15,-13 1-16,13-14 1,1 0-16,-1 0 16,0 0-16,0 0 15,-13-14-15,13 14 16,-13-13-16,0 0 16,0 0-1,-13 13 1,0 0-16,-13 0 15,12 13-15,1-13 0,0 0 16,0 13-16,-1-13 16,14 13-16,-13-13 0</inkml:trace>
  <inkml:trace contextRef="#ctx0" brushRef="#br3" timeOffset="-73848.22">11112 13891 0,'0'-14'0,"14"28"31,-14-1-15,0 0-16,0 0 0,0 1 15,0 12-15,0-13 0,0 14 0,0-14 16,0 0-16,0 14 0,0-14 0,0 13 15,0-12-15,13-1 0,-13 13 16,0-13-16,13 1 0,0-1 16,-13 0-16,14-13 0,-14 13 15,13-13-15,0 0 16,0 0-16,1-13 0,-1 0 16</inkml:trace>
  <inkml:trace contextRef="#ctx0" brushRef="#br3" timeOffset="-73643.63">11099 14023 0,'13'-13'31,"1"13"-31,-1 0 0,0 0 16,0-14-16,14 14 0,-14-13 15,0 13-15,1-13 0,-1 13 0,0-13 16,0 13-16,0-13 0,1-1 16</inkml:trace>
  <inkml:trace contextRef="#ctx0" brushRef="#br3" timeOffset="-73220.19">11192 13467 0,'-13'-13'0,"39"26"15,1-13 1,-14 0-16,0 0 0,13 14 0,-12-14 15,12 0-15,1 0 0,-14 13 0,13-13 16,-12 0-16,12 0 0,-13 0 16,0 0-16,1 13 0,-1-13 0,0 0 15,0 0-15,1 0 16,-1 0 0,0-13-16</inkml:trace>
  <inkml:trace contextRef="#ctx0" brushRef="#br3" timeOffset="-72956.92">11523 13375 0,'13'26'31,"-13"-13"-15,13-13-16,-13 14 0,0-1 0,13 0 15,-13 0-15,14 1 0,-14-1 0,0 0 16,13 0-16,-13 0 0,0 1 16,0-1-16,0 0 0,0 0 15,-13-13-15,13 14 0,0-1 0,-14-13 16,14 13-16,0 0 16,-13-13-16,13 13 0,0 1 15</inkml:trace>
  <inkml:trace contextRef="#ctx0" brushRef="#br3" timeOffset="-72584.27">11576 14010 0,'26'-14'32,"-13"28"-32,0-14 0,1 0 0,-1 0 15,0 0-15,14 0 0,-14 0 16,0 0-16,0 13 0,1-26 0,-1 26 16,0-13-16,0 0 0,0 0 15</inkml:trace>
  <inkml:trace contextRef="#ctx0" brushRef="#br3" timeOffset="-72316.06">11814 13944 0,'13'26'31,"0"-13"-31,0-13 0,-13 13 0,14 1 16,-1-1-16,-13 0 16,13 0-16,-13 1 0,0-1 15,0 0-15,0 0 16,0 1-16,-13-1 0,13 0 16,-13-13-16,13 13 0,-14-13 0,1 13 15,0-13-15,0 0 16,-1 0-16</inkml:trace>
  <inkml:trace contextRef="#ctx0" brushRef="#br3" timeOffset="-68738.94">12396 13269 0,'0'-13'0,"0"26"0,0-40 0,-27 54 47,14-27-47,13 13 0,-13 0 0,13 14 15,-13-14-15,-1 13 0,14-12 16,-13-1-16,13 13 0,0-12 0,-13-1 15,13 0-15,0 0 0,0 1 16,0-1 0,13-13-16,-13 13 0,27-26 15,-14 13 1,-13-13-16,13 13 0,0 0 16,-13-14-16,13 14 0,1 0 31,-1 14-16,-13-1-15,13 0 16,-13 0 0,0 0-16,13-13 0,1 14 15,-1-14 1</inkml:trace>
  <inkml:trace contextRef="#ctx0" brushRef="#br3" timeOffset="-68457.26">12621 13441 0,'0'-13'0,"0"26"0,0-40 15,-14 41 17,14-1-17,-13 0-15,26 0 16,-13 1-16,14-1 0,-1 0 16,0-13-16,0 0 15,1 0-15,12 0 16,-13-13-16,-13 0 15,0-14 1,-13 14-16,13 0 16,-13 13-16,0-14 0,-1 1 15,1 0-15,0 13 16</inkml:trace>
  <inkml:trace contextRef="#ctx0" brushRef="#br3" timeOffset="-68018.83">13004 13428 0,'-13'0'0,"13"26"31,0 1-31,0-14 15,13-13-15,-13 13 0,14-13 0,-1 0 16,0 0-16,13 0 16,-12 0-16,-14-13 15,13 13-15,-13-13 16,0-1-16,-13 1 16,13 0-16,-14 0 0,1-1 15,0 14 1,0-13-16,0 13 15,-1 13-15,14 1 32</inkml:trace>
  <inkml:trace contextRef="#ctx0" brushRef="#br3" timeOffset="-67515.91">13189 13414 0,'0'-13'32,"-13"40"-32,13-14 15,0 0-15,0 0 16,0 1 0,13-14-16,-13 13 0,14-13 15,-1 0-15,13-13 16,-12 13-1,-1 0 1,0 0 15,-13 13-31,13-13 0,1 13 16,-1-13-16,0 0 16,13 0-1,-12 0-15,-14-13 0,13 13 0,0-13 16,0-1-16,1 14 0,-1-13 0,-13 0 15,13 0-15,0-1 0,-13 1 16,0 0-16,14 0 0,-14-1 0,0 1 16,13 26 15,-13 1-15,0-1-16,0 0 0,0 0 0,0 1 15,0-1-15,13 0 16,-13 0-16,13 1 0,-13-1 15,0 0-15,13-13 0</inkml:trace>
  <inkml:trace contextRef="#ctx0" brushRef="#br3" timeOffset="-67352.13">13467 13428 0,'-26'0'31,"52"-14"-16,-12 1 1,-1 13-16,13-13 16,-13 13-16,1 0 0,-1-13 0,0 13 15,0-14-15,1 14 0,-1 0 0,0 0 16,0 0-16,0 0 16</inkml:trace>
  <inkml:trace contextRef="#ctx0" brushRef="#br3" timeOffset="-66363.16">12607 13917 0,'-26'0'15,"26"13"1,-13-13-16,13 14 0,-14-14 15,14 13-15,-13 0 0,13 0 0,0 0 16,0 1-16,-13-14 0,13 13 0,0 0 16,0 0-16,13 1 15,0-14 1,1 0-16,-1-14 16,0 14-1,0 0-15,1 0 31,-1 0-31,-13 14 16,0-1-16,13 0 16,0-13-1,1 0 1,-1 0-16,0 0 16,0-13-16,0 13 0,1 0 15,-14-13-15,13 13 0,-13-14 0,13 14 16,-13-13-16,13 0 15,1 13 17,-1 13-17,0-13-15,0 13 16,1-13-16,-1 0 16,0 0-16,0-13 15,-13 0 1,-13 0-16,13-1 15,-13 14-15,0-13 16,-1 0 0,54 26 15</inkml:trace>
  <inkml:trace contextRef="#ctx0" brushRef="#br3" timeOffset="-65231.96">13189 14076 0,'-13'13'0,"26"-26"0,-26 39 0,13-12 15,-13-14-15,13 13 0,0 0 16,0 0-16,13 0 16,-13 1-16,13-14 15,1 13-15,-1-13 0,13 0 16,-26-13-1,14 13-15,-1-14 0,-13 1 16,13 0-16,-13 0 0,-13 13 16,13-13-16,0-1 0,0 1 15,-13 13-15,13-13 0,-14 0 16,1 13 0,0 0-1,0 0-15,13 13 16,0 0 31,132-13 93,-119 0-140,53-13 0,-52 0 0,-1 13 16,0 0 15,0 13-15,-13 0-1,14-13 1,-14 13-16,13-13 16,0 14-16,0-14 15,0-14-15,1 14 16,-1 0 0,-13-13-16,13 13 0,-13-13 0,13 13 0,-13-13 15,14 13-15,-14-14 0,13 14 16,-13-13-1,13 13-15,-13-13 0,0 26 47,13 0-47,-13 1 0,0-1 16,0 0-16,13 0 0,-13 1 16,14-14-16,-14 13 0,13-13 15,0 0 1,0 0-16,1 0 0,-1-13 0,0-1 15,0 14-15,1-13 0,-1-13 0,0 12 16,0 1-16,0 0 16,1-14-16,-1 14 0,-13 0 0,13-13 15,0 12-15,-13 1 0,14 0 16,-14 0-16,0 26 47,0 0-47,0 0 0,-14 1 15,14-1-15,0 0 0,0 0 0,0 14 16,0-14-16,0 0 0,0 0 0,14 1 16,-14-1-16,0 0 15,13-13 1</inkml:trace>
  <inkml:trace contextRef="#ctx0" brushRef="#br3" timeOffset="-65055.64">13798 14010 0,'-13'-14'16,"39"14"0,-26-13-16,13 13 0,1 0 15,-1-13-15,0 13 0,0 0 16,1-13-16,-1 0 0,0 13 0,0-14 15</inkml:trace>
  <inkml:trace contextRef="#ctx0" brushRef="#br3" timeOffset="-64656.19">14698 13361 0,'39'0'16,"-25"0"0,12 0-16,-13 0 0,0 0 0,1 0 15,-1 0-15,0 0 0,14 0 16,-14 0-16,0 0 0,0 0 0,0 0 15,1 0-15,-1 0 0,0 0 0,0 0 16</inkml:trace>
  <inkml:trace contextRef="#ctx0" brushRef="#br3" timeOffset="-64376.05">14896 13256 0,'26'0'16,"-12"13"-16,-1-13 15,0 13-15,0 0 0,14-13 0,-14 14 16,0-1-16,14 0 0,-14 0 16,0 0-16,0 1 0,1-1 0,-1 0 15,-13 0-15,13 1 0,-13-1 16,0 0-16,0 0 0,0 1 15,-13-1-15,0 0 16,-1 0-16,14 0 0,-13 1 0,0-14 0,0 13 16,0 0-16,-1 0 15,-12 1-15,13-14 0</inkml:trace>
  <inkml:trace contextRef="#ctx0" brushRef="#br3" timeOffset="-63574.93">15901 13282 0,'0'0'0,"-26"27"16,26-14-16,0 0 0,0 13 16,0-12-16,0-1 0,13 0 15,0 0-15,1 1 16,-1-1-16,0 0 0,14 0 0,-14 1 16,13-14-16,1 13 0,-14-13 0,13 0 15,-12 0-15,-1 0 0,0-13 16,0 13-16,1-14 0,-14 1 0,13 13 15,-13-13-15,0 0 0,0-1 16,0 1-16,-13 0 0,-1 0 0,1-1 16,0 1-16,-14 0 0,14 13 0,-13-13 15,-1 0-15,14 13 16,-27 0-16,27 0 16,-13 0-16,26 13 15</inkml:trace>
  <inkml:trace contextRef="#ctx0" brushRef="#br3" timeOffset="-62653.95">16431 13282 0,'0'0'0,"-14"13"0,14 1 16,-13-14-16,13 13 0,0 0 0,-13 0 16,13 0-16,0 14 0,0-14 0,0 0 15,-13 14-15,13-14 0,0 0 16,0 1-16,0-1 0,0 0 0,0 0 15,0 0-15,0 1 0,0-1 16,0 0 0,13-39 15,-13 12-31,0-12 0,13 13 16,-13-14-16,13 1 0,1-1 0,-14 1 15,13-14-15,0 27 0,0-13 16,-13 12-16,14 1 0,-1 0 0,0 0 15,0 13-15,14 0 16,-27 13-16,13-13 16,-13 13-16,0 0 0,0 1 15,0-1-15,-13 0 0,13 0 16,-14 0-16,1 1 16,0-1-16,13 0 0,-13-13 0,0 13 15,-1-13-15,1 14 0,0-14 16,0 0-1,-1 13-15</inkml:trace>
  <inkml:trace contextRef="#ctx0" brushRef="#br3" timeOffset="-61748.39">16748 13361 0,'-13'0'16,"-14"14"0,14-14-16,13 13 0,-13-13 15,13 13-15,0 0 0,0 1 16,13-1 0,-13 0-16,13-13 15,1 0-15,12 0 16,-13-13-16,1 0 15,-1-1 1,-13 1 0,0 40 15,13-27-31,-13 13 16,13-13-16,-13 13 15,14-13-15,-1 0 16,13 0-16,14-26 15,-40 12 1,13 14-16,0-13 0,1 0 0,-14-14 16,13 14-16,-13 0 0,13 0 0,-13 0 15,0-1-15,0 1 0,13 0 16,-13 0-16,-13 26 31,0 0-31,13 0 16,0 1-16,0-1 0,0 0 0,0 0 15,0 0-15,0 1 0,0-1 16,0 0-16,13 0 0,-13 1 16,13-14-16,0 0 0,-13 13 15,14-13-15,-1 0 0,0-13 16,0 13-16,1 0 16,-1 0-1,-13 13 1,13 0-16,-13 0 15,-13 14 1,13-14-16,0 0 0,0 0 16,13 1-1</inkml:trace>
  <inkml:trace contextRef="#ctx0" brushRef="#br3" timeOffset="-61642.48">17277 13348 0,'0'-13'16</inkml:trace>
  <inkml:trace contextRef="#ctx0" brushRef="#br3" timeOffset="-61471.16">16973 13348 0,'79'-26'16</inkml:trace>
  <inkml:trace contextRef="#ctx0" brushRef="#br3" timeOffset="-61079.18">17291 13454 0,'0'-13'15,"-14"0"16,1 13-31,0 13 16,13 0-16,-13 0 16,13 1-1,13-14-15,-13 13 0,13-13 0,0 13 16,1-13-16,-1 0 16,0 0-16,13 0 0,-12 0 15,-1 0-15</inkml:trace>
  <inkml:trace contextRef="#ctx0" brushRef="#br3" timeOffset="-60832.04">17542 13348 0,'-13'0'0,"13"-13"31,-14 39-15,14-12-16,0-1 16,-13 0-16,13 0 15,0 1-15,0 12 16,0-13-16,0 1 16,0-1-1</inkml:trace>
  <inkml:trace contextRef="#ctx0" brushRef="#br3" timeOffset="-60620.04">17423 13481 0,'13'-27'32,"0"27"-32,0 0 0,1 0 15,-1-13-15,0 13 16</inkml:trace>
  <inkml:trace contextRef="#ctx0" brushRef="#br3" timeOffset="-59700.38">18164 13282 0,'0'0'0,"-14"13"16,14 1-1,0-1-15,-13 0 0,13 0 0,0 0 16,0 1-16,0-1 0,-13 0 16,13 14-16,0-14 0,0 0 0,0 14 15,0-14-15,0 0 0,0 0 0</inkml:trace>
  <inkml:trace contextRef="#ctx0" brushRef="#br3" timeOffset="-59504.09">18045 13441 0,'0'-13'0,"13"-1"15,0 14 1,0 0-1,1 0-15,-1 0 0,0 0 16,0 0-16,0 0 0,1 14 0,-1-28 16,13 14-16,-12 14 0,-1-14 15,0 0-15</inkml:trace>
  <inkml:trace contextRef="#ctx0" brushRef="#br3" timeOffset="-58989.33">18441 13361 0,'0'-13'16,"0"40"15,0-14-31,0 0 0,0 0 16,0 1-16,0-1 15,14-13-15,-14 13 0,0 0 16,0 1-16,13-14 16,0 0-1,0-14 1,1 1-16,-1 0 16,0 13-1,-13-13 1,13 13-1,1 0-15,12 0 16,-13-14 0,0 14-16,1 0 0,-1-13 15,0 13-15,0 0 0,-13-13 16,14 13-16,-14-13 0,-27 26 47,14-13-47,13 13 15,-13 0-15,26 1 16,-13-1 0,13-13-16,0 0 0,1 0 15,-14 13-15,13-13 16,0 0-16</inkml:trace>
  <inkml:trace contextRef="#ctx0" brushRef="#br3" timeOffset="-58643.9">19368 13295 0,'-27'27'31,"27"-14"-31,-13 0 0,13 0 0,0 1 16,-13-14-16,13 13 0,0 0 16</inkml:trace>
  <inkml:trace contextRef="#ctx0" brushRef="#br3" timeOffset="-58355.77">19460 13322 0,'-13'-13'0,"-14"39"16,27-13-1,14 0-15,-14 1 16,13-14-16,0 0 16,-13 13-16,13-13 0,1 0 0,12 0 15,-13-13 1,-13-1-1,-13 1 1,13 0-16,-13 13 16,0-13-16,-1 13 15,-12-13-15</inkml:trace>
  <inkml:trace contextRef="#ctx0" brushRef="#br3" timeOffset="-58119.83">19129 13137 0,'-39'39'15,"78"-78"-15,-92 91 0,40-38 0,0 12 0,-13 1 16,12-1-16,-12 1 0,13-1 15,13 14-15,-14-14 0,14 1 0,0-14 16,0 13-16,14 1 0,-1-1 0,0-13 16,14 14-16,-14-14 0,13 0 15,-13 1-15,14-1 0,-1-13 0</inkml:trace>
  <inkml:trace contextRef="#ctx0" brushRef="#br3" timeOffset="-57155.29">20055 13203 0,'-39'66'16,"25"-53"0,14 0-16,-13 1 0,13-1 15,0 0-15,0 0 0,0 0 0,0 1 16,0-1-16,-13 0 15,0-26 17,13 0-32,-13 13 0,13-14 0,-14 14 15,1 0-15,13-13 16,-13 13-16,0 0 0,-1 0 0,1-13 16,0 26-16,0-13 0,-14 0 0,14 0 15,0 0-15,13 13 0,-13-13 16,-1 14-16,1-1 0,13 0 15,13 0-15,1 1 16,12-14-16,-13 13 16,14-13-16,-14 0 0,13 0 0,1 0 15,-1 0-15,-12 0 0,12 0 16,-13 0-16,14-13 0,-14 13 0,0-14 16,0 14-16,1 0 0,-1-13 0,-13 0 15,13 13 1,-13-13-16,-13 13 31,-14 13-15,27 0-1,0 0 1,14-13 0,-1 14-16,0-14 15,0 0-15,1 0 16,-1 0-1,0 0-15,0 0 47,0 0-47,1-14 16,-1 14 0,0 0-16,0 0 0,1 0 15,-1 0-15,0 0 16,-13 14-16,13-14 15,-13 13-15,0 0 16,0 0-16,0 1 16,-13-1-16,13 0 15,-13 0-15,0-13 0,13 13 16,-14-13-16,14 14 0,-13-14 0,13 13 16,-13-13-1,39-13 16,-12-1-15,-1 14-16,-13-13 0</inkml:trace>
  <inkml:trace contextRef="#ctx0" brushRef="#br3" timeOffset="-56936.92">20492 13176 0,'13'13'16,"-13"1"-16,0-1 16,0 0-16,0 0 0,0 1 15,-13 12-15,13-13 0,0 14 0,-13-14 16,13 13-16,0 1 0,-13-14 0,-1 14 16,14-14-16,-13 13 0,0-12 15,0-1-15,-14 13 0,14-13 0,0 1 16,-14-14-16,14 13 0</inkml:trace>
  <inkml:trace contextRef="#ctx0" brushRef="#br3" timeOffset="-55843.97">14949 13930 0,'26'14'15,"-12"-14"1,-1 0-16,0 0 0,14 0 0,-14 0 16,13 13-16,-13-13 0,14 0 15,-14 0-15,14 0 0,-14 0 0,0 0 16,0 0-16,1 0 16,-1 0-16,-13-13 0</inkml:trace>
  <inkml:trace contextRef="#ctx0" brushRef="#br3" timeOffset="-55600.58">15200 13785 0,'27'13'32,"-14"-13"-32,0 13 0,0 0 15,1 1-15,-1-1 0,0 0 0,0 0 16,1 1-16,-14-1 0,13 0 15,-13 0-15,13 14 0,-13-14 0,0 0 16,0 0-16,-13 1 0,13-1 0,0 0 16,-13 0-16,-1 1 15,1-1-15</inkml:trace>
  <inkml:trace contextRef="#ctx0" brushRef="#br3" timeOffset="-54665.17">16285 13904 0,'13'-13'31,"1"13"-31,-1 0 31,-40 13 16,14-13-47,0 13 16,0-13-16,-1 0 15,14 13 1,0 14-1,14-14 1,-1 0-16,0 0 16,-13 1-16,13-14 0,-13 13 15,14 0-15,-14 0 0,0 1 16,0-1-16,0 0 16,-14-13-16,14 13 0,-13-13 15,13 14-15,-13-14 0,0 0 16,-14 0-1,27-14-15</inkml:trace>
  <inkml:trace contextRef="#ctx0" brushRef="#br3" timeOffset="-53952.89">16880 13930 0,'-26'14'0,"13"25"15,13-26-15,0 1 0,0-1 16,0 0-16,-13 0 0,13 1 16,0 12-16,0 14 0,0-27 15,0 0-15,0 0 0,-14 1 0,14-1 16,0 0-16,0 0 0,0-39 47,0 13-47,0-14 0,0 1 0,0-1 15,14 1-15,-14 13 0,13-14 16,-13 1-16,13 12 0,-13 1 16,13 0-16,0 0 0,1 0 15,-14-1-15,13 14 0,0 14 16,-13-1-1,0 13-15,-13-13 16,13 1-16,-13-1 16,13 0-16,-14-13 0,1 13 0,13 1 15,-13-14-15,13 13 0,-13-13 0,0 13 16,-1-13 0,14 13-16</inkml:trace>
  <inkml:trace contextRef="#ctx0" brushRef="#br3" timeOffset="-53506.96">16603 14023 0,'13'0'15,"13"0"-15,-12 0 16,12 0-16,-13 0 0,0 0 16,14 0-16,-14 0 0,14 0 0</inkml:trace>
  <inkml:trace contextRef="#ctx0" brushRef="#br3" timeOffset="-53114.79">17039 14076 0,'13'-13'31,"1"13"-16,-1 0-15,0 0 0,0 0 16,14 0 0,-14 0-16,0-14 15</inkml:trace>
  <inkml:trace contextRef="#ctx0" brushRef="#br3" timeOffset="-52914.93">17264 13996 0,'0'27'31,"0"-14"-31,-13 0 16,13 1-16,0-1 0,0 0 15</inkml:trace>
  <inkml:trace contextRef="#ctx0" brushRef="#br3" timeOffset="-51888.58">18203 13983 0,'-13'13'16,"13"1"-16,0-1 0,-13 0 15,13 0-15,0 1 16,0-1-16,0 0 0,0 0 15,0 1-15,0-1 0,0 13 16,0-13 0</inkml:trace>
  <inkml:trace contextRef="#ctx0" brushRef="#br3" timeOffset="-51482.83">18111 14089 0,'26'-13'15,"-13"13"-15,1 0 0,-1 0 16,0 0-16,0 0 0,1 0 16,-1 0-16,0 0 0,0 0 15,0 0-15,14 0 16</inkml:trace>
  <inkml:trace contextRef="#ctx0" brushRef="#br3" timeOffset="-50804.01">18481 14063 0,'0'-14'16,"0"41"15,0-14-15,0 0-16,0 1 15,0-1-15,13-13 0,-13 13 16,0 0-16,0 0 16,14-13-16,-1-13 31,0 0-31,0 0 31,-13 0-15,14 13-16,-14-14 15,13 14-15,0 0 16,0 0-16,0-13 16,1 13-16,-1 0 15,0 0-15,0-13 0,1 13 0,-1-13 16,0-1-16,0 14 0,-13-13 16,13 13-16,-13-13 15,-26 26 16,13 0-31,13 1 16,-13-14-16,13 13 0,0 0 16,0 0-16,0 1 15,0-1-15,13-13 16,0 0-16,-13 13 0,13-13 16,0 0-16,1 0 0,-1 0 15,0 0-15,0 0 0,1 0 16,-1 0-16,0 0 0,0 0 0,1 0 15</inkml:trace>
  <inkml:trace contextRef="#ctx0" brushRef="#br3" timeOffset="-49949.15">19315 13838 0,'-14'0'15,"1"0"-15,0 13 0,13 0 16,-13-13-16,13 13 0,0 1 0,-14 12 0,14-13 15,0 1-15,0 25 16,0-12-16,0-14 0,0 0 16,0 14-16,14-14 0,-14 0 0,0 0 15,13 1-15,-13-1 0,13 0 16,0 0-16,1-13 0,-1 13 16,0-13-16,0 0 0,1-13 15,-1 13-15</inkml:trace>
  <inkml:trace contextRef="#ctx0" brushRef="#br3" timeOffset="-49520.28">19500 13970 0,'0'-13'16,"-13"39"0,-1-26-1,14 13-15,0 1 16,0-1-16,-13 0 0,13 0 15,0 1-15,0-1 0,0 0 16,13-13-16,-13 13 16,14-13-16,12 0 15,-26-13-15,13 13 16,0-13-16,1 13 16,-14-13-16,13 13 15,-13 13 32,0 0-47,13-13 16,0 0-16,1 0 0,-1 13 15,0-26-15,0 13 0,1 0 16,-14-13-16,13 0 16,-13-1-1,-13 1-15,-1 0 16,14 0-1,-13 13-15,0-14 0</inkml:trace>
  <inkml:trace contextRef="#ctx0" brushRef="#br3" timeOffset="-49155.12">20055 13811 0,'0'13'31,"0"14"-31,0-14 16,0 0-16,0 1 16,0-1-16,0 0 0,0 0 15,0 1 1,-13-14-1,0 0-15,0 0 0,-1 13 16,-12-13-16,13 0 0,0 0 16,-1 13-16,-12-13 0,13 13 15,-1-13-15,1 0 0,0 13 0,0-13 16,0 14-16,-1-1 31,28 0-31,-1-13 16,0 13-16,0-13 0,0 0 15,1 14-15,-1-14 0,0 0 16,14 0-16,-14 0 0</inkml:trace>
  <inkml:trace contextRef="#ctx0" brushRef="#br3" timeOffset="-48283.94">20280 13944 0,'-26'13'16,"13"-13"-16,-1 13 16,14 0-1,-13 0-15,26 1 16,1-1-1,-1-13-15,0 0 16,0 0-16,1 0 0,-1 0 16,-13-13-16,13 13 0,0 0 15,-13-14-15,13 14 0,1-13 16,-1 0 0,0 26 30,0-13-46,1 0 16,-1 0-16,0-13 16,0 13-16,1 0 15,-14-13-15,13 13 16,0 0-16,-13-13 16,13 26-1,0-13-15,-13 13 16,14 0-16,-14 0 15,13 1-15,-13-1 0,0 0 16,0 0-16,0 1 0,0-1 0,0 0 16,0 0-16,0 1 0,0-1 15,-13 0-15,13 0 16,-14 0 0,28-39 15,-14 13-31,13 0 0,0-1 15,-13 1-15,13 13 0,1-13 16,-1 0-16,-13-1 0,13 14 16,-13-13-16,13 0 0,1 13 15,-14-13-15,13 26 32,0-13-32,-13 13 15,0 0-15,0 1 16,0-1-1</inkml:trace>
  <inkml:trace contextRef="#ctx0" brushRef="#br3" timeOffset="-48052.06">20796 13758 0,'13'14'16,"-13"-1"-16,0 0 0,0 0 16,0 0-16,0 14 0,14-14 0,-14 14 15,0-14-15,0 13 0,0 1 0,0-1 16,-14-13-16,14 14 0,0-14 16,0 14-16,-13-14 0,13 0 15,0 0-15,-13 1 0,13-1 0,-13 0 16,13 0-16,-13-13 15</inkml:trace>
  <inkml:trace contextRef="#ctx0" brushRef="#br3" timeOffset="-46556.26">21484 13137 0,'13'13'31,"-13"0"-31,0 0 16,0 0-16,0 1 0,0-1 15,0 0-15,0 0 0,0 1 16,0-1-16,0 0 15,0 0-15,14-13 0,-1 0 16,0 0-16,14 0 0,12-13 16,1 0-16,26-14 0,-13 1 0,13 13 15,0-14-15,0-12 0,14 12 16,12 1-16,14-14 0,-13 0 0,13 14 16,-1-1-16,-25 1 0,-1 13 15,1-1-15,-14 1 0,0 0 0,0 0 16,-26 13-16,-1-13 0,-12 13 0,-1 0 15,-12 0-15,-1 0 0,0 0 16,14-14-16,-14 14 0,0 0 16,0 0-16,0 0 15,1 0 1,-14-13 0</inkml:trace>
  <inkml:trace contextRef="#ctx0" brushRef="#br3" timeOffset="-43103.01">8242 13758 0,'26'0'16,"1"0"-16,-14 0 0,0 0 16,0-13-16,1 13 0,12 0 0,-13 0 15,14 0-15,-1 0 0,14 0 16,-14 0-16,14-13 0,-14 13 0,14 0 15,0 0-15,0-13 0,-14 13 16,14 0-16,-14 0 0,14 0 16,-14-14-16,1 14 0,-1 0 0,14 0 15,-14 0-15,14 0 0,-13 0 0,-1-13 16,14 13-16,-14 0 0,-13 0 16,14 0-16,-1 0 0,1 0 0,-14 0 15,13 0-15,1-13 0,-14 13 0,0 0 16,14 0-16,-14 0 0,0 0 15,0-13-15,14 26 0,-14-13 16,0 0-16,1 0 0,-1 0 0,0 0 16,0 0-16,-13 13 15,14-13-15,-1 0 0,0 0 16,0 0 0,0 0-16,1 0 15,-1 0-15,0 0 0,0 0 16,1-13-16,-1 13 0,0 0 15,0 0 1,1 0-16,-1-13 16,0 13-1,0 0-15,0 0 16,1 0-16,-1-14 16,0 14-16,0 0 15,1 0-15,-1 0 16,13 0-1,-13 0-15,1 0 16,-1 0-16,0 0 16,0 0-16,1 0 0,-1 0 15,0 0-15,0 0 0,1 0 0,-1 0 16,0 0-16,0 0 16,0 0-16,1 0 0,-1 0 15,0 0-15,0-13 0,1 13 0,-1 0 16,0 0-16,0 0 15,1 0-15,-1-13 0,0 13 16,0 0-16,0-13 16,1 13-16,-14-13 15,13 13-15,-13-14 0,13 14 16,-13-13-16,13 13 0,-13-13 0,14 0 16,-14-1-16,13 14 15,-13-13-15,0 0 0,13 13 0,-13-13 16,0 0-16,0-1 0,13 14 15,-13-13-15,0 0 16,0 0-16,0-1 0,0 1 16,0 0-16,-13 0 15,13-1-15,0 1 16,0 0-16,-13 0 16,13 0-16,0-1 0,-13 14 15,13-13-15,-14 13 0,14-13 16,-13 0-16,0-1 0,0 14 15,13-13-15,-14 13 0,1-13 16,0 13-16,0 0 0,0-13 16,-1 13-16,1 0 0,-13-14 0,12 14 15,1 0-15,-13 0 0,-1-13 0,14 13 16,-13 0-16,12 0 16,-12-13-16,13 13 0,-1 0 0,1 0 15,-13 0-15,12 0 0,1 0 0,-13 0 16,13 0-16,-1 0 0,1 0 15,0-13-15,0 13 0,-1 0 0,1 0 16,0 0-16,0 0 0,0 0 0,-1 0 16,1 0-16,0 0 0,0-13 15,-1 13-15,1 0 0,0 0 0,0 0 16,-1 0-16,1 0 0,0 0 0,0 0 16,-14 0-16,14-14 0,0 14 15,0 0-15,-14 0 0,14 0 0,-14 0 16,1 0-16,13-13 0,-14 13 0,1 0 15,13 0-15,-14 0 0,14 0 16,-13 0-16,-1-13 0,14 13 16,0 0-16,-14 0 0,14 0 0,0 0 15,-1 0-15,1 0 0,-13-13 16,13 13-16,-1 0 0,1 0 0,0 0 16,-14 0-16,14 0 0,0 0 0,0 0 15,-14 0-15,14 0 0,0 0 16,0 0-16,-14 0 0,14 0 0,0 0 15,-1 0-15,1 0 0,0 0 0,-14 0 16,14 0-16,0 0 0,0 0 16,0 0-16,-14 0 0,14 0 0,0 0 15,-14 0-15,14 0 0,-14 0 0,1 0 16,13 0-16,0 0 16,-14 13-16,14-13 0,0 0 0,-1 0 15,-12 0-15,13 0 0,0 0 0,-1 0 16,1 0-16,0 0 15,0 0-15,-1 0 0,1 13 16,0-13-16,0 0 0,-1 0 16,1 13-16,0-13 15,0 0-15,13 14 0,-13-14 16,-1 0-16,1 0 0,13 13 16,-13-13-16,0 13 15,-1-13-15,1 13 16,0-13-16,0 13 0,-1 1 15,1-14-15,13 13 16,-13-13-16,0 13 0,0 0 16,-1-13-16,14 14 0,-13-14 0,0 13 15,0 0-15,-1 0 16,1-13-16,0 14 0,0-1 16,0 0-16,-1 0 0,1 0 15,13 1-15,-13-14 16,13 13-16,-13 0 0,13 0 15,-14 1-15,14-1 0,-13 0 16,13 0-16,-13 1 16,13-1-16,0 0 0,0 0 15,0 0-15,0 1 16,0-1-16,13-13 0,-13 13 16,0 0-16,13 1 0,1-1 15,-14 0-15,13-13 0,-13 13 16,13-13-16,0 13 0,1 1 15,-1-1-15,0-13 0,0 13 16,0-13-16,1 13 0,-1-13 0,0 14 16,0-14-16,14 0 0,-14 13 0,0-13 15,0 0-15,14 13 0,-14-13 16,14 0-16,-14 0 0,13 0 16,-12 13-16,12-13 0,-13 0 0,0 0 15,14 0-15,-14 0 0,0 0 16,1 0-16,12 0 0,-13 0 0,1 0 15,-1 0-15,13 0 0,-13 0 0,1 0 16,-1 0-16,0 0 0,0 0 16,1 0-16,-1 0 0,0 0 15,0 0-15,0 0 0,1 0 16,-1 0-16</inkml:trace>
  <inkml:trace contextRef="#ctx0" brushRef="#br3" timeOffset="-9292.94">20690 595 0,'0'-13'16,"14"26"15,-14 1-31,0-1 0,13 0 16,-13 0-16,0 0 0,0 1 0,0-1 16,13 0-16,-13 0 0,0 1 0,0-1 15,0 0-15,0 0 0,13 1 16,-13-1-16,14-13 15</inkml:trace>
  <inkml:trace contextRef="#ctx0" brushRef="#br3" timeOffset="-8988.04">20862 675 0,'0'-14'31,"0"41"-16,0-14-15,0 0 16,14 1-16,-1-14 16,-13 13-16,13-13 15,0 0-15,1 0 0,-1 0 16,0-13-16,0 13 0,0 0 16,-13-14-16,14 1 0,-14 0 15,0 0 1,0-1-16,-14 14 0,14-13 15,-13 13-15,13-13 0,-13 13 0,0-13 16,0 13-16,-1 0 16,1 13-16,0-13 0,0 13 15,-1-13-15,14 13 0,-13-13 16</inkml:trace>
  <inkml:trace contextRef="#ctx0" brushRef="#br3" timeOffset="-8524.35">21180 489 0,'13'0'0,"-13"14"31,0-1-15,13 0-16,-13 0 0,0 1 0,0 12 0,14 1 15,-14-1-15,0-13 0,13 14 16,-13-1-16,13 1 0,-13-14 0,13 0 15,-13 14-15,0-14 0,13 0 0,-13 0 16,14 0-16,-14 1 0,0-1 16,13 0-16,-13 0 15,0-39 32,0 13-47,0-1 0,0-12 0,0 13 16,0-14-16,0 1 0,0 13 15,0-14-15,13 14 0,-13 0 16,0-1-16,13 1 0,-13 0 0,0 0 0,14 13 16,-1-13-16,0 26 15,-13 0 1,0 0-16,13-13 16,-26 27-16,13-14 15,0 0-15,-13 0 16,13 1-1,-13-14-15,13-14 32</inkml:trace>
  <inkml:trace contextRef="#ctx0" brushRef="#br3" timeOffset="-8322.05">21511 450 0,'0'13'31,"0"0"-31,0 0 16,13 1-16,-13-1 0,0 0 0,0 0 15,0 14-15,0-14 0,0 0 16,0 1-16,0 12 0,13-13 0,-13 0 16,0 1-16,13-1 0,-13 0 15,14-13-15</inkml:trace>
  <inkml:trace contextRef="#ctx0" brushRef="#br3" timeOffset="-7334.17">21815 516 0,'-13'13'16,"-1"-13"-16,1 0 0,13 13 16,-13-13-16,13 14 0,-13-14 15,0 13-15,13 0 0,-14-13 0,14 13 16,0 1-16,-13-1 0,13 0 16,0 0-1,13 0 16,1-26-31,-1 13 16,0-13-16,0 13 0,0-13 16,1 0-16,-1-1 15,0 14-15,-13-13 16,13 0 0,-13 0-1,14 13 1,-1 13 15,-13 0 0,13 0-15,0-13 15,1 0 0,-1-13-15,0 13 0,0 0-1,-13-13-15,13 26 16,1-13 0,-1 0-16,0 13 15,0-13 1,1 0-1,-1-13-15,0 13 16,-13-13-16,13 0 16,0 13-16,-13-14 0,0 1 0,14 0 15,-1 0-15,-13-1 16,0 1-16,13 0 0,-13 0 16,0 0-16,13 13 0,-13-14 15,0 41 16,0-14-15,0 0 0,0 0-16,14 1 15,-1-1-15,0-13 16,0 0 0,1 0-16,-1 0 15,0-13-15,0 13 16,0 0-16,1 0 15,-1 13 1,0 0 0,-13 0-1,0 1 1,0-1-16,-13-13 16</inkml:trace>
  <inkml:trace contextRef="#ctx0" brushRef="#br3" timeOffset="-7167.27">22106 503 0,'26'-27'16,"-12"27"-16,-1-13 15,0 13-15,0 0 0,1-13 16,-1 13-16,13 0 0,-13-13 0,1 13 15,-1 0-15,0-14 0,0 14 0</inkml:trace>
  <inkml:trace contextRef="#ctx0" brushRef="#br3" timeOffset="-7023.61">22503 410 0,'13'0'0</inkml:trace>
  <inkml:trace contextRef="#ctx0" brushRef="#br3" timeOffset="-6194.18">20055 1019 0,'27'-27'31,"-14"27"-31,-13-13 0,13 13 16,1-13-16,-1 13 0,0-14 0,0 14 15,27 0-15,-27-13 16</inkml:trace>
  <inkml:trace contextRef="#ctx0" brushRef="#br3" timeOffset="-5956.65">20307 820 0,'26'13'15,"-13"-13"-15,1 0 0,-14 14 0,13-14 16,-13 13-16,13-13 0,-13 13 16,13 0-16,-13 1 15,-13-1-15,13 0 0,0 0 16,0 0-16,-13-13 16,13 14-16,0-1 0</inkml:trace>
  <inkml:trace contextRef="#ctx0" brushRef="#br3" timeOffset="-2556.36">20571 1508 0,'40'-26'16,"-27"12"-16,1 14 0,12-13 15,-13 13-15,0-13 0,14 0 0,-14 13 16,0-13-16,1 13 0,-1-14 15</inkml:trace>
  <inkml:trace contextRef="#ctx0" brushRef="#br3" timeOffset="-2307.14">20796 1283 0,'13'0'15,"1"0"-15,-1 13 0,0-13 16,14 0-16,-14 14 0,0-1 16,0 0-16,14 0 0,-27 1 15,13-1-15,-13 0 0,0 0 16,13 1-16,-26-1 0,13 0 16,0 0-16,-13 0 0,13 1 15,-13-1-15,13 0 0,-14 0 0,1 1 16</inkml:trace>
  <inkml:trace contextRef="#ctx0" brushRef="#br3" timeOffset="-488.38">21590 1574 0,'0'0'0,"0"27"15,0-14 1,0 0-16,0 0 0,0 1 0,0 12 16,0-13-16,0 40 15,-13-40-15,13 14 0,0-14 0,0 0 16,0 14-16,0-14 0,0 0 15,0 1-15,0-1 0,0 0 0,13 0 16,-13 0-16,0 1 16,13-14-1</inkml:trace>
  <inkml:trace contextRef="#ctx0" brushRef="#br3" timeOffset="-228.34">21444 1826 0,'27'-14'31,"-14"1"-31,14 13 16,-1-13-16,-13 13 15,1-13-15,-1 13 0,0-14 0,13 14 16,-12 0-16,-1-13 0,0 13 0,0 0 16</inkml:trace>
  <inkml:trace contextRef="#ctx0" brushRef="#br3" timeOffset="145.62">21736 1799 0,'26'-26'31,"-26"12"-31,13 1 16,-13 0-16,13 13 0,-13-13 15,0 0-15,-13-1 32,0 41-17,13-14 1,-13 0-16,13 0 15,0 1-15,0-1 16,0 0-16,0 0 16,13-13-16,-13 14 0,13-14 15,0 0-15,1 0 16,-1 0-16</inkml:trace>
  <inkml:trace contextRef="#ctx0" brushRef="#br3" timeOffset="1676.68">21603 1667 0,'0'-13'0,"-13"-1"31,13 41 1,0-14-32,0 0 0,0 1 0,0-1 15,0 0-15,0 0 0,0 0 16,0 1-16,0 12 0,0-13 0,0 1 15,13-14-15,-13 13 0,0 0 0,0 0 16,13-13-16,-13 14 0,14-1 16,-1-13-1,0-13-15,0-1 16,-13 1-16,14 13 16,-14-13-16,13 0 0,-13-1 15,0 1-15,13 0 0,-13 0 16,13-1-16,1 14 47,-14 14-47,13-1 15,-13 0-15,13-13 0,-13 13 16,13-13-16,0 0 0,1 0 16,-1 0-16,0 0 0,0 0 15,1-13-15,-1 13 0,0-13 16,-13 0-16,13-1 0,-13 1 0,0 0 15,14 0-15,-14 0 0,0-14 16,0 14-16,0-14 0,0 14 16,0 0-16,0 0 0,-14 0 0,14-1 15,0 1-15,0 0 16,0 0-16,-13 39 16,0-26-16,13 13 15,0 1-15,0-1 0</inkml:trace>
  <inkml:trace contextRef="#ctx0" brushRef="#br3" timeOffset="2421.92">22093 1614 0,'-14'-13'16,"1"26"-1,0-13-15,13 13 0,-13 0 16,0 1-16,13-1 16,-14 0-16,14 0 0,0 1 15,-13-14-15,13 13 0,0 0 0,0 0 16,13-13 0,1 0-1,-1-13-15,0 0 16,-13 0-16,13 13 15,-13-14-15,13 14 16,1 0 15,-14 14-15,13-14 0,0 0-1,0 0-15,1-14 16,-14 1-16,13 13 15,-13-13-15,13 0 0,-13-1 16,0 1-16,13 0 16,-13 0-16,0-14 0,0 14 0,0 0 15,0 0-15,0-1 0,0 1 0,0 0 16,0 0-16,0-1 0,-13-12 16,13 52 15,0-12-16,0-1-15,0 0 0,0 0 16,0 1-16,0 12 0,13-13 16,-13 1-16,0 12 0,14-13 0,-14 0 15,13 1-15,-13-1 0,13-13 16,0 0-16,-13 13 0,13-13 16,14-13-16,-27 0 15,13 13-15,0 0 0,-13-14 0,14 14 16,-14-13-16,13 13 0,0 0 15,0-13 1,1 13-16,-1 13 16,0-13-1,0 0-15,0 0 16,1 0-16,-1-13 16,0 13-16,-13-13 15</inkml:trace>
  <inkml:trace contextRef="#ctx0" brushRef="#br3" timeOffset="2607.73">22119 1561 0,'13'0'31,"1"-13"-31,-1 13 15,0 0-15,0 0 0,14-13 0,-14 13 16,13 0-16,-12-14 0,12 14 16,-13 0-16,1 0 0</inkml:trace>
  <inkml:trace contextRef="#ctx0" brushRef="#br3" timeOffset="2904.65">22595 1468 0,'0'14'0,"14"-14"16,-14 13-16,13 0 16,-13 0-16,13 1 15,-13-1 1,13-26 15,1-1-31,-14 1 16,0 0-16,13 13 15,-13-13-15,13-1 16,-13 1 0</inkml:trace>
  <inkml:trace contextRef="#ctx0" brushRef="#br3" timeOffset="4289.06">22781 1865 0,'-14'0'0,"28"0"0,-41 0 0,14 0 16,13 14-1,0 12 1,0-13-16,13 0 16,0 1-16,1-1 0,-14 0 15,13-13-15,0 13 0,-13 1 16,13-1-16,-13 0 15,0 0-15,0 1 16,-13-1 0,0 0-16,0-13 15,13 13-15,-14-13 16,1 0-16,0 0 16</inkml:trace>
  <inkml:trace contextRef="#ctx0" brushRef="#br3" timeOffset="4860.09">22939 1852 0,'-13'27'46,"13"-14"-30,13 0-16,-13 0 16,0 0-16,14-13 15,-14 14-15,13-14 16,0 0-16,0 0 31,1 0-31,-1-14 16,-13 1-16,13 13 15,-13-13-15,13 0 16,-13 0-16,13 13 16,-13-14-16,0 1 15,14 13 1,-1 13 15,-13 1-15,13-14-16,-13 13 0,0 0 15,13-13 1,-13 13 0,27-26-1,-27 0 1,13 13-16,-13-13 16,13 13-16,1-14 15,-1 14-15,0 0 16,0 0-1,0 14 1,1-14 0</inkml:trace>
  <inkml:trace contextRef="#ctx0" brushRef="#br3" timeOffset="5250.96">23363 1640 0,'-14'27'31,"14"-14"-16,0 0-15,0 1 0,0-1 16,0 0-16,0 0 16,14-13-16,-14 13 0,13 1 15,0-14-15,0 0 16,1 0-16,-1-14 16,0 14-16,0 0 15,1 0 1,-1 14-1,0-1-15,-13 0 16,13-13-16,-13 13 0,0 1 16,13-14-16</inkml:trace>
  <inkml:trace contextRef="#ctx0" brushRef="#br3" timeOffset="5383.9">23588 1640 0,'0'-13'0</inkml:trace>
  <inkml:trace contextRef="#ctx0" brushRef="#br3" timeOffset="6305.87">23707 1654 0,'-14'13'15,"14"0"1,0 0-16,0 1 15,-13-1-15,13 0 0,0 0 16,0 0-16,0 1 16,-13 12-16,0-13 15,13 1-15,0-1 16,-13 0 0,39-26 15,-13 0-31,0 13 15,-13-14-15,14 1 0,-1 0 0,0 0 16,0-1-16,-13 1 16,14 0-16,-1-13 0,0-14 15,0 27-15,-13-14 0,13 14 0,-13 0 16,0-14-16,14 27 0,-14-13 16,0 0-16,0 0 0,13 13 0,-13-14 15,0 1-15,-13 40 31,-1-27-31,14 13 0,0 0 16,0 0-16,0 1 0,0-1 16,0 0-16,0 0 0,14-13 15,-14 13-15,13-13 16,-13 14-16,13-14 0,0 0 16,1 0-16,-1-14 15,0 1-15,0 0 16,-13 0-16,14 13 0,-14-13 15,13-1-15,-13 1 16,13 13-16,-13 27 47,-13-27-47,13 13 0,0 0 16,0 0-1,0 0-15,0 1 16,0-1-1,0 0 1,13-26 78,0 13-63,0 0-15,1 0-1,-1 0 17,0 0-32,0 0 15,1 0-15</inkml:trace>
  <inkml:trace contextRef="#ctx0" brushRef="#br3" timeOffset="6675.67">24037 1468 0,'-13'14'16,"13"-1"-1,0 0-15,0 0 0,0 14 16,0-14-16,0 0 0,13 14 15,-13-14-15,0 0 0,14 0 16,-14 1-16,13-1 0,0 0 16,0-13-16,1 13 0,-1-13 15,0 0-15,0 0 0,0 0 16,1 0-16,-1 0 0,0-13 16,0 13-16,1-13 0,-1 13 15,-13-13-15,13-1 0</inkml:trace>
  <inkml:trace contextRef="#ctx0" brushRef="#br3" timeOffset="6856.86">24037 1574 0,'-13'0'0,"40"-13"31,-14 13-31,0-13 0,0 13 16,1 0-16,12-13 0,-13 13 0,14-14 15,-14 14-15,13-13 0,1 0 16,-1 13-16,-12-13 0,-1 13 16,0 0-16</inkml:trace>
  <inkml:trace contextRef="#ctx0" brushRef="#br3" timeOffset="7288.7">24051 952 0,'26'0'0,"14"0"15,-106 0-15,145 0 0,-66-13 0,14 13 16,-14 0-16,0 0 0,0 0 0,14 0 15,-14 0-15,0 13 0,1-13 16,-1 0-16,0 0 0,0 14 0,0-1 16,1 13-16,-14-12 0,13 12 0,0-13 15,0 14-15,1 12 0,-1-12 16,27 26-16,-27-13 0,0-14 16,13 0-16,-12 1 0,-1-1 0,0 1 15,14 13-15,-14-14 16,0-13-16,-13 14 0,13-14 0,-13 0 15,13 14-15,-13-14 0,0 0 0,0 0 16,0 14-16,0-14 0,0 0 16,0 0-16,-13 14 0,0-14 15,0 14-15,-14-14 0,1 13 0,-1-13 0,-12 1 16,12 12-16,-65 1 16,39-27-16,-13 13 0,-1 0 15</inkml:trace>
  <inkml:trace contextRef="#ctx0" brushRef="#br3" timeOffset="8291.83">21590 1402 0,'-53'0'16,"40"0"-1,0 14-15,-1-14 0,1 13 16,-13 0-16,12 0 0,-12 14 16,13-1-16,-14 1 0,14-1 0,0-13 15,13 14-15,-13-14 0,13 13 16,-14 1-16,14-1 0,0-12 0,0 12 15,0-13-15,0 14 0,0-14 0,0 13 16,14-12-16,-14 12 0,13-13 16,-13 1-16,13-1 0,-13 0 0,13 0 15,1 14-15,-1-14 0,0-13 0,0 13 16,0 0-16,1 1 0,-1-14 16,0 13-16,14 0 0,-14-13 15,0 0-15,0 13 0,1-13 0,-1 0 16,13 0-16,-13 0 0,1 0 15,12 0-15,-13 0 0,14 0 0,-1 0 16,-12 0-16,12 0 0,0 0 0,-12 0 16,12 0-16,-13 0 0,14 0 15,-14-13-15,14 13 0,-14 0 0,0 0 16,13 0-16,-12 0 0,12 0 16,-13 0-16,14 0 0,-14 0 15,13 0-15,1 0 0,-14 0 0,14 0 16,-1 0-16,1 0 0,-14 0 0,40 0 15,-27 0-15,1 0 16,-1 0-16,-13 0 0,14 0 0,12 13 16,-25-13-16,12 0 0,-13 14 15,1-14-15,12 0 0,-13 13 16,0-13-16,1 0 0,-1 13 0,0-13 16,14 13-16,-14 0 15,13 1-15,-12-14 0,-1 0 16,-13 13-16,13-13 0,0 13 15,0-13-15,1 0 0,-1 13 0,0-13 16,0 0-16,1 0 0,-1 0 0,0 0 16,14 0-16,-14 0 15,13 0-15,-13 0 0,1-13 0,12 13 16,-13 0-16,1 0 0,-1 0 0,0 0 16,0-13-16,1 13 15,-1 0-15</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3.605"/>
    </inkml:context>
    <inkml:brush xml:id="br0">
      <inkml:brushProperty name="width" value="0.025" units="cm"/>
      <inkml:brushProperty name="height" value="0.025" units="cm"/>
      <inkml:brushProperty name="ignorePressure" value="1"/>
    </inkml:brush>
  </inkml:definitions>
  <inkml:trace contextRef="#ctx0" brushRef="#br0">28 1,'0'6,"-3"6,-5 4,-1 3,2-2</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5.186"/>
    </inkml:context>
    <inkml:brush xml:id="br0">
      <inkml:brushProperty name="width" value="0.025" units="cm"/>
      <inkml:brushProperty name="height" value="0.025" units="cm"/>
      <inkml:brushProperty name="ignorePressure" value="1"/>
    </inkml:brush>
  </inkml:definitions>
  <inkml:trace contextRef="#ctx0" brushRef="#br0">78 1,'-3'0,"-5"0,-1 3,-2 1,1 4,-1-1,-3 3,2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5.383"/>
    </inkml:context>
    <inkml:brush xml:id="br0">
      <inkml:brushProperty name="width" value="0.05" units="cm"/>
      <inkml:brushProperty name="height" value="0.05" units="cm"/>
      <inkml:brushProperty name="color" value="#E71224"/>
      <inkml:brushProperty name="ignorePressure" value="1"/>
    </inkml:brush>
  </inkml:definitions>
  <inkml:trace contextRef="#ctx0" brushRef="#br0">245 0,'-7'10,"0"0,0 0,0 1,1-1,1 1,0 1,1-1,-6 20,-10 25,-123 259,126-286,11-17</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6.45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23 24,'-7'7,"1"-2,0 0,0 0,1 0,0 1,0 0,0 0,1 0,0 0,0 1,1 0,-1 0,1 0,1 0,-1 0,0 9,2-12,0 0,0 0,1 0,0 0,-1 0,2 0,-1 0,0 0,1 0,0-1,0 1,0 0,0 0,0 0,1-1,0 1,0-1,0 0,0 1,0-1,4 4,-3-5,0 0,1 0,-1 0,1 0,-1-1,1 1,0-1,0 0,0 0,0 0,-1-1,1 1,0-1,0 0,0 0,0 0,0-1,0 1,0-1,0 0,5-2,-3 1,0-1,0 0,0 0,0 0,0-1,-1 1,1-2,-1 1,0 0,-1-1,1 0,-1 0,0 0,0-1,0 1,-1-1,0 0,0 0,-1 0,1 0,2-13,-4 15,0 0,-1 0,1 0,-1 0,0 0,0 0,0 0,0 0,-1 0,1 0,-1 0,0 0,-1 1,1-1,-1 0,1 1,-1-1,0 1,0-1,-1 1,1 0,-1 0,1 0,-1 0,0 0,0 1,0-1,-1 1,1 0,-1 0,1 0,-1 1,0-1,1 1,-1 0,-7-2,0 1,0 0,0 1,0 0,0 1,0 0,0 0,0 1,0 1,0 0,1 1,-1 0,0 0,-17 9,14-5</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1.698"/>
    </inkml:context>
    <inkml:brush xml:id="br0">
      <inkml:brushProperty name="width" value="0.025" units="cm"/>
      <inkml:brushProperty name="height" value="0.025" units="cm"/>
      <inkml:brushProperty name="ignorePressure" value="1"/>
    </inkml:brush>
  </inkml:definitions>
  <inkml:trace contextRef="#ctx0" brushRef="#br0">237 1,'-23'14,"1"2,0 1,2 0,0 2,1 0,-23 30,-5 4,45-52,0 1,0 0,1 0,-1 0,0 0,1 0,0 0,-1 0,1 1,0-1,0 0,0 1,1-1,-1 1,1-1,-1 1,1 2,0-3,1-1,0 1,-1-1,1 1,0-1,0 0,0 1,0-1,0 0,0 0,1 0,-1 0,0 0,1 0,-1 0,0 0,1 0,-1-1,1 1,-1-1,1 1,0-1,-1 1,1-1,-1 0,1 0,0 0,1 0,30 3,0-3,0 0,0-2,-1-2,35-7,-60 10,10-2</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2.353"/>
    </inkml:context>
    <inkml:brush xml:id="br0">
      <inkml:brushProperty name="width" value="0.025" units="cm"/>
      <inkml:brushProperty name="height" value="0.025" units="cm"/>
      <inkml:brushProperty name="ignorePressure" value="1"/>
    </inkml:brush>
  </inkml:definitions>
  <inkml:trace contextRef="#ctx0" brushRef="#br0">134 1,'-3'18,"0"0,-1 0,-1 0,0-1,-1 1,-16 28,4-4,8-18,-9 23,-15 56,30-86</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151"/>
    </inkml:context>
    <inkml:brush xml:id="br0">
      <inkml:brushProperty name="width" value="0.025" units="cm"/>
      <inkml:brushProperty name="height" value="0.025" units="cm"/>
      <inkml:brushProperty name="ignorePressure" value="1"/>
    </inkml:brush>
  </inkml:definitions>
  <inkml:trace contextRef="#ctx0" brushRef="#br0">40 2,'-2'1,"0"0,0-1,0 1,1 0,-1 0,0 0,0 0,1 0,-1 0,0 0,1 1,-1-1,1 1,0-1,-1 1,1-1,0 1,0 0,0 0,0-1,0 1,1 0,-1 0,0 0,1 0,-1 0,1 0,0 0,0 2,-2 4,1 0,1 0,-1 0,1-1,0 1,3 11,-3-17,0 0,1 0,0 1,-1-1,1 0,0 0,0 0,0 0,0 0,1 0,-1 0,0 0,1 0,-1-1,1 1,0-1,0 1,0-1,-1 0,1 1,0-1,0 0,1 0,-1 0,0-1,0 1,0 0,5 0,-2-1,-1 0,1-1,-1 1,1-1,-1 0,0 0,1-1,-1 1,0-1,0 0,0 0,0 0,0 0,4-4,-5 3,1 1,-1-1,0 0,0 0,0 0,-1 0,1 0,-1-1,0 1,0-1,0 0,0 0,-1 0,1 1,1-8,-3 9,0-1,0 0,0 0,-1 1,1-1,-1 0,1 1,-1-1,0 0,0 1,0-1,0 1,0-1,-1 1,1 0,-1-1,0 1,0 0,1 0,-1 0,0 0,-1 1,1-1,0 1,0-1,-5-1,-10-5,0 3</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548"/>
    </inkml:context>
    <inkml:brush xml:id="br0">
      <inkml:brushProperty name="width" value="0.025" units="cm"/>
      <inkml:brushProperty name="height" value="0.025" units="cm"/>
      <inkml:brushProperty name="ignorePressure" value="1"/>
    </inkml:brush>
  </inkml:definitions>
  <inkml:trace contextRef="#ctx0" brushRef="#br0">73 1,'-4'3,"0"0,0 0,0 0,0 1,1 0,-1 0,1 0,0 0,0 0,0 1,1-1,0 1,0 0,0-1,0 1,1 0,-1 0,0 8,2-11,-1 1,1 0,-1-1,1 1,0-1,0 1,1 0,-1-1,0 1,1-1,-1 1,1-1,0 1,0-1,0 1,0-1,0 0,1 1,-1-1,1 0,-1 0,1 0,0 0,0 0,0-1,0 1,0-1,0 1,0-1,1 0,-1 1,0-1,1 0,-1-1,1 1,-1 0,4 0,-5-1,1 1,0-1,-1 0,1 1,0-1,-1 0,1 0,0 0,0 0,-1 0,1-1,0 1,-1-1,1 1,-1-1,1 1,0-1,-1 0,1 0,-1 1,0-1,1 0,-1 0,0-1,1 1,-1 0,0 0,0-1,0 1,0-1,0 1,0 0,-1-1,1 0,0 1,-1-1,1 1,-1-3,1 0,-1 1,0 0,-1 0,1 0,0-1,-1 1,0 0,0 0,0 0,0 0,0 0,0 0,-1 1,0-1,1 0,-1 1,0-1,0 1,-5-4,2 2,0 0,0 1,-1 0,1 0,-1 0,0 1,0 0,1 0,-2 0,1 1,-10-1,-2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3.880"/>
    </inkml:context>
    <inkml:brush xml:id="br0">
      <inkml:brushProperty name="width" value="0.05" units="cm"/>
      <inkml:brushProperty name="height" value="0.05" units="cm"/>
      <inkml:brushProperty name="color" value="#E71224"/>
      <inkml:brushProperty name="ignorePressure" value="1"/>
    </inkml:brush>
  </inkml:definitions>
  <inkml:trace contextRef="#ctx0" brushRef="#br0">328 0,'0'4,"0"3,0 5,-3 4,-5 5,-4 2,-3 5,-3 6,-4 5,-6 5,-1 2,-2 0,-2 2,0-1,0-2,-1-1,5-9</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5.099"/>
    </inkml:context>
    <inkml:brush xml:id="br0">
      <inkml:brushProperty name="width" value="0.05" units="cm"/>
      <inkml:brushProperty name="height" value="0.05" units="cm"/>
      <inkml:brushProperty name="color" value="#E71224"/>
      <inkml:brushProperty name="ignorePressure" value="1"/>
    </inkml:brush>
  </inkml:definitions>
  <inkml:trace contextRef="#ctx0" brushRef="#br0">266 0,'-22'13,"1"1,0 1,1 1,0 1,1 0,1 2,1 0,1 1,0 0,2 1,0 1,2 0,-15 36,25-54,1 0,0 0,-1 0,2 0,-1 0,0 0,1 0,0 0,0 0,0 1,1-1,-1 0,1 0,0 0,0 0,0 0,1 0,-1 0,1 0,4 6,-5-8,1 0,0 0,0 0,0 0,0 0,1 0,-1 0,0-1,1 1,-1-1,1 0,0 0,-1 0,1 0,0 0,-1 0,1-1,0 1,0-1,0 0,0 0,0 0,-1 0,1 0,0-1,0 1,0-1,-1 0,1 0,0 0,2-1,-3 1,-1 1,0-1,1 1,-1-1,0 1,0-1,1 0,-1 0,0 0,0 0,0 1,0-1,0-1,0 1,0 0,-1 0,1 0,0 0,-1-1,1 1,0 0,-1 0,0-1,1 1,-1-1,0 1,1 0,-1-1,0 1,0-1,0 1,0 0,-1-1,1 1,0-1,-1 1,1 0,-1-1,1 1,-1 0,-1-3,0 0,-1-1,-1 1,1-1,-1 1,1 0,-1 0,0 0,0 1,-7-5,-6-2</inkml:trace>
</inkml:ink>
</file>

<file path=ppt/ink/ink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1:58:37.577"/>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0070C0"/>
    </inkml:brush>
  </inkml:definitions>
  <inkml:trace contextRef="#ctx0" brushRef="#br0">23416 1971 0,'0'0'0,"53"13"15,66 27-15,-66-27 16,66 1-16,13 12 16,-40-13-16,28 0 15,-81-13-15,-12 0 16,-1 14-16,-13 12 31,1-13-15,-1 27-16,27 79 15,-1 0-15,1 27 16,26 39-16,13 40 16,1-27-16,26 93 15,-27 40-15,27-13 16,0 118-1,13 93-15,39 40 0,-25 40 16,-133-160-16,0 1 16,0-146-1,0 54-15,0-28 16,0-12-16,0-14 16,0-39-16,0-54 15,0-52-15,0 13 16,0 13-16,0-39 15,0 13-15,0-14 16,0-39-16,0-27 16,0 54-16,0-28 15,0 1-15,0 13 16,0 0-16,0 27 16,0-27-16,0-26 15,0 52-15,0-26 16,0 27-16,0-67 15,0 27-15,0-27 16,0-26-16,0-40 16,0 14-16,-27-1 78,1-12-63,-14-1 1,27 0-16,-14 14 16,1-1-16,-14-13 15,-13 14-15,14-14 16,-41 27-16,14-27 16,-13 0-16,-14-13 15,1 0-15,-27 0 16,13 0-16,13 0 15,-39 0-15,-27 0 16,-53 0-16,-52 0 16,12 0-16,-105 0 15,172 0-15,-13 0 16,52 0-16,27 40 16,40-40-16,13 0 15,13 13-15,13-13 16,13 0-16,14 0 15</inkml:trace>
  <inkml:trace contextRef="#ctx0" brushRef="#br0" timeOffset="4416.92">12330 2963 0,'0'14'94,"52"-14"-79,41 13-15,39-13 16,27 0-16,26 0 16,27 0-16,79 0 15,40 0-15,-40 0 16,-13 0-16,52 0 16,-144 0-16,-28 0 15,-52 0-15,-13 0 16,-67 0-16,1 0 15</inkml:trace>
  <inkml:trace contextRef="#ctx0" brushRef="#br0" timeOffset="5527.96">18706 3096 0,'26'0'78,"1"0"-78,26 0 15,26 0-15,54 0 16,25 0 0,28 0-16,52 0 15,26 0-15,-12 0 16,-1 0-16,0 0 16,-52 0-16,12 0 15,-25 0-15,-28 0 16,-12 0-16,-40 0 15,-40 0-15,-13 0 16,-14 0-16,-25 0 16</inkml:trace>
  <inkml:trace contextRef="#ctx0" brushRef="#br0" timeOffset="6895.12">807 3836 0,'26'-13'62,"1"13"-46,65 0-16,1 0 16,66 0-16,13 0 15,13 0-15,40 0 16,26 0-16,106 0 16,-65 0-16,-1 0 15,0 0-15,-80 0 16,14 0-16,-40 0 15,-26 0-15,-13 0 16,-14 0-16,-53 0 16,-26 0-16,-13 0 15,-27 0 1</inkml:trace>
  <inkml:trace contextRef="#ctx0" brushRef="#br0" timeOffset="8832.99">6906 3704 0,'26'0'16,"1"0"-16,-1 0 15,27 0 1,0 0-16,39 0 16,14 0-16,0 0 15,0 0-15,26 0 16,-26 0-16,26 0 15,-13 0-15,40 0 16,-13 0-16,52 0 16,-26 0-16,40 0 15,-1 0-15,14 0 16,-39 0-16,12 0 16,40 0-1,-13 0-15,-53 0 16,40 0-16,-40 0 15,-14 0-15,-52 0 16,-13 0-16,-54 0 16,-12 0-16,-14 0 15</inkml:trace>
  <inkml:trace contextRef="#ctx0" brushRef="#br0" timeOffset="11080.94">12502 3201 0,'0'27'94,"0"-14"-94,0 14 16,26 26-16,-13 13 15,0-13-15,14 26 16,-14-26-16,-13 0 16,0-14-16,0 1 15,0-13-15,0 12 16,0-25-16,0-1 15,0 0 110,40-13-125,13 0 16,13 0-16,79-13 16,1 0-16,13-40 15,66 26-15,-1 27 16,-12 0-16,92-40 16,80 1-16,-14-27 15,1 52-15,-27-39 16,-13 53-16,-27-26 15,-13 0-15,13-14 16,-66 13-16,40-12 16,-93 26-16,1-14 15,-54 27-15,27-13 16,-1 13-16,-25 0 16,-14 0-16,-27 0 15,-12 0-15,-14 0 16,-13 0-16,0 0 15,0 0-15,-40 0 16,13 0-16,1 0 16</inkml:trace>
  <inkml:trace contextRef="#ctx0" brushRef="#br0" timeOffset="18807.2">8705 4749 0,'13'13'47,"27"-13"-32,-1 14-15,54-1 16,0-13-16,12 0 16,41 0-16,39 0 15,0 0-15,53 0 16,54 0-16,-1 0 15,-40 0-15,14 0 16,-14 0-16,-66 0 16,27 0-16,52 0 15,-78 0-15,-14 0 16,13 0-16,-40 0 16,1 0-16,13 0 15,13 0-15,-1 0 16,-12 0-16,0 0 15,-14 0-15,-25 0 16,12 0-16,-53 0 16,27 0-16,-13 0 15,-40 0-15,26 0 16,-13 0-16,0 0 16,0 0-1,1 0-15,-1 0 16,26 0-16,-12 0 15,-1 0-15,27 0 16,-27 0-16,-13 0 16,27 0-16,-27 0 15,14 0-15,-28 0 16,1 0-16,0 0 16,0 0-16,-13 0 15,13 0-15,0 0 16,13 0-16,0 0 15,-13 0-15,0 0 16,0 0-16,-14 0 16,-12 0-16,-14 0 15,14-13 126,-27-1-125,0-25-16,0 26 15,0-27-15,0-13 16,0 13-16,26-13 15,-13 27-15,-13-14 16,13-13-16,-13 14 16,0-1-16,0 13 15,0-12-15,0-1 16,0 27-16,0-14 16,0 14-16,0 0 15,-52 13 235,-15 0-250,1-26 16,-66 12-16,53 14 15,-67 0-15,-13 0 16,1 0-16,-14 0 16,26 0-16,-13 0 15,27 0-15,-13 0 16,25 0-16,-25 0 16,26 0-16,-13 0 15,52 0-15,-26 0 16,27 0-16,13 0 15,13 0-15,-26 0 16,26 0-16,0 0 16,0 0-16,13 0 15,-13 0-15,0 0 16,14 0-16,-1 0 16,-13 0-1,27 0-15,-27 0 16,13 0-16,-13 0 15,0 0-15,0 0 16,-13 0-16,0 0 16,13 0-16,13 0 15,-13 0-15,14 0 16,-1 0-16,14 0 16,-1 0-16,-26 0 15,27 0-15,-27 0 16,26 0-16,-26 0 15,14 0-15,-27 0 16,26 0-16,-26 0 16,13 0-16,-13 0 15,-14 0-15,14 0 16,-26 0-16,25 0 16,-38 0-16,25 0 15,14 0-15,13 0 16,-26 0-16,26 0 15,13 0-15,0 0 16,-12 0-16,12 0 16,-13 0-16,27 0 15,-41-13-15,28 13 16,-14 0 0,-27 0-16,41 0 15,-27 0-15,26 0 16,-13 0-16,13 0 15,-13 0-15,14 0 16,-1 0-16,27 0 16,-27 0-16,27 0 15,-14 0-15,1 0 16,-1 0-16,1 0 16,13 0-1,-27 0-15,27 0 16,-27-13-16,27 13 15,-14 0-15,1 0 16,0 0-16,12 0 16,-25 0-16,-1 0 15,27 0-15,-14 0 16,-12 0-16,12 0 16,1 0-16,-27 0 15,40 0-15,-1 0 16,-25 0-16,25 0 31,-12 0-31,13 0 16,-1 0-1,1 0 1,0 0 15,0 0-31,-14 0 16,14 0-1,0 0-15,-14 0 16,-12 0-16,12 0 16,-12 0-16,12 0 15,-13 0-15,1 0 16,-14 0-16,13 0 16,-13 0-16,14 0 15,12 0-15,1 0 16,12 0-16,-12 0 15,-1 0-15,1 0 16,13 0-16,-14 0 16,-12 0-16,25 0 15,-25 0-15,12 0 32,14 0-32,-13 0 15,12 0-15,1 0 16,-13 0-16,12 0 15,-12 0 1,13 0-16,-1 0 16,1 0-16,-13 0 15,-1 0-15,14 0 16,0 0-16,0 0 16,-1 0-16,-12 0 15,0 0-15,-14 0 16,13 0-1,14 0 251,13 26-250,-13-12-16,13-1 15,-13 13-15,13-13 16,-14 1 0,14-1-1,0 0 1,0 0-1,-13 1-15,13-1 16,0 0 0,0 0-16,0 0 15,0 14 1,0-14 0,0 0-16,0 1 15,0 12-15,0-13 16,0 14-1,0-14-15,0 27 16,0-1-16,0-25 16,0 25-16,0-25 15,0 12-15,0-13 16,0 14 0,0-14-1,0 0 16,13-13-31,-13 13 141,14 1-141,-1-14 16,0 0-16,27 0 15,13 13-15,26 13 16,14-13-16,13-13 16,26 14-16,-13 25 15,-26-39 1,-14 14-16,0-1 15,-13-13-15,-52 0 16,-1 13 0</inkml:trace>
  <inkml:trace contextRef="#ctx0" brushRef="#br0" timeOffset="21433.34">16629 4802 0,'13'-26'0,"-13"12"0,0 1 15,0 0-15,-13 0 0,13-14 16,-13 14-16,0-27 0,-1 14 15,14-14-15,-13 1 0,0 12 0,-14-52 16,14 52-16,13 14 16,-13-13-16,13 12 0,-13-12 0,13 13 15,0-1-15,-13 1 0,13 0 16,0 0-16,-14 0 16,28 13-1,12 13 1,-13-13-16,0 13 0,1 0 0,-1 0 15,13 1-15,-12-1 0,-1 0 16,0 0-16,14 1 0,-14-1 16,0-13-16,0 13 0,0 0 0,1-13 15,-1 14-15,0-1 0,0-13 16,-13 13-16,14-13 0,-1 13 16,-40 0 15,14-13-16,-13 14-15,12-14 0,-12 0 16,0 13-16,-1-13 0,-13 13 0,14-13 16,-1 13-16,1 1 0,0-14 15,12 13-15,-12-13 0,-1 13 0,14-13 16,-13 13-16,12-13 0,1 0 16,0 14-16,0-14 0,0 0 15,-1 13-15,28-40 31,-14 14-31,13 13 0,0-26 16,13-1-16,-12 14 0,12-14 0,1 1 16,-1 0-16,-13-14 0,27 13 0,-27 1 15,14-1-15,-1 14 0,1-13 0,-14 13 16,0-1-16,0 1 0,1 13 16,-14-13-16,13 0 0,0 13 0,-13-14 15,13 14-15,0 14 31,-13-1-31,0 0 0,0 0 16,-13 14-16,13-1 0,-13 14 0,13 0 16,-13-1-16,0 1 0,-1-14 0,14 14 15,-13-13-15,0-1 0,13 1 16,-13-1-16,13-13 0,-14 0 0,14 1 16,0-1-16,-13 0 0,13 0 0,0 1 15,0-1-15,13-13 16</inkml:trace>
  <inkml:trace contextRef="#ctx0" brushRef="#br0" timeOffset="22268.71">17224 4696 0,'-13'-26'31,"13"13"-31,0-1 16,-13 1-16,13 0 0,-13-13 15,-1-14-15,1 13 0,0-12 0,0-1 16,0 0-16,-1 1 0,14-1 0,-13 0 16,0 14-16,0-1 0,13 1 15,0 13-15,-14-14 0,14 14 0,0 0 16,0 0-16,-13 13 0,13-14 0,27 41 31,-14-14-15,-13 0-16,13 14 0,14-1 15,-14 1-15,0-1 0,13 0 0,-12 1 16,-1-14-16,13 14 0,-12-14 16,-1 0-16,-13 0 0,13 1 0,0-1 15,1 0-15,-1 0 0,-13 0 16,13-13-16,0 14 16,-13-1-16,-13-13 15,0 0-15,13 13 0,-13-13 16,-1 0-16,-12 0 0,13 13 15,-14-13-15,14 0 0,-14 14 16,1-14-16,13 13 0,-14-13 0,1 13 0,13-13 16,-14 0-16,14 13 0,0-13 15,-1 0-15,1 0 0,0 0 16,0 14-16,0-28 0,13 1 31,0 0-31,13 13 16,0-13-16,-13-1 0,13-12 0,14 13 15,-14-14-15,13 1 0,1-1 0,-14 1 16,14-1-16,-1 1 0,-13-1 0,0 14 16,14 0-16,-27 0 0,13 0 15,0-14-15,1 27 0,-14-13 16,13 26 15,-13 0-31,-13 1 0,13-1 16,-14 13-16,14-13 0,-13 14 0,13-1 15,-13 1-15,0-14 0,13 14 0,-14-1 16,1 0-16,13-12 16,-13-1-16,13 13 0,-13-12 0,13-1 0,0 0 15,0 0-15,-13-13 0,13 14 0,0-1 16,13-13-16</inkml:trace>
  <inkml:trace contextRef="#ctx0" brushRef="#br0" timeOffset="23066.64">17701 4710 0,'0'-14'16,"-14"-12"0,14 13-16,0-1 0,0-12 15,0 0-15,0-1 0,0 1 0,-13-14 16,13 0-16,0 1 0,-13-1 16,13 0-16,0 14 0,0-1 0,-13 1 15,13-1-15,0 14 0,0-13 0,0 12 16,0 1-16,-14 0 0,14 0 15,0 0-15,14 39 32,-14-13-32,0 0 0,13 14 15,0-14-15,-13 14 0,13-14 0,1 13 16,-1 1-16,0-1 0,0-13 16,1 14-16,-1-14 0,0 0 0,0 14 15,-13-14-15,13 0 0,1-13 0,-14 13 16,13 1-16,0-1 15,-13 0-15,13-13 0,-13 13 16,-13 1 0,0-14-1,0 0-15,-1 0 0,1 13 16,-13-13-16,13 0 0,-14 13 0,1-13 16,12 0-16,-12 13 0,-1-13 15,1 0-15,0 14 0,12-14 0,-12 0 16,13 0-16,-1 0 0,1 13 15,0-13-15,0-13 16,-1 13-16,14-14 16,14 1-16,-1-13 15,0 12-15,14-12 0,-14 13 0,27-14 16,12-26-16,-25 27 16,-1-1-16,1 14 0,-1-13 15,1-1-15,-1 14 0,-13 0 0,1 13 16,-1-13-16,0-1 0,0 14 0,-13-13 15,14 13-15,-14 13 16,0 1 0,-14 12-16,14-13 0,-13 14 15,0 12-15,0-12 0,-14-1 16,14 1-16,0-14 0,0 13 0,13-12 16,-14 12-16,1-13 0,0 1 0,0-1 15,13 0-15,-14 0 0,14 1 0,-13-1 16,13 0-16</inkml:trace>
  <inkml:trace contextRef="#ctx0" brushRef="#br0" timeOffset="23937.98">18389 4683 0,'-14'-40'31,"14"27"-31,0-13 15,0 13-15,0-14 0,0 1 16,0-1-16,0-13 0,-13 1 0,13-1 16,0 0-16,-13 1 0,13 12 0,0 1 15,-13-1-15,13 14 0,0-13 16,0 12-16,0 1 0,0 0 0,-14 13 16,14-13-16,0 0 0,14 39 31,-14-13-31,13 0 15,0 1-15,0-1 0,-13 0 0,14 14 16,-1-14-16,0 13 0,0-13 0,0 1 16,1 12-16,-1-13 0,0 1 15,0-1-15,1 0 0,-14 0 16,13 1-16,-13-1 0,13-13 16,-13 13-1,-13 0-15,0 0 16,-1-13-16,1 0 0,0 14 15,0-14-15,-1 13 0,1-13 16,0 0-16,0 0 0,-14 13 0,14-13 16,0 0-16,0 0 0,-1 13 0,-12-13 15,13 0-15,-1 0 16,1 0-16,0 0 16,13-13-16,0 0 15,13 0-15,-13-1 0,13 1 0,14-13 16,-1-1-16,-12 1 15,12-1-15,1 1 0,-1-1 0,0 1 16,-12 0-16,12-1 0,-13 14 0,1 0 16,-1-1-16,0 1 0,0 13 0,-13-13 15,14 26 1,-14 0-16,-14 1 16,1 12-16,0 1 0,0 12 15,-14 1-15,1 0 0,-1-1 16,1 14-16,-14 13 0,14-26 15,12-13-15,-12 12 0</inkml:trace>
  <inkml:trace contextRef="#ctx0" brushRef="#br0" timeOffset="34353.25">8096 5861 0,'199'-27'0,"26"1"16,-146 26-16,-13 0 0,13-14 15,14 14-15,-14 0 0,14 0 0,-14-13 16,1 13-16,-14 0 0,-13 0 0,13 0 16,-13 0-16,-13 0 0,13 0 15,-14 0-15,-12 0 0,12-13 0,-25 13 16,12 0-16,1 0 0,-14 0 15,0 0-15,0 0 0,0 0 16,1 0-16,-1 0 0</inkml:trace>
  <inkml:trace contextRef="#ctx0" brushRef="#br0" timeOffset="34764.74">8506 6046 0,'53'0'0,"-26"-14"0,12 14 16,1-13-16,13 0 0,13 0 0,14 0 15,-1-1-15,0 1 0,1 0 0,-1 0 16,0-1-16,1 1 0,-1 13 16,-13-13-16,0 0 0,1 0 0,-14 13 15,-1-14-15,-12 14 0,13-13 16,-27 13-16,14-13 0,-27 13 0,14 0 16,-14 0-16,14 0 0,-14-13 15,0 13-15,0 0 0,0 0 16,1 0-16,-1 0 15,-40 13 64</inkml:trace>
  <inkml:trace contextRef="#ctx0" brushRef="#br0" timeOffset="36479.91">14883 6787 0,'0'-14'0,"-13"1"16,13 53 15,0-27-31,13 0 0,-13 14 15,0-14-15,0 27 0,13-1 16,-13 1-16,0-14 0,0 1 0,0 13 16,0-14-16,0 1 0,0-1 0,0 0 15,0 1-15,0-1 0,0 1 0,0-14 16,0 0-16,0 14 0,0-14 16,0 0-16,0 0 0,0 1 15,0-1-15,0 0 16,0 0-1,13-39 17,-13 13-32</inkml:trace>
  <inkml:trace contextRef="#ctx0" brushRef="#br0" timeOffset="37118.06">14896 6800 0,'-13'13'0,"-14"13"31,14-12-31,13-1 0,-13-13 16,0 13-16,13 0 0,-14-13 0,14 14 15,-13-1-15,0-13 0,13 13 16,-13 0-16,0 1 0,-1-1 15,1 0-15,13 0 16,-13-13-16,13 13 16,-13-13-16</inkml:trace>
  <inkml:trace contextRef="#ctx0" brushRef="#br0" timeOffset="37635.94">14949 6773 0,'26'14'0,"-52"-28"0,66 41 0,-27-27 16,0 13-16,0-13 0,1 13 0,-1-13 15,0 13-15,0 1 0,0-1 16,1-13-16,-1 13 0,0 0 15,0-13-15,1 0 16,-1 14-16,-13-1 16,13-13-1,0 0-15,1 0 16</inkml:trace>
  <inkml:trace contextRef="#ctx0" brushRef="#br0" timeOffset="38176.71">15994 6813 0,'0'-13'16,"13"39"-1,-13 1-15,14-14 16,-14 13-16,13 14 0,-13 0 0,13-1 15,-13-12-15,13 13 0,-13-1 16,0 1-16,13-14 0,-13 1 0,0-1 16,0 1-16,14-1 0,-14-13 0,0 1 15,0 12-15,0-13 0,0 1 16,0-1-16,0 0 16</inkml:trace>
  <inkml:trace contextRef="#ctx0" brushRef="#br0" timeOffset="38628.89">16021 6800 0,'-40'0'16,"27"13"-1,13 0-15,-14 0 16,1 1-16,13-1 0,-13 0 0,0 0 15,13 14-15,-14-14 0,1 0 0,13 14 16,-13-14-16,13 0 0,-13 0 16,13 1-16,-13-1 0,-1 0 15,14 0-15,-13 1 0</inkml:trace>
  <inkml:trace contextRef="#ctx0" brushRef="#br0" timeOffset="39191.97">15968 6747 0,'26'13'15,"1"14"1,-14-14-16,0-13 15,0 13-15,0-13 0,-13 13 0,14 0 0,-1-13 16,0 14-16,0-14 0,1 13 16,-1-13-16,-13 13 15,13-13-15,0 13 0,0-13 16,1 14 0,-1-14 15,-13 13-16,13-13 1,-26 13 93</inkml:trace>
  <inkml:trace contextRef="#ctx0" brushRef="#br0" timeOffset="43217.17">13507 8215 0,'13'27'31,"-13"-14"-31,0 0 0,0 14 0,0-14 16,0 13-16,0 1 0,0-14 15,0 14-15,0-14 0,0 13 16,13-13-16,-13 14 0,0-14 0,0 0 15,0 1-15,0-1 0,0 0 0,14-13 16,-14 13-16</inkml:trace>
  <inkml:trace contextRef="#ctx0" brushRef="#br0" timeOffset="43438.34">13652 8242 0,'0'-66'15,"0"52"1,0 1-16,-13 0 15,26 53 17,-13-27-32,0 13 0,14 1 15,-14-1-15,0 1 0,13-1 16,-13 1-16,0-1 0,0 1 0,13-14 16,-13 13-16,0-13 0,13 14 0,-13-14 15,0 0-15,0 1 0,14-1 16,-14 0-16,13 0 15</inkml:trace>
  <inkml:trace contextRef="#ctx0" brushRef="#br0" timeOffset="43671.07">13282 8440 0,'40'-26'16,"-27"13"-16,13-1 15,14 1-15,-13 0 0,12 0 0,-12-1 16,12 1-16,1 0 0,-13 0 0,12 13 16,-12-14-16,-14 1 0,13 13 15,-12 0-15,-1-13 0,0 13 16,0 0-16</inkml:trace>
  <inkml:trace contextRef="#ctx0" brushRef="#br0" timeOffset="43865.8">13335 8506 0,'0'0'0,"26"0"15,1 0 1,-14-13-16,14 13 0,-1 0 0,1-13 15,-1 0-15,14 13 0,-14-14 16,14 14-16,-14-13 0,1 0 0,12 13 16,-12-13-16,-14 13 0,14-13 15,-1 13-15,0-14 0,-12 14 0</inkml:trace>
  <inkml:trace contextRef="#ctx0" brushRef="#br0" timeOffset="44195.6">13970 8162 0,'-26'-13'16,"39"40"15,-13-14-31,0 0 0,13 14 16,0-14-16,-13 0 0,13 13 0,-13 1 15,14-14-15,-1 14 0,-13-14 0,13 13 16,-13-12-16,13 12 0,-13-13 16,0 0-16,0 1 0,0-1 0,0 0 15,0 0-15,0 1 0,0-1 0,0 0 16,0 0-16,-13-13 0,13 13 16,-13 1-16,0-14 15,-1 0 1,14-14-1</inkml:trace>
  <inkml:trace contextRef="#ctx0" brushRef="#br0" timeOffset="44815.83">13851 8242 0,'0'0'0,"0"26"46,0-13-46,13 1 0,-13-1 16,0 0-16,13-13 0,-13 13 16,14 1-16,-1-14 15,-13 13-15,13-13 16,0 0-16,1 0 0,-1 0 16,0-13-16,0 13 15,-13-14-15,13 14 16,-13-13-16,14 13 0,-14-13 15,13 13-15</inkml:trace>
  <inkml:trace contextRef="#ctx0" brushRef="#br0" timeOffset="45136.63">14129 8162 0,'13'53'31,"-13"-39"-31,0-1 16,0 0-16,0 0 0,0 0 15,0 1-15,0-1 0,0 0 16,0 0-16,0 1 16,0-1-16,0-40 31,13 14-16,-13 0-15,0 0 0,13-1 16,-13 1-16,0 0 0,14 0 16,-1 0-16,-13-1 0,13 14 15,-13-13-15,13 13 0,1-13 0,-1 13 16</inkml:trace>
  <inkml:trace contextRef="#ctx0" brushRef="#br0" timeOffset="45589.62">14288 8321 0,'13'-26'16,"0"12"-16,-13 1 15,13 13-15,-13-13 0,0 0 16,0 0-16,13 13 0,-13-14 16,0 1-1,-26 40 17,13-14-32,13 0 15,0 0-15,0 0 0,0 1 0,0-1 16,0 0-16,0 0 15,13 1-15,0-14 16,0 0-16,1 0 0,-1 0 0,0 0 16</inkml:trace>
  <inkml:trace contextRef="#ctx0" brushRef="#br0" timeOffset="46018.99">14711 8176 0,'-13'-14'16,"26"1"-16,-13 0 16,0 0-16,13-1 15,-13 1-15,0 0 16,-13 0 0,0 26-1,-1 0-15,1 0 16,13 1-16,-13-1 0,13 0 15,0 0-15,-13 1 0,13-1 16,0 0-16,13-13 0,-13 13 16,13 1-16,0-14 15,1 0-15,-1 0 16,0 0-16,0 0 0,1 0 16,-1 0-16,0-14 0</inkml:trace>
  <inkml:trace contextRef="#ctx0" brushRef="#br0" timeOffset="46268.74">14883 8057 0,'13'0'31,"-13"13"-16,0 0-15,0 0 0,0 0 16,0 1-16,-13-1 0,13 0 16,-13 0-16,13 1 0,0-1 15,26-13 17</inkml:trace>
  <inkml:trace contextRef="#ctx0" brushRef="#br0" timeOffset="46459.81">15028 7951 0,'0'0'15,"-13"0"-15,0 13 0,0 0 16,-1 0-16,14 1 16,-13-14-16,13 13 0,0 0 0,0 0 15,-13-13-15,13 14 0,0-1 0,0 0 16,0 0-16,13 0 15,-13 1-15,13-1 0,1-13 16</inkml:trace>
  <inkml:trace contextRef="#ctx0" brushRef="#br0" timeOffset="47003.75">15161 7924 0,'-27'53'16,"27"-40"-1,0 14-15,0-14 0,0 14 16,0-14-16,0 13 0,0 1 0,0-14 15,0 13-15,0 1 0,0-14 0,0 27 16,0-14-16,0-13 16,13 1-16,-13-1 0,0 0 0,0 0 15,0 1-15,0-1 0,0 0 16,-13 0-16,13-52 47,0 25-47,0-12 0,0 13 15,0-14-15,0-12 0,0 12 16,13-13-16,-13 14 0,0-14 0,0 27 16,14-13-16,-14 12 0,0 1 0,0 0 15,13 0-15,-13-1 0,0 1 16,13 13-16,0 0 16,1 13-1,-14 1-15,0-1 16,0 13-1,0-12-15,-14-14 0,14 13 16,0 0-16,-13-13 0,0 13 16,0-13-16,13 13 15,-14-13-15,1 0 16</inkml:trace>
  <inkml:trace contextRef="#ctx0" brushRef="#br0" timeOffset="47772.28">16722 7805 0,'-14'0'15,"1"0"1,-13 0-16,13 13 16,-1-13-16,1 0 0,0 14 15,0-14-15,-1 13 0,1 0 16,0-13-16,13 13 0,13 1 15,-13-1 1,13-13-16,1 0 0,-1 13 16,0-13-16,0 13 0,14-13 0,-14 0 15,0 14-15,0-14 0,1 0 0,-1 13 16,0-13-16,0 0 0,-13 13 16,14-13-16,-14 13 15,0 0-15,0 1 16,-14-14-16,14 13 0,-13-13 15,0 13-15,0-13 0,-1 13 0,1-13 16,0 14-16,0-14 0,0 0 16,-1 0-16,1 0 0,0 0 0,0 0 15,-1 0-15,14-14 16,14 1 0</inkml:trace>
  <inkml:trace contextRef="#ctx0" brushRef="#br0" timeOffset="48779.9">16973 7858 0,'-13'0'0,"26"0"0,-39 0 0,12 13 15,1-13-15,0 0 16,0 14-16,-1-1 16,14 0-16,-13-13 0,13 13 15,-13 1-15,13-1 16,0 0-16,13 0 16,0-13-1,1-13-15,-1 13 16,-13-13-16,13 13 0,0 0 0,1-13 15,-1-1-15,0 1 16,0 13 0,0 0 15,1 13-31,-1-13 31,0 0-15,0-13-16,1 0 0,-1 13 15,-13-13-15,13-1 0,-13 1 0,0 0 16,13-14-16,-13 14 0,0-13 0,0 13 16,0-14-16,0 14 0,0 0 15,0-14-15,0 14 0,0 0 0,0-1 16,0 1-16,0 0 0,-13 0 16,13 39 15,0-13-31,0 1 0,0 12 0,0-13 15,0 14-15,13-14 0,-13 14 0,0-14 16,14 13-16,-1-13 0,0 1 16,0-1-16,0 0 0,1 0 0,-1-13 15,0 14-15,0-14 0,14 0 0,-14 0 16,0 0-16,1 0 16,-1-14-16,0 14 0,0 0 0,-13-13 15,13 13-15,1-13 0,-14 0 16,0-1-16,0 1 31,-14 13-31,14-13 16,-26 26-1,13-13 1,39 13 15,-13-26-15,1 13-16,-1 0 15,0 0-15,0 0 16,1 0-16,-1 0 16,0 13-16,0 1 15,-13-1 1,13-13-16,-13 13 31,14-26 0,-14 0-15,13-1-16,0 1 16,-13 0-1,13 0-15,1 13 16,-14-13-16,13 13 16,-13-14-16</inkml:trace>
  <inkml:trace contextRef="#ctx0" brushRef="#br0" timeOffset="49316.21">17634 7660 0,'0'26'47,"0"-13"-31,0 1-16,0-1 15,0 0 1,14-13-16,-14 13 0,26-26 31,-13 13-31,1-13 16,-1 0-16,0 13 0,0-14 15,1 14-15,-1 0 16,-13 14 0,0-1-1,0 0-15,0 0 0,0 1 0,0-1 16,-13 13-16,13 1 0,-14-14 0,1 13 15,0-12-15,13-1 0,-13 0 16,13 0-16,-14 1 0,28-54 31,-1 27-31,13-14 16,-12-13-16,12 14 0,14-14 16,-14 14-16,-13-1 0,14-12 0,-1 12 15,1 1-15,-1-1 0,-13 14 0,1 0 16,-1 0-16,0-1 15,0 1-15</inkml:trace>
  <inkml:trace contextRef="#ctx0" brushRef="#br0" timeOffset="50565.52">15134 8731 0,'40'-26'16,"-27"26"-1,0 13 1,-13 0-16,0 0 15,-13 1-15,13-1 0,-13 0 0,13 0 16,-13 1-16,13-1 0,-14-13 16,14 13-16,-13 0 0,13 1 15,-13-1 1,26-13 0,14 0-1,-14 0-15,0-13 16,0 13-16,1 0 15,12-14 1,-13 14-16,0 0 16,1 0-1,-14-13 1,0 0 140,13 13-140,0 0-1</inkml:trace>
  <inkml:trace contextRef="#ctx0" brushRef="#br0" timeOffset="52385.05">16920 8414 0,'-13'0'0,"39"-13"63,-12 13-63,-1 0 15,0-14-15,0 14 16,0-13-16,1 13 16,-41 13 31,14-13-47,0 14 15,0-14-15,-1 0 0,14 13 16,-13-13-16,-13 13 0,12-13 15,14 13-15,-13-13 0,13 13 0,-13-13 16,13 14-16,13-1 16,0-13-1,1 13 1,-1-13-16,0 0 0,-13 13 16,13-13-16,1 0 15,-1 14-15,-26-1 31,13 0-31,-14-13 16,14 13-16,-13-13 0,0 0 16,13 13-16,-13-13 0,-1 0 15,1 14-15,0-14 16</inkml:trace>
  <inkml:trace contextRef="#ctx0" brushRef="#br0" timeOffset="53212.75">17198 8321 0,'-13'27'31,"13"-14"-31,-14 0 0,14 0 16,0 1-16,-13-1 15,13 0-15,0 0 0,0 0 16,0 1-16,13-1 0,1-13 16,-1 0-1,13 0-15,-12-13 0,-1 13 16,13-14-16,-12 14 0,12-13 0,0 0 15,1 0-15,-1 0 0,-12 13 16,12-14-16,-13 14 0,0 0 0</inkml:trace>
  <inkml:trace contextRef="#ctx0" brushRef="#br0" timeOffset="54012.64">15333 9234 0,'26'13'63,"-26"0"-63,0 1 16,13-1-1,-13 0-15,14-13 16,-14 13-16,13-13 0,-13 14 15,0-1-15,0 0 16,-13-13-16,13 13 0,-14 0 16,1 1-1</inkml:trace>
  <inkml:trace contextRef="#ctx0" brushRef="#br0" timeOffset="54680.95">16986 8877 0,'-13'0'16,"26"-13"0,0 13-16,1 0 0,-1-14 15,0 14-15,0 0 0,1 0 16,-1 0-16,0 0 15,-13 14-15,13-14 0,1 0 16,-14 13-16,13-13 0,-13 13 0,0 0 16,13-13-16,-13 13 0,0 1 0,0-1 15,13 0-15,-13 0 16,0 1-16,0-1 0,0 0 16,0 0-16,13 1 0,-13-1 15,0 0-15,0 0 16,14 0-1</inkml:trace>
  <inkml:trace contextRef="#ctx0" brushRef="#br0" timeOffset="54861.89">16999 9062 0,'14'-13'16,"-14"0"-16,13 13 15,0 0-15,0-14 0,1 14 16,-1-13-16,0 13 0,14-13 0,-14 13 16,13-13-16,1 13 0,-1-14 15,-13 1-15,14 0 0</inkml:trace>
  <inkml:trace contextRef="#ctx0" brushRef="#br0" timeOffset="55104.51">17449 8731 0,'0'0'0,"-13"13"47,0 1-47,13-1 0,0 0 0,0 0 15,0 1-15,0-1 16,0 0-16,0 14 0,0-14 0,0 0 16,0 0-16,0 0 0,0 1 0,13-1 15,-13 0-15,13 0 16,0-13-16,1 0 15,-1 0-15,0 0 0,14-13 0,-14 13 16,13 0-16,-12-13 0,-1 13 0,0-13 16,0 13-16,0 0 0</inkml:trace>
  <inkml:trace contextRef="#ctx0" brushRef="#br0" timeOffset="55573.53">15399 10054 0,'13'27'47,"-13"-14"-47,0 0 0,0 0 16,13 1-16,-13-1 0,0 0 15,0 0-15,13-13 0</inkml:trace>
  <inkml:trace contextRef="#ctx0" brushRef="#br0" timeOffset="55848.75">15571 10014 0,'-13'40'16,"13"-27"-1,0 1-15,0-1 16,13 0-16,0 0 0,0-13 16,0 0-16,1 0 15,-1 0-15,0-13 0,-13 0 16,13 13-16,-13-13 0,0-1 16,-13 1-16,13 0 15,-13 13-15,0 0 16,13-13-16,-14 13 0,1 0 15,0 0-15,0 0 16,13 13-16,-13-13 0,13 13 16</inkml:trace>
  <inkml:trace contextRef="#ctx0" brushRef="#br0" timeOffset="56552.84">17343 9446 0,'0'0'16,"-13"26"-1,13-13 1,0 1-16,0-1 0,0 0 0,0 0 16,0 0-16,0 1 0,0-1 15,0 0-15,0 0 0,0 1 0,0-1 16,0 0-16,0 0 0,0 1 16,0-1-16,0 0 15,0 0-15,13-13 16,-13 13-16</inkml:trace>
  <inkml:trace contextRef="#ctx0" brushRef="#br0" timeOffset="56848.9">17449 9525 0,'0'-13'16,"-13"13"15,13 13-15,-13 0-1,13 0 1,0 1 0,0-1-1</inkml:trace>
  <inkml:trace contextRef="#ctx0" brushRef="#br0" timeOffset="57877.73">15452 10054 0,'26'-26'16,"-13"26"-16,1-14 0,-1 1 0,13 13 15,-12-13-15,-1 0 0,13 13 16,-13-13-16,1-1 0,-1 14 0,0 0 16,0 0-16,-39 27 31,13-27-31,-1 13 16,-12 0-16,13 0 0,-14 14 0,1-14 15,13 0-15,-14 1 0,14-1 16,0 0-16,-1-13 0,1 13 0,13 1 15,-13-14-15,26 13 16,-13 0-16,13-13 16,1 13-16,12-13 0,-13 0 0,1 13 15,12-13-15,-13 0 0,14 14 0,-1-14 16,-13 0-16,1 13 0,-1-13 0,0 0 16,0 13-16,1-13 0,-14 13 15,13 1-15,-26-1 0,13 0 16,-14 0-16,-12 14 0,13-1 0,-14 1 15,1-14-15,-1 13 16,-12-12-16,12-1 0,1 0 0,12 0 16,-12-13-16,13 14 0,0-14 0,-1 0 15,1 0-15,0-14 0</inkml:trace>
  <inkml:trace contextRef="#ctx0" brushRef="#br0" timeOffset="58644.08">17396 9512 0,'0'13'15,"0"0"1,0 0-16,0 1 0,0-1 15,0 0-15,14 0 16,-14 1-16,0-1 0,13-13 0,-13 13 16,13-13-16,0 13 15,0-13-15,1 0 16,-1-13-16,0 13 0,0 0 0,-13-13 16,14 13-16,-1 0 0,-13-13 0,0-1 15,13 1-15,-26-13 16,13 12-1,-13 1-15,-1 0 0,1 0 16,0 13-16,0 0 16,-1 0-16,-12 0 15,13 13-15,0-13 16,13 13-16,-14 0 16</inkml:trace>
  <inkml:trace contextRef="#ctx0" brushRef="#br0" timeOffset="59017.18">17740 9327 0,'0'26'47,"0"-13"-47,0 0 0,0 1 0,0-1 15,0 0-15,0 0 0,0 1 0,0-1 16,0 0-16,0 0 0,0 1 0,0-1 16,0 0-16,14 0 15,-1 0-15,0-13 16,0 0-16,14 0 0,-14 0 15,0 0-15,14 0 0,-14-13 0,13 13 16,-12 0-16,12-13 0,-13 13 0,14-13 16,-14 0-16,0 13 0,0-14 15,1 14-15,-1 0 0,0-13 16,0 13-16</inkml:trace>
  <inkml:trace contextRef="#ctx0" brushRef="#br0" timeOffset="59883.91">15571 10980 0,'39'-13'16,"-25"13"0,12 0-16,-13 0 15,1 13-15,-1 0 0,0-13 16,-13 14-16,13-1 0,-13 0 15,13 0-15,-13 1 0,14-1 0,-14 0 16,13 0-16,-13 0 0,0 1 16,0-1-16,0 0 0,13 0 0,-13 1 15,0-1-15,0 0 0,0 0 0,0 1 16,13-1-16,-13 0 0</inkml:trace>
  <inkml:trace contextRef="#ctx0" brushRef="#br0" timeOffset="60093.8">15558 11271 0,'13'-13'16,"0"13"-16,-13-13 15,13 0-15,14 13 0,-14-14 0,13 1 16,1 0-16,12 0 0,-12-1 0,13 1 15,-14 0-15,14-14 0,-14 14 16,14 0-16,-14 0 0,14 0 0,0-1 16,-14 1-16</inkml:trace>
  <inkml:trace contextRef="#ctx0" brushRef="#br0" timeOffset="60516.78">17661 10398 0,'0'13'16,"13"1"-1,-13-1-15,13 0 0,-13 0 16,0 14-16,14-14 0,-14 0 0,13 14 16,-13-14-16,0 0 0,13 14 0,-13-14 0,0 0 15,13 0-15,-13 0 16,0 1-16,0-1 0,14 0 0,-14 0 16</inkml:trace>
  <inkml:trace contextRef="#ctx0" brushRef="#br0" timeOffset="60979.64">17926 10425 0,'26'0'32,"-13"13"-32,-13 0 15,0 0-15,0 1 16,0-1 0,0 0-16,13-13 0,-13 13 15,0 0-15,0 1 16,0-1-1,0 0-15,0 0 0,-13-13 16,13 14-16,-13-1 16</inkml:trace>
  <inkml:trace contextRef="#ctx0" brushRef="#br0" timeOffset="61200.66">18071 10411 0,'0'27'0,"0"-14"16,0 0-16,0 1 15,0-1-15,0 0 16,0 0-16,13-13 0,-13 13 16,14-13-16,-1 0 15,0 0-15,0 0 0,0 0 0,14-13 16,-14 0-16,14 13 0,-14-13 15,0 13-15,13-13 0,-12-1 0,-1 14 16</inkml:trace>
  <inkml:trace contextRef="#ctx0" brushRef="#br0" timeOffset="61957.67">15915 11853 0,'26'27'15,"-52"-54"-15,52 67 0,-13-27 0,1 0 0,-14 1 16,13-1-16,-13 0 0,13 0 0,-13 1 16,13-1-16,-13 13 0,0-12 15,0-1-15,0 0 0,0 0 0,0 0 16,0 1-16,-13-1 0,13 0 0,-13 0 16,13 1-16,-13-14 15,-1 0-15,14-14 31,0 1-31,0 0 16,14 0-16,-14-1 0,13 1 0,-13-13 16,0 13-16,13-14 0,-13 14 0,0-14 15,0 14-15,0-13 0,0 12 16,0 1-16,0 0 0,-13 0 16,0-14-16,13 14 0,-14 13 0,1 0 15,0-13-15,0 13 16,-14 0-16,27 13 0,-13-13 15,0 0-15,0 13 0</inkml:trace>
  <inkml:trace contextRef="#ctx0" brushRef="#br0" timeOffset="62178.91">15968 11681 0,'0'0'0,"26"14"16,-13-1-1,1 0-15,-1 0 0,0 14 0,0-1 0,0 1 16,1-1-16,-1 1 0,0-1 0,0 0 16,-13 1-16,0-1 15,14-12-15,-14 25 0,13 1 16,-13-14-16</inkml:trace>
  <inkml:trace contextRef="#ctx0" brushRef="#br0" timeOffset="63208.13">18018 11589 0,'0'53'32,"0"-40"-32,0 0 0,0 0 15,0 1-15,0-1 16,13-13-16,-13 13 0,0 0 0,0 1 15,0-1 1,14-13-16</inkml:trace>
  <inkml:trace contextRef="#ctx0" brushRef="#br0" timeOffset="63959.68">18269 11483 0,'0'-13'0,"14"-1"235,-1 14-220,0 0 1,0 0-16,1 0 16,-14-13-16,13 13 0,13 0 15,-26 13-15,14-13 0,-14 14 16,13-1-16,-13 0 16,0 0-16,13 1 0,-13-1 0,0 13 15,0-12-15,0 12 0,0 0 0,0-12 16,0 12-16,0 1 0,0-1 15,0-13-15,0 1 0,0 12 0,0-13 16,-13 0-16,13 1 0</inkml:trace>
  <inkml:trace contextRef="#ctx0" brushRef="#br0" timeOffset="64411.9">18349 11761 0,'0'-13'31,"13"-1"-31,0 1 16,1 0-16,-1 0 0,0-1 15,13 1-15,-12-13 0,-1 12 16,0 1-16,0 0 0,1-13 0,-1 12 16,0-12-16,0 13 0,1-14 15,-1 14-15,-13 0 0,13-1 0,-13 1 16,13 0-16,-13 0 15,13 0-15,1 26 32,-14 0-17,0 0-15,0 0 16,13 1-16,-13-1 0,0 0 0,13 0 16,-13 1-16,0-1 0,0 0 15,13 0-15,-13 1 0,0-1 16,14-13-16,-14 13 15,13-13-15,-13 13 16,13-13-16,0 0 16,0 0-16,1-13 15,-1 13-15,0 0 0,0-13 16,1 13-16,-1-13 0,-13-1 0,13 14 16,0-13-16,1 0 0,-14 0 15,13-1-15,-13 1 0,13 0 0</inkml:trace>
  <inkml:trace contextRef="#ctx0" brushRef="#br0" timeOffset="68718.23">14922 7435 0,'0'-13'31,"0"-1"0,0 1-15,0 0-16,0 0 16,0-1-16,0 1 0,0 0 15,0 0-15,0-1 0,0 1 0,0 0 16,-13-13-16,13-1 0,0 14 16,0-14-16,-13 1 0,13 0 0,-13-14 15,13 13-15,0 1 0,-13-1 0,13 1 16,0 13-16,0-14 0,0 14 15,0-13-15,-14 12 0,14 1 0,0 0 16,0 0-16,0-1 0,0 1 0,0 0 16,0 0-16,0 0 0,0-1 15,0 1-15,0 0 16,0 0 0,14-1-16,-14 1 31,0 0 0,0 39 141,-14-12-172,14-1 16,-13 0-16,13 0 0,-13 1 15,0-1-15,13 0 16,-27 40-1,14-40-15,13 0 0,-13 14 16,0-14-16,13 0 0,-14 1 0,14-1 16,-13 0-16,0 0 0,13 0 0,-13 1 15,-1-1-15,14 0 0,-13 0 16,13 1-16,-13-1 0,13 0 0,-13 0 16,-1 1-16,1-1 15,13 0-15,-13 0 16,0 0-1,13 1 17,13-41 46,0 27-63,0-13 1,-13 0-16,14 13 0,-14-13 16,13 13-16,-13-14 0,13 14 0,0-13 15,-13 0-15,14 13 0,-14-13 0,13-1 16,-13 1-16,13 13 0,-13-13 16,13 0-16,-13-1 0,14 1 15,-1 0-15,-13 0 0,13 0 0,-13-1 16,13-12-16,-13 13 0,13-1 15,-13 1-15,0 0 0,14 0 0,-14-1 16,13 1-16,-13 0 0,0 0 16,13 13-16,-13-13 0,0-1 15,13 1 1,-13 0 0,0 0-1,14 13-15,-14-14 16,13 1 15,0 13-15,-13-13-1,13 13 1,0-13 31,1 26-16,-14 0-31,13-13 16,-13 13-16,13-13 0,-13 14 15,13-14-15,-13 13 0,14 0 0,-1 0 16,0 1-16,0-14 16,-13 13-16,14-13 0,-1 13 0,0-13 15,0 13-15,0 0 0,1-13 0,-1 14 16,0-14-16,0 13 15,1-13-15,-1 0 0,0 13 0,0-13 16,1 13-16,-1-13 16,0 0-16,0 14 15,0-14 1,1 13 15</inkml:trace>
  <inkml:trace contextRef="#ctx0" brushRef="#br0" timeOffset="71075.77">16100 7408 0,'0'-13'63,"13"0"-48,-13 0 1,0-1 0,0 1-16,0 0 0,-13 0 15,13-1-15,0 1 16,0 0-16,-13-13 0,13 12 0,0 1 15,-14 0-15,14-14 0,0 14 0,0 0 16,-13-13-16,13 12 0,0 1 16,0 0-16,0-14 0,0 14 0,0 0 15,-13 0-15,13-1 0,0 1 0,0 0 16,0 0-16,0 0 0,0-1 16,0 1-16,0 0 0,0 0 15,0-1-15,0 1 0,0 0 0,0 0 16,0-1-16,0 1 15,0 0-15,0 0 16,0 0-16,0-1 16,0 1-16,0 0 15,0 0 1,0-1 0,0 1-16,-13 0 31,13 0 0,-13 26 78,13 0-109,-14 0 16,14 1 0,-13-14-16,13 13 0,0 0 15,-13-13-15,13 13 0,-13 1 16,13-1-16,-14-13 16,14 13-16,0 0 0,-13-13 15,13 13-15,0 1 0,-13-1 16,0 0-16,13 0 0,-14 1 15,14-1-15,-13-13 0,13 13 0,-13 0 16,13 1-16,-13-14 0,13 13 16,-13 0-16,13 0 0,-14-13 15,14 13-15,-13 1 0,13-1 16,-13 0-16,13 0 16,-13-13-16,13 14 0,-14-1 15,14 0-15,-13-13 16,13 13-16,-13-13 15,13 14 1,-13-1 0,26-26 77,0-1-77,-13 1-16,13 13 0,1-13 16,-14 0-16,13-1 0,0 1 0,0 0 15,1 0-15,-14-14 0,13 14 16,0 0-16,0-14 0,0 14 0,-13-13 16,14 12-16,-1-12 0,-13 13 15,13-1-15,-13 1 0,0 0 0,13 0 16,-13 0-16,0-1 0,14 1 0,-14 0 15,0 0 1,0-1-16,0 1 16,13 13-16,-13-13 15,0 0 17,13 26 30,0 0-62,1-13 16,-14 13-16,13 1 15,0-14-15,-13 13 16,13-13-16,0 13 0,-13 0 0,14-13 0,-1 14 16,0-1-16,0-13 0,1 13 0,-1 0 15,0-13-15,0 13 16,0-13-16,1 14 0,-1-1 0,0-13 15,0 13-15,1-13 16,-1 13-16,0-13 16,-13 14-1,13-14-15,1 13 16,-1-13 15,-13 13 0,0 0 16,-13-13-15,13 14-17,-14-14 1,1-14 15</inkml:trace>
  <inkml:trace contextRef="#ctx0" brushRef="#br0" timeOffset="73114.69">16206 12554 0,'0'0'0,"0"27"47,0-1-47,0-12 0,13 12 15,-13 1-15,13 12 0,-13 1 16,13-14-16,1 14 0,-1 0 0,13-14 16,-12 1-16,12 12 0,-13-12 0,14-14 15,12 14-15,-12-1 0,13-13 16,-1 14-16,1-14 0,0 0 0,-1 0 15,1-13-15,13 14 0,-13-1 16,13-13-16,-14 0 0,14 0 0,0 13 16,-13-13-16,13-13 0,-14 13 15,14 0-15,-13-13 0,0-1 0,13 1 16,-14 0-16,1 0 0,13-1 0,0-12 16,0 13-16,0-14 0,-1 1 15,-12-1-15,0 14 0,0-13 0,-14 12 16,14-12-16,-14 13 0,1-14 0,26-12 15,-40 12-15,40-26 16,-40 27-16,13-1 16,1-39-16,-1 40 0,-12-1 15,-1-12-15,0 12 0,0 1 0,0-1 16,1 1-16,-14 12 0,13 1 16,-13 0-16,0 0 0,13 0 0,-13-1 15,0 1-15,13 0 16,-13 0-16,0-1 15,-13 41 32,13-14-47</inkml:trace>
  <inkml:trace contextRef="#ctx0" brushRef="#br0" timeOffset="73608.03">17489 13163 0,'13'53'31,"-13"-40"-31,13 0 0,-13 14 15,14-14-15,-14 0 0,0 14 0,13-14 16,-13 0-16,0 14 0,13-14 0,-13 0 16,0 0-16,0 14 0,13-14 15,-13 0-15</inkml:trace>
  <inkml:trace contextRef="#ctx0" brushRef="#br0" timeOffset="73923.82">17489 13533 0,'0'40'31,"0"-27"-31,13-13 0,-13 14 16,13-1-16,1 0 0,-1-13 15,0 13-15,0-13 16,1 0-16,-1 0 16,0 0-16,0 0 0,0 0 15,1-13-15,-1 13 0,-13-13 0,13 13 16,0-13-16,-13-1 0,14 1 0,-14 0 16,13 13-16,-13-13 0,13-14 15,-13 14-15,13 0 0,1 0 16,-14-1-16,13 14 0</inkml:trace>
  <inkml:trace contextRef="#ctx0" brushRef="#br0" timeOffset="75245.7">18217 13414 0,'-40'53'16,"80"-106"-16,-80 120 0,27-41 0,-1 0 0,14-12 16,0 12-16,-13-13 0,13 14 0,0-14 15,0 0-15,0 14 0,0-14 16,0 0-16,13-13 0,-13 13 0,0 1 15,14-14-15,-1 0 0,13 0 16,-12-14-16,12 1 16,-13 0-16,0 13 0,-13-13 15,14-1-15,-1 14 0,-13-13 0,13 13 16,-13-13-16,13 13 16,1 0-1,-1 13-15,-13 0 16,13-13-16,-13 14 0,13-14 15,-13 13-15,14-13 0,-1 13 16,0-13-16,0 0 16,0 0-16,1 0 0,-14-13 15,13 13-15,0-13 0,-13-1 16,13 1-16,-13 0 16,0 0-16,0 0 0,0-1 0,-13 1 15,13 0-15,-13 0 16,0-1-16,-1 1 0,1 13 15,0 0-15,13-13 0,-13 13 16,0 0 0,39 13 15,-13-13-15,0 13-16,1-13 0,-1 14 0,0-14 15,0 13-15,14 0 16,-27 0-16,13 1 0,0-14 0,1 13 15,-14 0-15,13-13 0,-13 13 0,0 0 16,13-13-16,-13 14 0,0-1 0,0 0 16,0 0-1,-13-13 1,13-26 0,-13 26-16,13-13 15,0-1-15,0 1 0,13-13 16,-13 13-16,0-1 0,0 1 0,13 0 15,-13 0-15,0-1 0,13 1 16,0 0 0,1 0-1</inkml:trace>
  <inkml:trace contextRef="#ctx0" brushRef="#br0" timeOffset="75552.25">18680 13414 0,'13'14'15,"0"-1"1,-13 0-16,0 0 0,13 1 0,-13-1 16,13 0-16,-13 13 0,0-12 15,14-1-15,-14 13 0,0-12 0,13-14 16,-13 13-16,0 0 0,0 0 15,13 0 1,-13-39 0,0 13-1,13 0-15,-13-1 0,0 1 0,14-13 16,-14 12-16,0 1 0,13-13 16,-13 13-16,13-1 0,0 1 0,-13 0 15,14 13-15,-1-13 0,0-1 16,0 14-16</inkml:trace>
  <inkml:trace contextRef="#ctx0" brushRef="#br0" timeOffset="77112.89">18957 13626 0,'-13'26'31,"13"-12"-15,27-14-1,-27-14 1,13 14-16,-13-13 16,13 0-16,-13 0 0,13 13 15,-13-13-15,0-1 16,14 1-16,-14 0 15,0 0-15,0 39 79,0-13-79,0 1 15,0-1-15,13 0 16,0 0-1,0-13-15,0 0 0,1 0 16,-1 0-16,0-13 0,-13 0 16,13 13-16,1-13 0,-1-1 15,0 1-15,0-13 0,-13 12 0,14-12 16,-14 13-16,13-53 16,-13 26-16,0 13 0,0-12 15,0-1-15,0 0 0,0 14 0,0-1 16,-13 1-16,13 0 0,0 12 0,0 1 15,0 0-15,0 0 0,-14-1 16,14 41 0,0-1-1,0 1-15,0-1 0,0 14 0,0 0 16,14-1-16,-14 1 0,0 0 16,13-1-16,-13 1 0,13-13 0,-13-14 15,13 13-15,0 1 0,-13-14 0,14 0 16,-1 0-16,-13 1 0,13-1 15,0-13-15,-13 13 0,14-13 16,-1 0-16,13 0 16,-12-13-16,-1 0 0,0-1 15,0 1-15,0 0 0,1 0 0,-1-14 16,-13 14-16,13 0 0,0 13 0,-13-13 16,0-1-16,0 1 0,14 13 15,-14-13-15,-14 13 16,-12 13-1,26 0 1,-13-13-16,13 14 0,-14-1 16,14 0-1,0 0 1,14 0 0,-1-13-1,13 0 1,-26-13-16,14 13 15,-1 0-15,0-13 0,0 13 16,-13-13-16,13 0 0,1-1 16,-14 1-16,13 0 0,-13 0 0,13-14 15,-13 1-15,13-1 0,-13 1 16,14-14-16,-14 0 0,13 1 0,-13 12 16,0-12-16,0-1 0,0 13 15,13 14-15,-13-13 0,0 13 16,0-1-16,0 1 0,0 0 0,0 0 15,13 39 1,-13-13-16,0 14 16,14-1-16,-14 14 0,13-14 15,-13 14-15,13 0 0,-13-1 0,13 1 16,-13-13-16,0-1 0,13 0 0,-13-12 16,14 12-16,-14-13 0,0 1 15,13-1-15,-13 0 0,0 0 0,13 1 16,-13-1-16,-26-26 47,-1-1-47,14 1 0,0 13 0,0-13 15,-14 13-15,14 0 0,0-13 0,-14 13 16,14-14-16,0 14 0,-1 0 16,1-13-16,0 13 0,0 0 15,13-13-15,0 0 16,0-1-1,13 14-15,0-13 0,0 0 0,1 0 16,-1 0-16,13-1 0,-12 1 0,12 0 16,1 13-16,-14-13 0,13-1 15,-13 1-15,1 13 0,-1 0 16,0 0-16,0-13 0,1 26 0,-1-13 16,0 0-16,0 0 0,1 13 0,-1-13 15,-13 14-15,13-1 0,0-13 16,-13 13-16,0 0 0,13 1 0,-13-1 15,0 0-15,0 0 0,0 0 16,0 1 0</inkml:trace>
  <inkml:trace contextRef="#ctx0" brushRef="#br0" timeOffset="77232.55">19923 13004 0,'-13'-13'31</inkml:trace>
  <inkml:trace contextRef="#ctx0" brushRef="#br0" timeOffset="77884">20201 13110 0,'-13'13'31,"-1"-13"-31,14 14 16,-13-1-16,13 0 0,0 0 0,-13 0 16,13 1-16,0-1 0,-13 0 15,13 0-15,0 1 0,0-1 16,0 0-16,0 0 0,13-13 15,-13 14 1,13-14-16,0-14 16,1 14-16,-14-13 0,13 0 0,0 0 15,-13-1 1,13 1-16,-13 0 0,0 0 16,0-1-1,-13 1-15,13 0 31,13 13 16,1 13-47,-1-13 0,0 13 16,0-13-16,-13 14 0,14-14 16,-1 0-16,-13 13 0,13-13 15,0 13-15,0-13 0,-13 13 16,14-13-16,-1 0 0,0 0 15,0 0 1,1 0-16,-1-13 16,0 26 15,-39 1-31,12-1 0,1 0 16</inkml:trace>
  <inkml:trace contextRef="#ctx0" brushRef="#br0" timeOffset="78168.59">19010 13983 0,'66'-26'0,"146"-54"16,-146 54-16,0-1 15,1 1-15,12 13 0,-13-14 0,0 14 16,0 0-16,1-14 0,-1 14 16,-13 0-16,-1 0 0,-12-1 0,0 1 15,0 0-15,-27 13 0,13 0 0,-13-13 16,1 13-16,-1 0 0,-26 13 31,-1 0-31,-12 0 16,13 1-16</inkml:trace>
  <inkml:trace contextRef="#ctx0" brushRef="#br0" timeOffset="78437.64">18971 14142 0,'0'0'0,"26"-13"15,14-14-15,-1 14 0,14-13 16,14 12-16,-15-12 0,15-1 0,12 1 15,0 0-15,-13-1 0,14 14 16,-1-14-16,-13 1 0,1 13 16,-1-14-16,-13 14 0,-14 0 0,1 0 15,0-1-15,-14 1 0,1 13 0,-14-13 16,0 13-16,13 0 0,-26-13 0,14 13 16,-1 0-16,0-14 15</inkml:trace>
  <inkml:trace contextRef="#ctx0" brushRef="#br0" timeOffset="87069.5">14208 6416 0,'0'53'16,"0"-26"-16,0-1 15,0 27-15,0-13 0,13 13 16,-13-1-16,0 15 0,0-1 0,14-13 15,-14 0-15,0-1 0,0 15 0,0-28 16,0 14-16,0 0 0,0-13 0,13 13 16,-13-14-16,0 1 0,0-13 15,0-1-15,0 0 0,13 1 0,-13-14 16,0 0-16,0 1 0,0 12 16,13-13-16,-13 1 15,14-1-15,-1-13 0,0 13 16,0-13-16,14 0 0,-14 0 0,13 0 15,1 0-15,-1 0 0,27-13 16,-13 13-16,13 0 0,-14-13 16,14-1-16,14 14 0,-1-13 0,0 0 15,0 0-15,0-14 0,0 14 0,-13 0 16,13-14-16,-13 14 0,13-13 16,1 12-16,-1-12 0,-13 13 0,13-1 15,0-12-15,-13 13 0,0-1 0,13 1 16,-26 0-16,-1 0 0,14 0 15,-13-1-15,0 1 0,-1 0 0,1 0 16,-14-1-16,14 14 0,-14-13 0,1 13 16,-14-13-16,14 13 0,-14-13 0,0 13 15,14 0-15,-14 0 16,0-13-16,0 13 0,0 0 0,14 0 16,-27-14-16,26 14 15,-12-13-15,-1 13 0,0-13 16,0 13-16,-13-13 15,14 13-15,-1-14 0,0 14 16,0-13-16,0 0 16,1 13-1,-14-13 1,13 13-16,-13-14 16,0 1-1,13 0 1,-13 0-16,0 0 0,-13-1 15,13 1-15,0 0 0,0-14 0,-13 1 16,13-1-16,-14-12 0,1-1 16,13 0-16,-13-12 0,0-1 0,0 0 15,-1 13-15,14 0 0,-13-13 0,13 14 16,-13 12-16,13 1 0,0 13 0,0-14 16,-13 14-16,13 0 15,0-1-15,0 1 0,0 0 0,-14 0 16,14-1-16,0 1 0,-13 0 15,0 13 1,13-13-16,-13 13 16,-1 0-16,1 0 15,0 0-15,0 0 0,0 0 0,-14 0 16,14 0-16,-27 13 0,14-13 16,-14 13-16,0-13 0,-13 13 0,1 1 15,-1-14-15,-14 13 0,1 0 0,0-13 16,0 13-16,0-13 0,-13 14 15,-1-1-15,14 0 0,-13 0 0,-1 1 16,1-1-16,13 0 0,-14 13 16,1 1-16,0-14 0,12 14 0,1-1 0,0-13 15,0 14-15,13-1 16,-13-13-16,26 14 0,1-14 0,-1 0 16,0 1-16,14-1 0,-54 0 15,67 0-15,-13-13 16,12 14-16,-12-14 0,13 0 0,-14 13 15,14-13-15,-13 0 0,-1 0 0</inkml:trace>
  <inkml:trace contextRef="#ctx0" brushRef="#br1" timeOffset="98209.79">833 9948 0,'14'0'31,"-1"14"-31,0-14 16,0 0-16,1 0 0,-1 0 16,13 0-16,14 0 0,0 0 15,26 0-15,-13 0 0,26 0 0,0 0 16,1 0-16,12 0 0,-12 0 0,12 0 15,-12 0-15,26 0 0,-27 0 16,14 0-16,-14 0 0,14 0 0,-14 13 16,0-26-16,1 13 0,-27 0 0,26 0 15,-26 0-15,0 0 0,0 0 16,0 0-16,0 0 0,-14-14 0,1 14 16,-14 0-16,1 0 0,-1 0 15,-12 0-15,12 0 0,-13-13 16,0 13-16,1 0 0,-1 0 0,0 0 15,0 0 1,1 0-16</inkml:trace>
  <inkml:trace contextRef="#ctx0" brushRef="#br1" timeOffset="99080.56">5239 9909 0,'119'0'16,"-66"13"0,-14-13-16,14 0 0,13 13 0,1-13 15,-1 13-15,13-13 0,1 14 16,-14-1-16,26-13 0,-12 13 0,-1-13 16,0 13-16,1 0 0,12-13 0,-12 14 15,-1-1-15,14-13 0,-1 13 16,14-13-16,-13 0 0,13 13 0,-14-13 15,1 0-15,13 0 0,-14 0 0,1 0 16,-1 0-16,1 0 0,0 0 16,-27 0-16,13 0 0,-26 0 0,0 0 15,0 0-15,-13 0 0,-1 0 16,-12 0-16,-1 0 0,-13 0 0,1 0 16,-1 0-16,0 0 0,0 0 15,1 0-15,-1 0 16,-40 0 15</inkml:trace>
  <inkml:trace contextRef="#ctx0" brushRef="#br1" timeOffset="103056.78">6469 10927 0,'0'-13'0,"0"40"31,0-14-31,-13 0 0,13 0 0,0 14 16,0-14-16,0 13 0,-13 1 16,13-1-16,0 1 0,0-1 0,0-13 15,0 14-15,-14-1 0,14-12 16,0-1-16,0 0 0,-13 0 16,13 0-16,13-39 31,1 13-16,-14 0-15,13 13 0,0-14 0,0 1 16,1 13-16,-1-13 0,0 13 16,13 13-1,-12-13-15,-1 13 16,0 1-16,0-1 0,-13 0 16,14-13-16,-1 13 0,0 0 15,-13 1-15,13-14 0,1 13 16,-1-13-16,0 0 0</inkml:trace>
  <inkml:trace contextRef="#ctx0" brushRef="#br1" timeOffset="103520.81">6813 11311 0,'0'-40'16,"0"27"-16,0 0 15,0 0-15,0-1 16,-13 1-16,0 13 16,-1 13-1,1 1-15,0-1 16,13 0-1,0 0-15,-13 0 0,13 1 16,0-1-16,0 0 0,13 0 16,0 1-16,0-14 15,1 0-15,12 0 16,-13-14-16,0 1 0,1 13 0,-1-13 16,0 0-16,0-1 0,1 1 15,-14 0-15,13 0 0,0 0 0,0-1 16,-13 1-16,14 13 15,-1 13 1,-13 1 0,0-1-16,0 0 0,0 0 15,13 0-15,-13 1 16,0-1-16,0 0 0,13-13 0,-13 13 16,13 1-16</inkml:trace>
  <inkml:trace contextRef="#ctx0" brushRef="#br1" timeOffset="104372.6">7210 11192 0,'0'0'0,"0"-13"0,-13 13 0,-1 0 16,1 0 15,13 13-15,0 0-16,0 0 15,13 1-15,-13-1 16,0 0-16,14 0 0,-14 0 16,0 1-16,0-1 0,0 0 15,0 0-15,-14-13 16,14 14-16,0-1 0,-13-13 0,13 13 16,0 0-16,-13-13 0,13 14 15,26-28 32,-26 1-47,14 13 16,-14-13-16,13 0 0,0-14 0,-13 14 15,13 0-15,-13-14 0,14 14 16,-14-13-16,13-1 0,-13 1 0,13 12 16,-13 1-16,13 0 0,-13 0 15,0-1-15,0 1 0,0 0 16,0 0-16,-13 26 47,13 0-47,0 0 0,-13 1 15,13-1 1,0 0 0,13-13-16,-13 13 15,13-13-15,0 0 16,-13 14-16,14-14 0,-14 13 0,13-13 15,0 13-15,0 0 16,1 1-16,-1-14 16,-13 13-16,13-13 0,0 0 15,1 13 1</inkml:trace>
  <inkml:trace contextRef="#ctx0" brushRef="#br1" timeOffset="104528.8">7342 11139 0,'13'-13'31,"1"-1"-31,-1 14 16,0-13-16,0 13 0,1 0 0,12 0 15,-13-13-15</inkml:trace>
  <inkml:trace contextRef="#ctx0" brushRef="#br1" timeOffset="105557.95">8718 11073 0,'0'-13'0,"0"26"0,0 0 47,-13 0-47,13 0 16,13-13-16,-13 14 0,0-1 0,0 0 15,0 0 1,13-13 0,0 0-16,1-13 15,-1 13-15,0-13 0,0 13 16,-13-13-16,14 13 0,-1 0 16,0-14-16,0 14 15,1 0 1,-1 0-16,0 0 0,0-13 15,0 13 1,-13-13-16,14 13 16,-14-13-16,0 0 15,0-1-15,13 1 16,-13 0-16,0 0 0,0-1 16,0 1-16,13 13 15,-13 13 1,13-13-1</inkml:trace>
  <inkml:trace contextRef="#ctx0" brushRef="#br1" timeOffset="105991.86">9168 11020 0,'0'0'0,"0"-13"0,0-1 0,-13 14 0,13-13 15,-14 0-15,1 13 16,0 0-16,13 13 16,-13-13-16,13 13 15,-14-13-15,14 14 0,-13-1 16,13 0-16,0 0 16,13-13-16,-13 14 0,14-1 15,-1-13-15,0 0 16,14 0-16,-14 0 15,0-13-15,0 13 0,1 0 16,-1-14-16,0 1 0,0 13 0,14-13 16,-27 0-16,13 13 0,0-14 0,0 1 15,1 13-15,-14-13 0,13 13 16,0 0 15,-13 13-31,13-13 0,-13 13 16,0 1-16,13-1 15,-13 0-15,14 0 16,-1 1-16,0-1 31</inkml:trace>
  <inkml:trace contextRef="#ctx0" brushRef="#br1" timeOffset="106644.04">9551 10941 0,'-26'0'15,"26"13"1,13 0-1,0 0 17,-13 0-17,0 1 1,0-1-16,-13-13 0,13 13 16,0 0-16,-13-13 0,13 14 15,0-1 1,26-26 31,-12-1-47,-1 1 0,-13 0 15,13 0-15,0-1 16,1 1-16,-14 0 0,13 13 0,0-13 16,-13 0-16,13-1 0,-13 1 15,14 13 1,-14 13-1,0 1-15,0-1 16,0 0-16,0 0 0,0 0 16,0 1-16,0-1 0,0 0 0,0 0 15,13-13-15,-13 14 0,0-1 0,0 0 16,0 0 0,0 0-16</inkml:trace>
  <inkml:trace contextRef="#ctx0" brushRef="#br1" timeOffset="107220.16">7157 11867 0,'-13'13'0,"26"-26"0,-26 39 0,13-13 15,0 0-15,13 1 0,-13-1 16,13 0-16,14 14 0,-14-1 16,27 1-16,-1-14 0,-12 13 0,26-13 15,0 1-15,-14-1 0,27 0 0,-13-13 16,27 0-16,-14 0 0,13 0 15,-13 0-15,14-13 0,-14 0 0,0-1 16,13 1-16,-12-13 0,-1 13 0,0-14 16,0 1-16,-13-1 0,0-13 15,0 14-15,0 0 0,-14-14 0,-12 0 16,12 14-16,-25-1 0,12 1 0,-13-14 16,14 14-16,-14-14 15,0 27-15,-13-14 0,14 14 0,-14-13 16,13 12-16,-13 1 0,0 0 15,0 0-15,-27 13 32,14 13-32,0 0 0</inkml:trace>
  <inkml:trace contextRef="#ctx0" brushRef="#br1" timeOffset="108351.01">7766 12515 0,'-14'13'0,"28"-26"0,-41 39 0,14-13 0,13 1 16,-13-1-16,13 0 0,-14 0 0,14 1 16,0-1-16,-13 0 0,13 0 15,0 1-15,13-1 0,-13 0 16,14-13-16,-14 13 0,13-13 0,0 0 16,0 0-16,1 0 15,-1-13-15,13 13 0,-13-13 0,1 13 16,-1-13-16,0-1 0,0 14 0,1-13 15,-1 13-15,0-13 16,0 13-16,1 0 16,-1 13-16,0-13 15,-13 13-15,13-13 0,0 0 16,1 14-16,-1-28 16,0 14-16,0 0 0,1-13 15,-1 0-15,-13 0 16,0-1-1,0 1-15,-13 13 16,13-13-16,-14 13 0,14-13 0,-13 13 16,0 0-16,0 0 0,-1 0 15,-12-14-15,52 28 63,-12-14-63,-1 0 15,0 0-15,0 0 0,1 0 16,-1 0-16,0 13 0,0-13 16,0 0-16,1 0 0,-1 13 0,0-13 15,0 13 1,-13 1-16,14-14 0,-14 13 16,13 0-16,-13 0 31,0-39 0,13 26-31,-13-13 0,0-1 0,0 1 16,13 13-16,-13-13 0,14 0 15,-14-1-15,13 14 0,-13-13 0,13 0 16,0 0-16,0 13 16,1 0-1,12 0-15,-13 0 16,-13 13-16,14-13 0,-14 13 15,13-13-15,-13 13 16,13 1-16,-13-1 16,13 0-1,-13-39 17,14 26-17,-14-14-15,0 1 0,13 0 16,-13 0-16,13 0 0,-13-1 15,13 1-15,-13 0 0,13 0 0,1-1 16,-1 1-16,0 0 0,0 13 16</inkml:trace>
  <inkml:trace contextRef="#ctx0" brushRef="#br1" timeOffset="108947.63">8520 12541 0,'0'-13'0,"13"-27"32,-13 27-32,0 0 15,13 13-15,-26 26 63,13-12-48,0-1-15,0 0 16,13 0-16,0-13 16,0-13-1,1 13-15,-1-13 0,0 0 16,0-1-16,1 1 0,-1 0 0,-13 0 16,13-14-16,0 1 0,-13-14 15,14 14-15,-1-14 0,-13 13 0,0 1 16,13 0-16,-13-1 0,0 14 15,0 0-15,0-14 0,0 14 16,0 0-16,-26 26 31,26 0-31,0 14 0,-14-14 0,14 13 16,0 1-16,0-1 0,0 1 16,0-14-16,0 13 0,14 1 0,-14-14 15,13 0-15,0 14 0,0-14 0,-13 0 16,13-13-16,1 13 0,-1-13 15,0 14-15,0-14 0,1 0 0,-1 0 16</inkml:trace>
  <inkml:trace contextRef="#ctx0" brushRef="#br1" timeOffset="109708.64">8983 12396 0,'0'-14'15,"0"1"1,-27 40 15,27-14-15,-13-13-16,13 13 0,0 0 16,-13 1-16,13-1 15,0 0 1,0 0-16,13-13 0,0-13 15,0 13 1,1 0-16,-14-13 16,13 13-16,0 0 0,0-13 15,1 13-15,-14-14 16,13 14-16,0 0 16,-13-13-16,13 13 0,0-13 0,1 0 15,-1-1-15,-13 1 0,13 0 16,-13 0-16,13 0 0,1-27 15,-1-13 1,0 27-16,-13-14 0,0 0 0,13 14 0,-13-14 16,0 14-16,0-1 0,14 14 15,-14-14-15,0 14 0,0 0 16,0 0-16,0 39 16,-14-13-1,14 14-15,0-14 0,0 14 16,0-1-16,0 0 0,0 1 0,0-1 15,14-12-15,-14 12 0,13 1 0,-13-14 16,13 0-16,-13 0 0,13 0 16,0 1-16,1-14 0,-1 0 15,0-14-15,0 14 0,1 0 16,-1-13-16,0 13 0,0-13 0,0 13 16,1-13-16,-1 13 15,0 0 1,0 0-1</inkml:trace>
  <inkml:trace contextRef="#ctx0" brushRef="#br1" timeOffset="110261.6">8969 12184 0,'-13'-13'16,"53"13"-1,-27-13-15,14 13 0,-1 0 16,0-14-16,14 1 0,0 13 16,0-13-16,-1 0 0,-12-1 0,12 14 15,-12-13-15,-1 0 0,1 13 0,-1-13 16,-13 0-16,14 13 0,-14-14 15,0 14-15,1 0 0,-1-13 0,0 13 16,-13-13-16,0 39 47,-13-12-47,13-1 0,0 0 16,-13-13-16,13 13 0,0 0 15,0 1-15,-14-1 0,14 0 0,0 0 16,0 1-16,0-1 0,14 0 0,-1 0 31,0-26-31,0 13 0,-13-13 16,13 0-16,1-1 0,-1-12 0,0-1 15,0-12-15,1 12 0,-1-12 16,0-14-16,0 13 0,-13 14 0,14-14 16,-14 13-16,13 14 0,-13 0 0,0 0 15,0 0-15,0 39 31,0 0-31,0-12 0,0 12 16,0 1-16,0-1 0,0 0 0,0 1 16,0 13-16,0-14 0,-13 1 15,13-1-15,0 0 0,0 1 0,0-1 16,0-12-16,0-1 0</inkml:trace>
  <inkml:trace contextRef="#ctx0" brushRef="#br1" timeOffset="110399.68">9948 12039 0,'-39'13'32</inkml:trace>
  <inkml:trace contextRef="#ctx0" brushRef="#br1" timeOffset="125283.76">16999 807 0,'-13'26'0,"26"67"31,1-67-31,-14-12 16,0 12-16,13 1 0,-13-1 0,13-13 16,-13 14-16,0-14 0,13 13 15,-13-12-15,0-1 0,0 0 0,0 0 16,14 1-16,-14-1 0,0 0 31</inkml:trace>
  <inkml:trace contextRef="#ctx0" brushRef="#br1" timeOffset="125544.54">16920 913 0,'0'-27'0,"0"54"0,0-67 0,0 27 0,0 0 15,13 13 1,1 0-16,-1 0 0,0 0 0,0 0 15,0 0-15,1 13 0,12-13 0,-13 13 0,1 0 16,-1 1-16,0 12 16,-13-13-16,0 0 0,13-13 0,-13 14 15,0-1-15,0 0 0,-13 0 16,13 1-16,-13-1 16,13 0-16,-13-13 0,13 13 0,-14 1 15</inkml:trace>
  <inkml:trace contextRef="#ctx0" brushRef="#br1" timeOffset="126021.51">17264 1151 0,'13'-27'0,"1"-25"31,-14 38-31,-14 1 16,14 0 0,-13 39-1,13-12 1,0-1-16,0 0 16,0 0-16,0 0 0,0 1 0,0-1 15,13-13-15,1 13 16,-1 0-16,0-13 15,0-13-15,0 13 0,1-13 16,-1 0-16,0-1 0,14 1 0,-14 0 16,-13-13-16,13 12 0,0-12 15,-13-1-15,13 1 0,-13-1 0,0 14 16,0-26-16,-13-1 0,13 13 0,0 14 16,0-13-16,-13 13 0,13-1 15,0 1-15,0 0 0,-13 39 31,13-12-31,0-1 0,0 13 16,13-13-16,-13 14 16,0-1-16,13-12 0,-13 12 0,0-13 0,13 0 15,-13 1-15,14-1 0,-14 0 16,13 0-16,-13 1 0,13-1 16,-13 0-16,13 0 0</inkml:trace>
  <inkml:trace contextRef="#ctx0" brushRef="#br1" timeOffset="126529.9">17423 1045 0,'-13'-13'0,"26"26"0,-13-39 0,0 12 16,0 1-16,13 13 15,0-13-15,0 0 0,1 13 16,-1-14-16,0 14 0,0 0 15,1 0-15,-1 0 16,0 14-16,0-14 0,1 13 16,-14 0-16,13-13 0,-13 13 15,13-13-15,-13 14 0,13-1 16,-13 0 0,13-13-16,1-13 15,-1 13 1,-13-13-16,13-1 15,0 1-15,1 0 16,-1 0 0,0 26-1,0 0 1,1 0-16,-1-13 16,0 14-16,0-14 15,0-14-15,1 14 16,-1 0-16,-13-13 0,13 0 15,-13 0-15,0-1 16,-13 1 0,0 0-1,-1 13 1,1 13 0,0-13-16,0 13 15</inkml:trace>
  <inkml:trace contextRef="#ctx0" brushRef="#br1" timeOffset="126789.07">17952 688 0,'0'0'0,"0"40"31,0-27-31,0 0 16,13 14-16,-13-14 0,0 0 0,13 13 15,-13-12-15,14-1 0,-1 0 0,-13 0 16,13 1-16,0-1 0,1 0 16,-14 0-16,13-13 0,0 13 0,0-13 15,1 0-15,-1 0 16,0 0 0,0 0-16,0 0 15,-13-13-15,14 13 0,-1-13 0,0 13 0</inkml:trace>
  <inkml:trace contextRef="#ctx0" brushRef="#br1" timeOffset="128312.43">18521 542 0,'-13'-13'0,"39"40"47,-26-14-47,13 0 0,1 14 0,-14-14 15,13 13-15,-13 1 0,13-1 16,0-13-16,-13 14 0,0-1 0,13-12 16,-13-1-16,14 13 0,-14-13 0,0 1 15,13-1-15,-13 0 0,0 0 16,0 1-1</inkml:trace>
  <inkml:trace contextRef="#ctx0" brushRef="#br1" timeOffset="128701.68">18547 529 0,'0'0'16,"-26"13"-1,26 1-15,0-1 16,-13-13-16,13 13 0,-14 14 16,14-14-16,-13 0 0,13 0 15,-13 0-15,13 1 0,-13-1 0,13 13 16,-14-12-16,14-1 15,0 0-15,0 0 0,-13-13 0,13 14 16</inkml:trace>
  <inkml:trace contextRef="#ctx0" brushRef="#br1" timeOffset="128977.69">18508 542 0,'0'0'0,"13"-13"15,0 13-15,0 0 0,1 0 16,78 13 15,-79-13-31,1 14 0,-1-14 0,0 0 16,0 13-16,0-13 0,1 0 15,-1 13-15,0-13 0,0 0 16,-13 13-16,14-13 16,-1 14-16,0-14 0</inkml:trace>
  <inkml:trace contextRef="#ctx0" brushRef="#br1" timeOffset="131249.57">19963 450 0,'0'0'0,"0"-13"0,-13 13 15,-1 13 1,1-13-16,0 13 0,0 0 16,13 14-16,-14-14 0,1 13 0,0-12 15,0 12-15,13 1 0,-13-14 0,13 13 16,0-13-16,0 1 0,0-1 15,0 0-15,0 0 0,0 1 0,13-14 16,-13 13-16,13-13 0,0 0 0,14 0 31,-14 0-31,0-13 0,0-1 0,1 14 16,-1-13-16,0 0 0,-13 0 0,13-1 16,0 1-16,1 0 15,-1 13 1,-13 13-1,13-13-15,-13 13 0,13-13 16,1 14-16,-1-14 16,-13 13-16,13-13 0,0 0 0,14 0 15,-27-13-15,13 13 16,0 0-16,0-14 0,1 1 16,-14 0-1,0 0-15,-14 0 16,1 13-16,13-14 15,-13 14-15,0 0 0,-14 14 16,14-14-16,0 13 16,0 0-1</inkml:trace>
  <inkml:trace contextRef="#ctx0" brushRef="#br1" timeOffset="131458.76">20241 529 0,'13'27'31,"-13"-14"-31,13-13 0,-13 13 16,0 0-16,0 1 0,0-1 15,0 0-15,0 0 0,0 0 16,0 1-16,-13-1 0,13 0 15,-13 0-15,13 1 0,-14-14 16</inkml:trace>
  <inkml:trace contextRef="#ctx0" brushRef="#br1" timeOffset="131654.24">20333 410 0,'13'13'31,"-13"1"-15,0-1-16,0 0 0,0 13 15,0-12-15,0-1 0,0 0 0,0 14 16,0-14-16,0 0 0,0 14 0,0-14 16,14 0-1</inkml:trace>
  <inkml:trace contextRef="#ctx0" brushRef="#br1" timeOffset="132304.81">20320 595 0,'0'0'0,"13"-13"0,0 0 0,1 13 15,-1-13-15,0-1 16,14 14-16,-14-13 0,13 13 0,-12-13 15,12 13-15,-13-13 0,14 13 16,-14-14-16,0 14 0,0 0 16,1 0-16,-1 0 15,0 0-15,-13 14 16,0-1 0,13 0-16,-13 0 15,0 1-15,14-1 16,-1-13-1,0 0-15,0-13 16,0 13 0,-13-14-16,14 14 0,-14-13 0,0 0 15,0 0-15,-14-1 16,14 1-16,-13 13 16,0 0-16,0 0 15,0 0-15,-1 0 16,1 0-16,53 0 47,-27 0-47,0 13 0,0-13 15,14 0-15,-14 14 0,0-14 0,1 13 16,-1 0-16,0 0 0,0 14 16,-13-14-16,13 14 0,-13-1 15,0-13-15,0 14 0,0-14 0,0 13 16,0-12-16,0-1 0,-13 0 15,13 0-15,0 1 0,0-1 16,-13-13-16,0-13 31,13-1-31,13 1 0,-13 0 16,0 0-16,0-14 0,13 14 0,0-14 16,-13 14-16,14-13 0,-1 13 0,0-14 15,14 14-15,-14 0 16,0-1-16,14 14 0,-14-13 0,0 13 0</inkml:trace>
  <inkml:trace contextRef="#ctx0" brushRef="#br1" timeOffset="133365.6">21246 516 0,'-13'-40'15,"13"27"1,-13 0 0,13 0-16,-14 13 15,1 13 1,13 0-16,-13 0 0,0 0 15,13 1-15,0-1 16,0 0-16,13-13 16,-13 13-16,13-13 0,0 0 15,1 0-15,-1 0 16,0-13-16,0 13 0,0-13 0,1 13 16,-14-13-16,13-1 0,0 14 15,-13-13-15,13 13 0,1-13 16,-14 0-16,13 13 0,-13-13 15,13 13-15,0 0 16,1 13-16,-1-13 16,0 13-16,0 0 15,0 0 1,1-13-16,-14 14 16,13-14-16,0-14 15,0 1 1,-13 0-16,14 0 15,-14 0 1,13-1-16,0 1 16,0 13 15,1 13-15,-1-13 15,0 0 0,0 0-31,0 0 31,1 0-15,-1 14 15,0-1 0,0-26 1,1 13-17,-14-14-15,13 14 16,0 0-16,0 0 31,1 0-15,-1 0-16,0 0 15,0 0-15,14-13 16,-14 13 0,0 0-16,0-13 0,1 13 15,-1-13-15,0 13 16,0-14 0,1 14-16,-1 0 15,0 14-15,0-1 16,0 0-1,1 0 1,-1-13 0,0 14-1</inkml:trace>
  <inkml:trace contextRef="#ctx0" brushRef="#br1" timeOffset="136258.76">21167 886 0,'-14'27'0,"28"-54"0,-28 67 0,14-27 16,-13 0-16,26-13 15,-13 14-15,14-14 16,-1 0-16,0 0 16,0 0-1,1 0-15,-14-14 0,13 14 0,0 0 0,0 0 16,0 0-16,1 0 15,-1 0 1,0 0 0,0 14 15,1-14-31,-1 0 16,13 0-16,-26-14 15,14 14-15,-1 0 16,0-13-1,-13 0-15,0 0 0,-13 13 16,13-13-16,-13-1 16,-1 14-16,14-13 15,-13 13-15,0 0 0,0 0 16,-1 0 0,28 13 15,-1 1-16,0-14 1,0 0-16,1 13 0,-1-13 16,0 0-1,0 0 1,0 0 31,1 0-47,-14-13 15,13 13 1,0-14 0,0 14-16,1 0 15,-1 0 1,0 0 15,0 0-15,1 0 15,-1 0-15,0 14 15,0-14-31,0-14 47,1 14-32,-14-13-15,13 0 16,0 0 15,0-1 16,1 28-31,-1-14 15,0 13-15,0-26 15,1 13-15,-1-14-1,0 28 16,0-14-15,0 0 0,1 0-1,-1 0 1,0 0-16,0-14 16,1 14-1,-1-13 1,0 13 15,-13-13 0,13 26 47,1 0-62,-1-13 0,0 0-1,0 0 1,0 0 0,-13-13-16,14 13 0,-14-13 15,0 0 1,-14 0-16,14-1 15,-13 14-15,0-13 16,0 13 0,13-13-1,13 13 1,-13-13 0,13 13-16,0-14 15,1 14-15,-1 0 16,0 0-1,0 0 1,1 14 0,-14-1-1,0 0-15,0 0 16,13 1 0,-13-1-1,13-13 1,0-13-1,-13-1 1,13 1 0,-13 0-16,0 0 0,0-1 15,14 1-15,-14 0 0,0 0 16,0-1-16,0 1 16,0 0-16,0 39 46,0-12-30,0-1-16,0 0 0,0 0 16,0 1-16,0-1 0,0 0 15,13 0 1,0-13-16,0 0 16,1 0-1,-1-13-15,0 13 16,0 0-1,1 13 1,-14 1 0,13-14-1,-13 13-15</inkml:trace>
  <inkml:trace contextRef="#ctx0" brushRef="#br1" timeOffset="136536.9">22291 635 0,'0'0'0</inkml:trace>
  <inkml:trace contextRef="#ctx0" brushRef="#br1" timeOffset="136744.54">22463 516 0,'-13'26'31,"13"-12"-31,0-1 0,0 0 0,13 0 16,-13 1-16,0-1 0,0 0 0,0 13 16,13-12-16,-13-1 0,14 0 15,-14 0-15,13 1 0,-13-1 0,13 0 16</inkml:trace>
  <inkml:trace contextRef="#ctx0" brushRef="#br1" timeOffset="137316.04">22437 741 0,'0'0'0,"-14"0"31,41-13-15,-14 13 0,0-14-16,1 1 15,-1 13-15,0-13 16,0 13-16,0 0 16,-13-13-16,14 13 15,-1 0 1,0 13-1,0-13 1,1 0 0,-1 0-16,0 0 15,0 0-15,1 0 16,-1 13-16,0 0 16,-13 1-1,0-1-15,0 0 0,0 14 16,0-14-16,-13 0 0,0 13 15,-1-12-15,14-1 0,-13 13 0,0-12 16,0-1-16,-1 0 0,14 0 0,-13-13 16,13 13-16,-13-13 0,26-39 31,0 26-31,1-14 16,-1 1-16,13-14 0,1 0 0,-1 14 15,1-14-15,-1 14 0,-13-1 16,14 1-16,-1-1 0,-12 14 0,-1 0 15,-13 0-15,13-1 0</inkml:trace>
  <inkml:trace contextRef="#ctx0" brushRef="#br1" timeOffset="139420.76">18283 1323 0,'39'26'0,"-25"-12"0,-1-1 15,0 0-15,0 14 0,14-1 16,-1 0-16,-13 1 0,14-1 0,-14 1 15,14-1-15,-1 1 0,1-1 0,-1-13 16,0 14-16,1-1 0,-1-12 16,1 12-16,12-13 0,-12 0 0,13 1 15,-14-1-15,27 0 0,-13-13 16,-1 0-16,14 0 0,0 0 0,0 0 16,0 0-16,0 0 0,13-13 15,-13 13-15,13-13 0,-13 13 0,0-14 16,0 1-16,0 13 0,-13-13 0,12 0 15,-12 0-15,0 13 0,0-14 16,-14 1-16,14 0 0,-14 0 0,1-1 16,-1 1-16,-13 0 0,0-13 0,14 12 15,-14-12-15,0 13 0,1-14 16,12 1-16,-13-1 0,-13 1 0,14-1 16,-1 14-16,0-27 0,-13 14 0,13 13 15,-13-14-15,0 14 0,13 0 0,-13 0 16,0-1-16,0 1 0,14 0 15,-14 0-15,0-1 0,0 1 16,0 0-16,13 13 16,-13-13-16,0-1 31</inkml:trace>
  <inkml:trace contextRef="#ctx0" brushRef="#br1" timeOffset="139841.76">20002 1111 0,'14'-13'0,"25"-13"16,-25 26-16,-1 0 16,0 0-16,0 0 15,1 0-15,-1 0 0,0 13 0,0-13 16,-13 13-16,13-13 0,1 13 0,-14 0 16,13-13-16,0 14 0,-13-1 15,13 0-15,-13 0 0,14 1 16,-14-1-16,13 0 0,-13 0 15,0 1-15,0-1 16</inkml:trace>
  <inkml:trace contextRef="#ctx0" brushRef="#br1" timeOffset="140447.94">18217 1349 0,'0'40'16,"0"-27"-16,0 1 16,0-1-16,0 0 0,0 0 0,0 0 15,0 14-15,-14-14 0,14 0 16,0 1-16,0-1 0,0 0 15,0 0 1</inkml:trace>
  <inkml:trace contextRef="#ctx0" brushRef="#br1" timeOffset="140657.81">18217 1270 0,'0'-13'0,"13"13"15,0 0-15,0 13 16,0-13-16,1 0 0,-1 13 0,0-13 16,14 13-16,-14-13 0,0 14 0,0-14 15,1 13-15,-1-13 0,13 13 16,-13-13-16,1 0 0,-1 13 0,0-13 16,0 0-16,-13 14 0,14-14 15,-1 0-15</inkml:trace>
  <inkml:trace contextRef="#ctx0" brushRef="#br1" timeOffset="190502.75">16695 1217 0,'-53'0'16,"106"0"-16,-119 0 0,40 0 0,12 0 0,-12 0 16,13 0-16,-14 13 0,1-13 15,-1 0-15,1 0 0,-14 14 16,14-14-16,-1 0 0,1 13 0,-1-13 0,-12 0 16,25 13-16,-12-13 0,-1 0 15,-12 0-15,26 13 0,-14-13 16,1 0-16,12 0 15,1 13-15,0-13 0,-13 0 0,12 0 16,1 0-16,0 0 16,0 0-16,-1 0 0,1 14 15</inkml:trace>
  <inkml:trace contextRef="#ctx0" brushRef="#br1" timeOffset="190893.65">16021 1138 0,'-27'0'0,"54"0"0,-67 0 0,27 13 0,-1-13 16,1 13-16,-13 0 15,12 1-15,1-1 0,0 0 16,0 0-16,0 1 0,-1 25 16,1-26-16,13 1 0,0-1 15,-13 0-15,13 0 0,0 14 16,13-14-16,-13 0 0,13 1 15,-13-1-15,14 0 0,-1-13 0,0 13 16,0-13-16,0 13 0,1-13 16,-1 14-16,0-14 0,0 0 0,14 0 15,-14 0-15,0 0 16,1 0-16,-1 0 0,0 0 16</inkml:trace>
  <inkml:trace contextRef="#ctx0" brushRef="#br1" timeOffset="192812.89">13600 1072 0,'-14'-14'15,"1"41"1,13-1 0,0 1-16,13-1 0,-13 14 15,14 0-15,-14-14 0,13 14 0,0-1 16,-13-12-16,13-1 0,-13-12 15,13 12-15,-13 0 0,14-12 0,-14 12 16,13-13-16,-13 1 0,0-1 0,13 0 16,-13 0-16,0 1 15,-13-14-15,13 13 0,-13 0 16,-1-13-16,1 0 0,0 0 16,0 0-16,0 0 0,-14 0 15,14-13-15,0 13 0,-1 0 0,1-13 16,0-1-16,0 14 15,13-13-15,-13 13 0,26-26 16,-13 12 0,13 1-16,0 0 0,14 0 0,-14-1 15,0-12-15,14 13 0,-1-14 0,0 14 16,-12 0-16,-1 0 0,0-14 0,14 1 16,-14 12-16,-13 1 15,13 0-15,-13 0 16,-13 26 15,0 0-31,13 0 16,-14-13-16,14 14 0,0-1 15,0 0-15,0 0 16,0 1-16,0-1 0,14-13 16,-1 0-16,0 0 15,0-13-15,1 13 16,-1-14-16,-13 1 0,13 0 15,0 0-15,-13-1 0,13 14 16,-13-13-16,14 13 16,-14 13-1,13 1 1,-13-1-16,0 0 0,13-13 16,-13 13-16,13 1 0,1-14 15,-1 13-15,0-13 16,0 0-16,1 0 0,-1-13 15,0 13-15,0 0 0,0-14 16,1 1-16,-14 0 0,13 13 16,-13-13-16,13-1 0,-13 1 15,0 40 17,0-14-17,0 0-15,0 0 16,0 1-16,0-1 15</inkml:trace>
  <inkml:trace contextRef="#ctx0" brushRef="#br1" timeOffset="192943.79">13983 1138 0</inkml:trace>
  <inkml:trace contextRef="#ctx0" brushRef="#br1" timeOffset="193216.6">14168 1191 0,'0'13'0,"0"0"0,0 0 16,-13 40 0,13-40-1,0 1 1,13-28 15,1 1-15,-1 0-16,-13 0 0,13 0 15,0 13-15,-13-14 0,14 14 16,-1-13-16,0 13 16,-13-13-16</inkml:trace>
  <inkml:trace contextRef="#ctx0" brushRef="#br1" timeOffset="193992.59">14684 966 0,'-39'26'15,"39"-13"-15,-14 1 16,14-1-16,0 0 15,0 0-15,0 1 0,14-14 16,-14 13-16,13-13 16,0 0-16,14 0 0,-14 0 15,-13-13-15,13 13 16,0-14-16,1 1 0,-14 0 16,13 0-1,-26-1-15,-1 14 31,1 0-15,13 14-16,13-14 31,14 0-15,-14 0-16,0-14 16,0 14-16,1 0 0,-14-13 0,13 13 15,0-13-15,0 13 0,1-13 16,-14-1-16,13 14 0,-13-13 0,13 0 15,-13 0-15,13 0 0,-13-14 0,0 14 16,0-14-16,0 14 0,0-13 16,13 13-16,-13-14 0,0 14 0,0 0 15,0-1-15,0 1 0,-13 0 16,13 0-16,13 39 31,-13-13-31,0 14 0,14-1 16,-14 1-16,13-1 0,-13 14 15,13 0-15,-13-1 0,0 27 16,0-26-16,0 53 16,0-54-16,-13 1 0,0-13 0,13 12 15,-14-26-15,14 14 0,0-14 0,-13 0 16,13 1-16,0-1 0,-13-13 0,13 13 16,0-39-1,0-1-15,13-13 16,0 14-16,14-14 0,-14 1 0,27-28 15,-27 41-15,0 13 16,1-14-16,-1 27 0,0-13 16,0 0-16,-26 39 31</inkml:trace>
  <inkml:trace contextRef="#ctx0" brushRef="#br1" timeOffset="194352.59">13930 1733 0,'0'0'0,"0"13"16,0 0 0,0 1-16,0-1 0,0 0 0,0 0 15,14 1-15,-14-1 0,0 13 16,0-12-16,0-1 0,13 0 15,-13 0-15,0 0 0,0 1 16,13-1-16,-13 0 0,13-13 31</inkml:trace>
  <inkml:trace contextRef="#ctx0" brushRef="#br1" timeOffset="194776.37">13957 1746 0,'0'-13'16,"13"-13"-1,13 12 1,-12 14-16,-1 14 16,0-14-16,-13 13 15,0 0-15,13-13 0,-13 13 16,0 0-16,0 1 0,0-1 16,0 0-16,0 0 15,0 1-15,14-14 16,-14 13-16,13 0 0,0 0 15,-13 1-15,13-14 16,-13 13-16,0 0 16,0 13-16,0-12 15,-13-1-15,0-13 16,0 13 0</inkml:trace>
  <inkml:trace contextRef="#ctx0" brushRef="#br1" timeOffset="195040.66">14168 1746 0,'14'-13'16,"-14"39"0,0-12-1,13-1-15,0-13 31,0 0-15,1-13-16,-14-1 16,0 1-16,13 0 0,-13 0 15,0 0 1,0-1 0,13 1-16,0 13 15,-13-13 1</inkml:trace>
  <inkml:trace contextRef="#ctx0" brushRef="#br1" timeOffset="195250.68">14340 1654 0,'14'0'16,"-14"13"-16,13-13 15,-13 13-15,13-13 0,-13 13 16,0 1-16,13-1 15,-13 0 1,0 0-16,-13-13 0,13 13 16,-13 1-16,0-1 15</inkml:trace>
  <inkml:trace contextRef="#ctx0" brushRef="#br1" timeOffset="195676.84">14658 1389 0,'13'27'15,"0"-1"1,-13-13-16,0 14 0,0-14 16,14 13-16,-14-12 0,0 12 15,13-13-15,-13 14 0,0-1 0,13-13 16,-13 1-16,0-1 0,13 13 0</inkml:trace>
  <inkml:trace contextRef="#ctx0" brushRef="#br1" timeOffset="195964.43">14605 1654 0,'26'-27'0,"41"-26"32,-54 40-32,0 0 15,0 13-15,1 0 0,-1-13 16,0 13-16,0 0 16,0 0-16,-13 13 0,14-13 15,-14 13-15,13-13 0,-13 13 0,13 1 16,-13-1-16,13-13 0,-13 13 15,0 0-15,0 0 0,14 1 0,-14-1 16,0 0-16</inkml:trace>
  <inkml:trace contextRef="#ctx0" brushRef="#br1" timeOffset="196108.84">14843 1468 0,'0'0'0,"0"14"16,0-1-1</inkml:trace>
  <inkml:trace contextRef="#ctx0" brushRef="#br1" timeOffset="196992.47">14949 1508 0,'0'27'0,"-13"-27"0,13 13 15,0 27 1,0-27 0,0 0-16,0 0 0,13-13 0,-13 13 15,13-13-15,0 14 0,1-14 16,-1 0-16,0 0 0,0 0 15,1 0-15,-1 0 16,0-14-16,0 1 16,0 13-16,-13-13 0,0 0 0,14 13 15,-14-13-15,0-1 0,0-12 16,0 13-16,0-1 0,0-12 0,0 13 16,0-14-16,0 1 0,0 13 0,-14-1 15,14-12-15,0 13 0,0-1 16,0 1-16,-13 13 15,13-13-15,-13 13 0,0 13 32,26 0-17,0-13 1,0 14-16,1-14 16,-1 13-16,0-13 0,-13 13 15,13-13-15,1 13 16,-14 1-16,0-1 15,0 0-15,-14 0 0,14 0 16,-13 1-16,13-1 16,-13-13-16,13 13 0,0 0 15,0 1-15,0-1 16,13-13 0,14 0-16,-14 0 15,0 0-15,0-13 16,1 13-16,-1-14 0,0 14 0,0-13 15,0 0-15,1 13 16,-14-13-16,13-1 0,0 1 16,0 13-16,-13-13 15,0 39 32,0-12-31,14-14-1,-1 0 1,0-14-16,0 1 16,1 0-16,-14 0 0,13 0 15,-13-1-15,13-12 0,-13 13 0,13-14 16,-13 14-16,0-14 0,0 14 16,0 0-16,0 0 0,13 0 0,-13-1 0,0 1 15,-13 40 16,13-14-31,0 0 0,0 0 16,0 0-16,0 1 0,0-1 0,0 0 16,0 14-16,0-14 15,0 0-15,0 0 0,0 1 0</inkml:trace>
  <inkml:trace contextRef="#ctx0" brushRef="#br1" timeOffset="197114.39">15333 1376 0,'53'-53'0</inkml:trace>
  <inkml:trace contextRef="#ctx0" brushRef="#br1" timeOffset="197992.52">15015 1839 0,'0'13'0,"0"0"16,13 14-16,93 105 31,-79-119-31,-1 14 0,14-1 16,-1-13-16,14 14 0,-13-14 0,13 0 15,13-13-15,0 14 0,0-1 0,14-13 16,-14 0-16,13 0 0,1 0 16,-1-13-16,-13 13 0,14-14 0,12 1 15,-26 0-15,14 13 0,-1-13 0,-13-1 16,0-12-16,1 13 0,-1-14 15,-13 14-15,0-13 0,-1-1 0,1 1 16,-13-1-16,0-12 0,-1 12 16,-12 1-16,-1-14 0,1 13 15,-1 1-15,-13 0 0,27-41 16,-13 28-16,-14 12 0,13-12 16,-26 25-16,14-12 0,-14 13 0,13-1 15,-13 1-15,0 0 0,13 0 16,-13 0-16,0-1 0,0 1 15,0 0-15,13 13 0,-13-13 16,-13 13 0,-13 0-1</inkml:trace>
  <inkml:trace contextRef="#ctx0" brushRef="#br1" timeOffset="198288.55">17132 1323 0,'13'-13'0,"27"-1"31,-27 14-31,0 0 0,0 14 15,1-14-15,-1 0 0,0 13 0,0 0 16,1-13-16,-14 13 0,13 1 0,0-1 16,0 0-16,-13 0 0,13 1 15,-13-1-15,14 0 0,-14 0 0,0 0 16,0 1-16,0-1 0,0 0 16,0 0-1,-14 1-15,1-1 0</inkml:trace>
  <inkml:trace contextRef="#ctx0" brushRef="#br1" timeOffset="199088.56">14936 1799 0,'-27'27'0,"54"-54"0,-67 54 0,27-14 16,13 0-16,-13 0 0,13 1 0,-14-1 16,1 13-16,0-13 0,13 1 0,-13-1 15,13 0-15,-14 0 0,14 1 16,0-1-16,0 0 0,0 0 15,14 1-15,-1-14 0,-13 13 0,26-13 16,-12 13-16,12-13 0,0 0 16</inkml:trace>
  <inkml:trace contextRef="#ctx0" brushRef="#br1" timeOffset="200613.67">16298 2249 0,'-26'0'0,"13"0"16,13 13-16,-14-13 0,14 13 0,-13 1 15,0-1-15,13 0 0,0 0 16,-13-13-16,13 14 0,0-1 16,13 0-16,-13 0 15,13-13-15,0 0 0,1 0 16,-1 0-16,0-13 15,0 13-15,1 0 0,-1-13 16,0 13-16,0 0 16,0-13-16,1 26 31,-1 0-31,0 0 16,0 0-1,1 1-15,-1-14 16,0 0-16,0 0 15,1 0-15,-1 0 0,0 0 16,0 0-16,-13-14 0,13 14 16,-13-13-16,0 0 15,0 0-15,0 0 0,-13 13 16,13-14-16,-13 14 0,13-13 16,-13 13-16,0-13 15,-1 0 1,28 13-1,-1 0 1,0 0-16,0 0 0,0 0 16,1 0-16,-1 0 0,0 13 0,0-13 15,1 0-15,-14 13 0,13-13 16,0 13-16,0 1 0,1-1 16,-1 0-1,-13 0 1,0 0-1,0-39 17,0 13-17,0 0-15,13 13 0,-13-14 0,0 1 16,13 0-16,-13 0 16,13 13-16,1-14 15,-1 14-15,0 14 16,0-1-1,-13 0 1,14 0-16,-14 1 16,0-1-16,13 0 31,-13-39 0,0 12-31,0 1 16,13 0-16,-13 0 15,0-1-15,13 14 0,-13-13 0,14 0 16,-1 13 0,0 0-1</inkml:trace>
  <inkml:trace contextRef="#ctx0" brushRef="#br1" timeOffset="201904.44">16947 2289 0,'0'0'0,"-14"-14"16,1 41 30,13-14-30,0 0-16,13 1 16,1-14-1,12-14 1,-13 1-16,0 13 16,1-13-16,-1 0 0,0-1 15,-13 1-15,0 0 0,13-14 16,-13 14-16,0 0 0,0-13 0,0 12 15,0-12-15,0 13 0,0-1 0,0 1 16,0 0-16,-13 0 0,13 0 16,0-1-16,-26 28 31,26-1-31,0 0 0,-14 0 16,14 0-16,0 1 0,0-1 15,0 0-15,0 0 0,0 1 0,14-1 16,-14 0-16,13 0 0,0-13 15,-13 13-15,13-13 0,1 0 16,-1 0-16,0 0 16,0 0-16,1 0 0,-14-13 15,13 13-15,0 0 16,0-13-16,-26 39 78,26-26-62,0 0-1,1 0 1,-1-13-16,0 13 0,0-13 16,-13 0-16,14 13 0,-1-13 15,-13-1-15,0 1 0,13 0 0,-13 0 16,13-1-16,-13-12 0,0 13 15,14 0-15,-14-1 0,0 1 16,0 0-16,0 0 0,0 39 47,0-13-47,0 1 0,13-1 16,-13 0-16,0 13 0,0-12 0,13-1 15,-13 0-15,13 0 0,-13 1 16,13-1-1,1 0-15,-14 0 0,13-13 16,-26-13 31,-1 0-47,1 0 47,26 13-47,1-14 15,-1 1-15,0 13 16,0-13-16,1 0 16,-1 13-16,0-14 15,0 14-15,-13-13 0,13 13 16,1 13 0,-14 1-1,-14-1 1,14 0-16,0 0 15,14 1 1,-1-28 0,0 1-1,0 0-15,1 0 16,-14-1-16,13-12 16,0 0-16,-13-1 0,13 14 0,-13 0 15,0-1-15,0 1 0,14 0 16,-28 39 15,14-12-15,0-1-16,0 0 0,0 0 15,-13 14-15,13-14 16,0 13-16,0-12 0,0-1 16,0 0-16,0 0 0</inkml:trace>
  <inkml:trace contextRef="#ctx0" brushRef="#br1" timeOffset="202064.3">17793 2090 0,'0'-13'0,"0"0"31</inkml:trace>
  <inkml:trace contextRef="#ctx0" brushRef="#br1" timeOffset="203916.9">16801 2461 0,'13'-14'0,"146"-25"15,-119 25-15,13 1 16,-14 0-16,14 13 0,0-13 15,-13 0-15,13 13 0,-14-14 16,-12 14-16,-1-13 0,1 13 0,-1 0 16,-13-13-16,14 13 0,-14 0 15,0 0-15,1-13 0,-1 13 16,-13-14 0,-13 14-1,-1 0 1</inkml:trace>
  <inkml:trace contextRef="#ctx0" brushRef="#br1" timeOffset="204459.62">16444 2103 0,'-13'-26'15,"-1"13"-15,14 0 16,-13-1 0,13 1-16,-13 0 0,13 0 15,-13-1-15,13 1 0,0 0 16,-14 13-1,14-13-15,0-1 16,-13 1 0</inkml:trace>
  <inkml:trace contextRef="#ctx0" brushRef="#br1" timeOffset="204621.6">16351 1905 0,'0'40'16,"-13"-40"-16,13 13 15,0 0-15,-13-13 0,13 13 16,-13 1-16,-1-1 0,14 0 16,-13 0-16,13 1 15,-13-14-15</inkml:trace>
  <inkml:trace contextRef="#ctx0" brushRef="#br1" timeOffset="204776.39">16351 1931 0,'13'0'0,"1"0"15,-1 14-15,0-14 16,0 0-16,1 13 0,-1-13 16,0 0-16,14 0 0,-14 0 0,0 0 15</inkml:trace>
  <inkml:trace contextRef="#ctx0" brushRef="#br1" timeOffset="206303.41">19632 1733 0,'0'13'32,"0"0"30,0-39 32,0 13-94,-13 0 0,13-1 15,0 1-15,0 0 0,-13 0 16,13-1-16,0 1 0,0 0 16,-14 13-16,14-13 0,0 0 0,0-1 15,-13 1 1,13 0 0</inkml:trace>
  <inkml:trace contextRef="#ctx0" brushRef="#br1" timeOffset="206479.79">19645 1548 0,'-39'13'15,"25"0"-15,1 1 0,0-14 16,0 13-16,-1 0 0,14 0 0,-13 0 16,0 1-16,0-14 0,0 13 0,-1 0 15</inkml:trace>
  <inkml:trace contextRef="#ctx0" brushRef="#br1" timeOffset="206656.47">19473 1588 0,'14'0'0,"25"0"31,-26 0-31,1 0 0,-1 0 16,0 0-16,0 0 0,1 0 15,-1 0-15,0 0 0</inkml:trace>
  <inkml:trace contextRef="#ctx0" brushRef="#br1" timeOffset="212112.37">17396 1257 0,'0'0'15,"14"-13"1,-1 13-16,0-14 0,13 1 15,-12 13-15,12-13 0,1 13 0,-1-13 16,1-1-16,-1 14 0,0-13 16,-12 13-16,12 0 0,-13 0 0,1 0 15,-1 0-15</inkml:trace>
  <inkml:trace contextRef="#ctx0" brushRef="#br1" timeOffset="212260.48">17555 1310 0,'-13'0'0,"13"13"16,26-26 0,-12-1-1,12 1-15,-13 13 0,14-13 0,-14 0 16,27-14-16,-27 14 0,13 0 16</inkml:trace>
  <inkml:trace contextRef="#ctx0" brushRef="#br1" timeOffset="213664.42">17026 529 0,'13'0'31,"0"-13"-15,1 0-16,-14-1 0,13 1 15,-13 0-15,0 0 0,0 0 0,13-1 16,-13-12-16,0-1 15,-13 1-15,13 13 0,0-14 0,-13 1 16,13 13-16,-14-14 0,14 14 0,-13 0 16,13-1-16,-13 1 0,13 0 15,-13 13-15,-1 13 16,14 0-16,0 1 0,-13-1 16,13 13-16,0-12 0,0 12 15,0 14-15,13-14 0,-13 1 0,0 12 16,14 1-16,-14-14 0,0 1 0,13-1 15,-13 1-15,13-1 0,-13-12 16,0 12-16,13-13 0,-13 0 16,0 1-16,0-1 0,0 0 15,0 0-15,-13 1 16,0-14 0,0 0-16,-1 0 15,1-14-15,0 14 16,0-13-1,13 0 1,13 0-16,-13-1 16,13 14-16,0-13 0,-13 0 15,14 0-15,-1 0 0,0-1 16,0 14-16,1-13 0,-1 0 0,0 0 16,0-1-16,1 1 0,-14 0 0,13 13 15,-13-13-15,13 13 0,-13-14 16,13 1-16,-13 26 47,13 1-32,-13-1 1,14 0 0,-1-13-16,0 0 0,0-13 15,1 13-15,-1 0 16,0-13-16,-13-1 15,13 14-15,-13-13 16,14 13-16,-14-13 0,0 0 16,13 0-1,0 26 17,0 0-32,0-13 15,1 0 1,-1 0-16,0 0 15,-13-13-15,13 13 0,1-13 16,-1-1 0,-13 1-16,13 0 15,-13 0-15,-13-1 16,13 41 31,0-14-32,0 0-15,13-13 16,-13 14-16,13-14 0,0 0 0,1 0 16,-1 0-16,-13-14 0,13 14 15,0 0-15,1-13 0,-1 0 16,0 13-16,-13-13 0,13-14 16,1 14-16,-14 0 0,0-14 0,0 1 15,0 13-15,0-14 0,0 14 16,0 0-16,0-1 0,0 1 0,-14 0 15,14 0-15,-13 26 32,13 0-32,0 0 0,0 1 15,13-1-15,-13 0 0,0 0 0,14 1 16,-1-1-16,0 0 0,0 0 16,0 1-16,1-1 0,-1-13 15,0 13-15,0 0 0</inkml:trace>
  <inkml:trace contextRef="#ctx0" brushRef="#br1" timeOffset="213948.52">17277 714 0,'53'-39'31,"-40"25"-31,14 1 0,-1 0 16,1-13-16,-1 12 0,1 1 15,-14 0-15,27 0 0,-14-1 0,-13 14 16</inkml:trace>
  <inkml:trace contextRef="#ctx0" brushRef="#br1" timeOffset="214144.36">17357 701 0,'26'-13'32,"-13"13"-32,1-13 0,-1 13 15,13-14-15,1 1 0,-14 0 0,13 13 16,1-13-16,-1 0 0,-12 13 16,12-14-16,0 14 0</inkml:trace>
  <inkml:trace contextRef="#ctx0" brushRef="#br0" timeOffset="-137377.55">476 11404 0,'-13'13'0,"13"0"16,0 0-16,0 0 0,0 14 0,-13-1 16,13 1-16,0-1 0,0 27 15,0-26-15,0-1 16,0-13-16,0 14 0,0-14 0,0 14 16,-13-14-16,13 0 0,0 0 0,0 0 15,0 1-15,0-1 16,0-40 15,0 14-31,0 0 16,0 0-16,13 0 0,-13-1 0,0 1 15,13 0-15,-13 0 0,13 13 0,0-14 16,1 14-16,-1-13 16,0 26-16,0-13 15,1 0-15,-14 14 0,13-1 0,0 0 16,-13 0-16,13 1 15,-13-1-15,0 0 16,14 0-16,-14 0 0,13 1 16</inkml:trace>
  <inkml:trace contextRef="#ctx0" brushRef="#br0" timeOffset="-136762.56">767 11734 0,'0'-39'0,"0"25"15,0 1-15,0 0 16,0 0-16,0-1 15,-13 14-15,0 14 32,13-1-32,0 0 15,0 0 1,0 1-16,0-1 0,0 0 16,0 0-16,13 1 0,-13-1 15,13-13-15,-13 13 16,14-13-16,-1 0 15,0 13-15,0-13 0,14-13 16,-14 13 0,0 0-16,-13-13 0,13 13 15,1-13-15,-1-1 0,0 14 16,-13-13-16,13 13 0,-13-13 16,13 13-16,-13-13 0,14-1 15,-14 1 1,0 0-16,13 0 15,-13-1 1,0 1 0,0 40 31,0-14-47,0 0 0,0 0 15,0 1-15,13-1 0,-13 0 16,0 0-16,0 1 0,0 12 15,13-26-15,-13 13 0,0 0 0,0 1 16</inkml:trace>
  <inkml:trace contextRef="#ctx0" brushRef="#br0" timeOffset="-136613.95">1019 11496 0,'-14'0'0,"1"13"16,13 1-16</inkml:trace>
  <inkml:trace contextRef="#ctx0" brushRef="#br0" timeOffset="-135925.6">1138 11642 0,'13'-14'0,"-40"28"46,14-1-46,13 0 16,-13 0 0,13 1-1,13-14 17,0 0-32,-13 13 0,27-13 15,-27 13-15,13-13 16,-13 13-16,13-13 0,-13 14 15,14-14-15,-14 13 0,0 0 0,0 0 16,0 0-16,0 1 0,0-1 0,-14 0 16,14 0-16,0 1 0,-13-14 15,13 13-15,-13 0 16,39-26 31,-26 0-47,14 13 0,-14-14 0,13 1 15,0 0-15,-13 0 0,13-1 0,1 1 16,-14-13-16,13 13 0,0-14 16,-13 1-16,0 12 0,13-12 0,-13 13 15,0-1-15,0-12 0,0 13 16,0 0-16,0-1 0,0 1 16,0 0-1,0 39 16,0-12-31,0-1 16,0 13 0,0-13-16,0 1 15,13-1-15,-13 0 16,14 0 0,-14 1-16,13-1 15,0-13 1,-13 13-16,13-13 15</inkml:trace>
  <inkml:trace contextRef="#ctx0" brushRef="#br0" timeOffset="-135442.51">1601 11404 0,'0'-14'16,"13"41"-1,-13-14-15,0 0 16,0 0-16,13 1 0,-13-1 0,0 0 16,0 0-16,0 1 0,0-1 0,0 0 15,0 0-15,0 1 0,13-1 16,-13 0-16,0 0 0,0 0 16</inkml:trace>
  <inkml:trace contextRef="#ctx0" brushRef="#br0" timeOffset="-135165.78">1614 11417 0,'0'0'0,"-13"-13"16,0 26-1,-1 0 1,1 0 0,13 0-16,-13 1 0,0-1 15,13 0-15,0 0 0,-14 1 0,14-1 16,-13 0-16,0 0 15,13 1-15,0-1 0,-13-13 16</inkml:trace>
  <inkml:trace contextRef="#ctx0" brushRef="#br0" timeOffset="-134932.62">1561 11377 0,'13'0'16,"1"13"-1,-1-13-15,40 40 32,-40-27-32,0-13 15,-13 13-15,13-13 0,-13 14 16,14-14-16,-14 13 0</inkml:trace>
  <inkml:trace contextRef="#ctx0" brushRef="#br0" timeOffset="-134118.12">2712 11404 0,'-13'26'31,"13"-13"-15,13 0-16,-13 1 15,0-1-15,13-13 16,-13 13-16,13-13 16,1 0-16,-1 0 15,0-13-15,0 0 16,1 13 0,-14-14-16,0 1 0,13 13 15,0 0 16,0 13-31,-13 1 16,14-14-16,-1 13 0,0 0 31,0-13-31,0-13 16,-13 0 0,14-1-16,-14 1 15,0 0-15,-14 0 16,14 0-16,0-1 0,0 1 0,0 0 15,0 0-15,-13-1 16,26 28 31,1-14-47</inkml:trace>
  <inkml:trace contextRef="#ctx0" brushRef="#br0" timeOffset="-133681.49">3082 11430 0,'0'0'0,"0"-13"15,14-14 1,-14 14 0,0 0-16,-14 26 46,1-13-46,13 13 16,0 1-16,0-1 16,0 0-16,13-13 0,-13 13 15,14-13-15,-1 13 16,0-13-16,0-13 16,1 13-16,-1 0 0,0-13 15,0 0-15,0 0 16,1-1-16,-1 1 0,-13 0 15,13 13-15,-13-13 0,13 13 0,-13-14 16,14 28 15,-1-14-31,-13 13 0,0 0 16,0 0 0,0 1-16,0-1 15,13-13-15,-13 13 16</inkml:trace>
  <inkml:trace contextRef="#ctx0" brushRef="#br0" timeOffset="-132632.15">3492 11271 0,'-52'13'32,"52"1"-32,-14-14 0,1 13 15,0 0 1,26 0-1,0-13-15,1 14 16,-1-14 0,0 13-16,0 0 0,0-13 15,-13 13-15,14-13 0,-14 14 16,13-1-16,-13 0 16,-13 0-16,13 0 15,-14 1-15,1-1 0,0-13 16,13 13-1,-13-13-15,13-13 32,13-14-17,0 14-15,0 0 16,-13 0-16,14 0 0,-1 13 0,-13-14 16,13 1-16,-13 0 0,13 0 0,-13-1 15,14 1-15,-14 0 0,0 0 16,13-1-16,-13 1 0,0 0 15,13 0-15,-13 0 16,0-1 0,0 41 15,0-14-31,0 0 16,0 0-16,0 1 0,0-1 15,0 0 1,13 0-1,1-13 1,-1 0 15,0 14-31,0-14 16,0 0 15,1-14-15,-1 1-1,0 0 1,-13 0-16,0-1 0,0 1 16,13 13-16,-13-13 0,0 0 15,0 0 1,0-1 0,14 41 15,-14-14-31,0 0 0,0 0 15,0 1-15,0-1 16,13 0-16,-13 0 16</inkml:trace>
  <inkml:trace contextRef="#ctx0" brushRef="#br0" timeOffset="-132496.46">3731 11271 0,'26'-13'15,"27"-13"1</inkml:trace>
  <inkml:trace contextRef="#ctx0" brushRef="#br0" timeOffset="-132194.28">4088 11086 0,'0'13'16,"0"14"-1,0-14-15,0 0 16,0 0-16,0 1 0,0-1 16,0 0-16,0 0 15,0 1-15,0-1 16</inkml:trace>
  <inkml:trace contextRef="#ctx0" brushRef="#br0" timeOffset="-131926.5">4128 11099 0,'-40'13'15,"27"1"-15,-1-1 16,1 0-16,0 0 16,13 1-16,-13-14 0,-1 13 0,14 0 15,-13-13-15,13 13 0,-13-13 16</inkml:trace>
  <inkml:trace contextRef="#ctx0" brushRef="#br0" timeOffset="-131784.55">4128 11046 0,'0'0'0,"13"14"16,0-1-1,-13 0 1,13-13-16,-13 13 0,13 0 15,1-13 1,-14 14-16</inkml:trace>
  <inkml:trace contextRef="#ctx0" brushRef="#br0" timeOffset="-129217.68">1839 12078 0,'-27'0'16,"14"13"-16,13 1 15,-13-1-15,13 0 16,-13 14-16,13-14 0,-14 0 0,14 0 16,0 1-16,0-1 0,0 0 15,0 0-15,0 0 0,0 1 0,0-1 16,14-13-16,-1 0 15,0 0-15,0 0 16,-13-13-16,14 13 0,-1-14 0,0 14 16,0-13-16,-13 0 0,14 0 0,-1 0 15,0-1-15,-13 1 16,13 13-16,-13-13 0,13 13 16,1 13 15,-14 0-31,13-13 15,-13 14-15,13-1 0,0 0 16,1-13 0,-1 13-16,13-26 15,-12 13 1,-1-13-16,0 13 16,-13-13-16,13 13 0,-13-14 15,0 1-15,0 0 16,0 0-16,-13-1 0,0 1 15,0 0 1,13 0-16,-14 13 0,14-14 0,-13 14 16,0 0-16,13-13 0,-13 13 15,-1 0 1,1 13 0,13 1 30,13-1-14,1-13-1,-14 13-15,26-26-1,-13 13 1,1-13-1,-1 13 1,0 0-16,0 0 0,0 0 16,1 0-16,-1 0 15,0 0-15,0 0 0,-13 13 16,14-13-16,-1 13 0,0-13 0,-13 13 16,13-13-16,-13 14 0,13-1 15,-13 0 1,14-13-16,-14 13 15,0-26 32,0 0-47,0 0 16,0-1-16,0 1 0,13 13 16,-13-13-16,0 0 0,0-1 0,13 14 15,-13-13-15,13 0 16,1 13-16,-1 0 15,0 0-15,0 13 16,1-13-16,-1 0 16,-13 13-16,13-13 0,0 14 0,0-14 15,-13 13-15,14-13 0,-14 13 0,13-13 16,-13 13-16,13 1 16,0-14-1,-13-14 16,0 1-31,0 0 16,0 0-16,0-1 0,0 1 16,0 0-16,14 0 0,-14 0 15,0-1-15,13 14 0,-13-13 16,13 0-16,0 0 0,1 13 16,-1 0-16,0 0 0</inkml:trace>
  <inkml:trace contextRef="#ctx0" brushRef="#br0" timeOffset="-127638.71">2659 12158 0,'0'13'0,"13"-40"32,-13 14-17,0 0-15,0 0 16,0-1-16,14 1 16,-28-13-16,14 13 15,0-1 1,-13 28 15,13-1-31,-13 0 16,13 0-16,13 0 15,-13 1-15,13-1 16,1-13 0,-14 13-16,13-13 0,0 0 15,0 0-15,-13-13 0,13 13 16,1-13-16,-1 13 0,-13-14 0,13 14 15,0-13-15,-13 0 0,14 0 16,-1-14-16,-13 14 0,0-13 16,0 12-16,0-12 0,13 13 0,-13-14 15,0 14-15,0 0 0,0 0 16,0-1-16,0 1 0,0 0 16,0 39 15,-13-12-16,13-1-15,0 0 0,0 0 0,13 14 16,-13-14-16,0 0 0,0 0 0,0 1 16,13-1-16,-13 0 0,0 0 15,14-13-15,-14 14 0,13-14 0,-13 13 16,13-13-16,0 0 0,0 0 16,1 0-16,-1 0 15,0 0-15,-13-13 0,27 13 16,-27-14-16,13 14 0,0-13 15,-13 0 1,13 13-16,-13-13 16,0-1-1,-13 28 32,13-1-47,0 0 16,-13-13-16,13 13 15,13 1-15,0-14 32,0 0-17,1-14 1,-1 1 0,0 0-1,-13 0 1,13 26 15,-13 0-15,0 0-1,14-13-15,-14 14 16,13-14-16,0 0 16,0-14-16,1 14 15,-1-13-15,-13 0 16,13 13-16,-13-13 0,0-1 15,13 1-15,-13 0 0,0 0 16,13-1-16,-13 1 0,0-13 0,0 13 16,0-1-16,0 1 0,14 13 0,-14-13 15,0 0-15,0-1 16,13 41 15,-13-14-15,13 0-16,-13 1 0,0-1 0,13-13 15,-13 13-15,0 0 0,14 0 0,-14 1 16,0-1-16,13-13 0,-13 13 16,13 0-16,-13 1 15,0-1 1,0 0-16,-26-39 47,39 12-16,-13 1-31,13 0 16,0 0-1,1 13 1,-1-14-16,0 14 16,0 0-1,0 14 1,1-1-16,-1 0 15,-13 0 1,0 1-16</inkml:trace>
  <inkml:trace contextRef="#ctx0" brushRef="#br0" timeOffset="-127520.61">3373 11800 0</inkml:trace>
  <inkml:trace contextRef="#ctx0" brushRef="#br0" timeOffset="-127152.71">3440 11853 0,'0'27'32,"0"-14"-17,0 0-15,13-13 16,-13 13-16,13-26 16,0 13-1,-13-13-15,13 0 16,-13 0-16,0-1 15,0 1 1,0 0-16,0 53 78,14-27-62,-1-13-1,0 0-15,0 0 16,-13-13-16,14 13 0,-1-14 0,0 14 16</inkml:trace>
  <inkml:trace contextRef="#ctx0" brushRef="#br0" timeOffset="-126540.33">4114 11827 0,'-13'0'32,"0"-13"-17,0 13-15,13-14 16,-14 1-16,14 0 0,-13 0 16,13 0-16,0-1 0,0 1 0,0 0 15,0 0-15,0-1 0,0-12 16,13 13-16,-13-1 0,14 1 0,-14 0 15,13 13-15,-13-13 0,13 13 0,0-13 16,1 13-16,-1 0 16,-13 13-1,-13 13 1,13-13-16,-14 1 0,1-1 0,-13 13 16,-1 1-16,1-14 0,12 0 0,1 14 15,0-14-15,0-13 0,0 13 16,-1 0-16,1 1 0,0-1 15,39-13 17,-12 0-32,-1 0 0,0-13 15,13 13-15,-12-14 0,-1 14 0,13-13 16,-12 13-16,-1-13 0,13 13 16,-12-13-16,-1 0 0,0 13 0,0 0 15,0-14-15,1 14 16,-14-13-16,13 13 0</inkml:trace>
  <inkml:trace contextRef="#ctx0" brushRef="#br0" timeOffset="-125540.94">3069 12502 0,'0'0'0,"-26"39"32,26-26-32,0 1 0,-14-14 0,14 13 15,0 0-15,0 0 0,0 1 16,0-1-16,14 0 16,-1-13-1,0 0-15,0 0 0,1-13 16,12 13-1,-13-13-15,1-1 0,12 14 0,-13-13 16,0 0-16</inkml:trace>
  <inkml:trace contextRef="#ctx0" brushRef="#br0" timeOffset="-125138.69">3453 12502 0,'-13'13'16,"-1"-13"-16,1 0 31,-13-13-31,12-1 16,1 14-16,13-13 0,-13 0 0,0 0 16,13-1-16,-13 1 0,13 0 15,0 0-15,-14-1 0,14 1 16,0 0-16,14 0 0,-1 26 47,-13 0-47,0 0 0,0 1 0,0-1 15,-13 0-15,13 0 0,-14 1 16,14-1-16,-13 0 16,13 0-16,-13 1 0,13-1 15,0 0 1,26-13-1,-12-13 1,-1 13-16,0-13 0,0 13 16,0-14-16,1 1 0,-1 13 0,0-13 15</inkml:trace>
  <inkml:trace contextRef="#ctx0" brushRef="#br0" timeOffset="-124796.19">3545 12303 0,'14'27'47,"-14"-14"-47,0 0 0,0 0 16,0 14-16,0-14 0,0 0 15,0 0-15,0 1 0,0-1 0,0 0 16,0 0-16,0 1 16,0-41 30,0 14-46,-14-14 0,14 14 0,0-13 16,0 12-16,0 1 0,0 0 16,0 0-16,0 0 0,0-1 0,0 1 15,14 13-15,12 0 16,-26 13 0,13-13-16,-13 14 0,14-14 15,-1 13-15,-13 0 0,13 0 0,0 0 16,-13 1-1,13-1-15,-13 0 0</inkml:trace>
  <inkml:trace contextRef="#ctx0" brushRef="#br0" timeOffset="-124609.73">3559 12449 0,'13'-14'31,"0"1"-15,0 13-16,-13-13 0,14 13 15,-1 0-15,0-13 16,0 13-16</inkml:trace>
  <inkml:trace contextRef="#ctx0" brushRef="#br0" timeOffset="-124291.66">3149 12859 0,'13'-13'0,"0"-1"15,0 14-15,0-13 0,14 0 0,-14 13 16,14-13-16,-1-1 0,14 1 16,-14 0-16,1 0 0,-1-1 0,1 1 15,-1 0-15,-13 13 0,0-13 0,14 0 16,-14 13-16,0-14 0,1 14 15,-14-13-15,13 13 16</inkml:trace>
  <inkml:trace contextRef="#ctx0" brushRef="#br0" timeOffset="-124097.56">3201 12846 0,'0'0'0,"-13"0"0,40-14 47,12 1-47,-25 0 0,39 0 16,-27-1-16,93-52 15,-106 53-15,0 13 16,1-13-16,-1 0 0,0 13 0,-13-14 16,13 1-16</inkml:trace>
  <inkml:trace contextRef="#ctx0" brushRef="#br0" timeOffset="-122873.97">1085 11483 0,'0'-13'31,"0"-1"-31,0 1 15,0 0-15,0 0 16,13 13-16,-13-13 0,0-1 0,13 1 16,-13-13-16,0 12 0,13 1 15,1 0-15,-14-14 0,13 14 16,0-13-16,14 13 0,-1-14 0,1 1 16,-1-1-16,0 14 0,14-14 0,0 1 15,0 0-15,-1-1 0,1 14 16,13-14-16,-13 14 0,12-13 0,-12 13 15,13-1-15,-13-12 0,13 13 0,0-1 16,-14 1-16,14 0 0,-13 0 16,13 13-16,-14-14 0,1 1 0,13 13 15,-13 0-15,-1-13 0,-12 13 16,13 0-16,-14 0 0,0 0 0,14 0 16,-13 13-16,12-13 0,-12 0 0,12 0 15,1 13-15,-13-13 0,12 14 16,-12-1-16,-1 0 0,-13 0 15,14-13-15,-1 14 0,-12-1 0,-1 0 16,0 0-16,0-13 0,1 14 0,-1-1 16,0 0-16,0 0 15,0-13-15,1 13 16,-1 1 0,0-1 15,0-26 31</inkml:trace>
  <inkml:trace contextRef="#ctx0" brushRef="#br0" timeOffset="-122256.68">2884 10848 0,'13'13'31,"0"0"-15,1 1-16,-1-1 16,-13 0-16,13-13 0,-13 13 15,13 1-15,-13-1 0,14-13 0,-14 13 16,13 0-16,0 0 16,0 1-16,-13-1 0,13-13 15,-13 13-15,14 0 16,-14 1-1,0-1 1,-14 0-16,1 0 16,0 0-1,0-13-15,0 14 16,-1-1-16,1-13 16,13 13-16,-13-13 0,0 13 15,-1 1 1,1-14-16,0 13 15,13 0 17</inkml:trace>
  <inkml:trace contextRef="#ctx0" brushRef="#br0" timeOffset="-119711.7">4948 13269 0,'0'26'31,"0"-12"-15,0-1-16,0 0 16,0 0-16,0 0 0,13 1 15,-13-1-15,0 0 0,13-13 0,-13 13 16,13 1-16,1-14 15,-1 0 1,0-14 0,-13 1-16,13-13 15,-13 12 1,14 1-16,-14 0 16,0 0-16,13 26 31,-13 0-16,13 0-15,-13 1 16,13-14-16,-13 13 0,13 0 16,1-13-1,-1 0 1,0 0-16,0-13 16,-13 0-1,0-1-15,0 1 0,14 0 16,-14 0-16,0 0 0,0-1 15,0 1-15,0 0 16,-14 0-16,14-1 0,14 41 47,-14-14-47,0 0 16,0 1-16,0-1 0,13-13 0,-13 13 15,0 0-15,13 0 16,0 1-16,-13-1 0,14-13 0,-1 13 15,0-13-15,0 0 0,0 0 16,1 0-16,-1 0 0,0 0 16,0-13-16,1 13 0,-1-13 0,0 13 15,0-14-15,-13 1 0,14 0 0,-14 0 16,13 0-16,-13-1 16,0 1-16,-13 0 31,-1 39-16,14-12 1,0-1-16,0 0 16,0 0-16,14-13 0,-14 13 15,13-13-15,0 14 16,0-14-16,0 0 0,14 0 16,-27-14-16,13 14 15,0 0-15,1-13 0,-1 0 16,0 0-16,0 13 15,-13-13 1,13 26 0,1-13-16,-14 13 0,0 0 15,13 0 1,-13 1-16,13-14 16</inkml:trace>
  <inkml:trace contextRef="#ctx0" brushRef="#br0" timeOffset="-119593.45">5622 13203 0,'-13'0'31</inkml:trace>
  <inkml:trace contextRef="#ctx0" brushRef="#br0" timeOffset="-118813.48">5715 13242 0,'0'0'16,"-13"14"-1,0-14-15,13 13 16,-14-13-16,14 13 16,14 0-1,-14 1 1,13-14 0,-13 13-16,13-13 15,-13 13-15,0 13 16,0-12-16,0-1 0,0 0 15,-13 0-15,13 1 16,-13-1-16,13 0 31,13-26 1,0 13-17,-13-13-15,13 13 0,0-27 16,1 14-1,-1 0-15,0-1 0,-13 1 0,13 0 0,-13 0 16,14 0-16,-14-14 0,0 14 16,0 0-16,13-14 0,-13 14 0,0 0 15,0-1-15,0 1 0,0 0 0,0 0 16,0 0 0,0-1-16,-13 41 31,13-14-16,0 0-15,0 0 0,0 1 0,0-1 16,0 0-16,0 0 0,13 1 0,-13-1 16,0 0-16,0 0 0,13-13 15,-13 14-15,13-14 0,1 13 16,-1-13-16,0 0 16,0-13-16,0 13 15,1-14-15,-1 1 16,0 0-16,0 0 15,-13-1-15,14 14 16,-1 14 0,-13-1-1,0 0-15,13-13 0,-13 13 16,0 1-16,13-14 16,-13 13-16,0 0 15,13-13-15</inkml:trace>
  <inkml:trace contextRef="#ctx0" brushRef="#br0" timeOffset="-118658.83">5980 13216 0,'0'-13'16,"13"13"-1,0 0-15,0-14 0,0 14 16,1-13-16,-1 13 0</inkml:trace>
  <inkml:trace contextRef="#ctx0" brushRef="#br0" timeOffset="-118008.26">6363 13388 0,'13'-27'31,"-13"14"-31,0 0 16,0 0-16,0 0 0,0-1 0,0 1 15,0 0-15,0 0 0,0-14 16,0 14-16,-13-14 0,13 14 0,0 0 16,0-13-16,0 12 0,0 1 15,0 0-15,0 0 16,0-1-16,-13 28 47,13-1-32</inkml:trace>
  <inkml:trace contextRef="#ctx0" brushRef="#br0" timeOffset="-117814.65">6390 13097 0,'0'0'0,"-27"13"47,27 0-47,-13 1 0,0-1 15,13 0-15,-13 0 0,13 0 16,-14 1-16,1-1 0,13 0 0,-13 14 16,0-14-16,13 0 15,-14-13-15</inkml:trace>
  <inkml:trace contextRef="#ctx0" brushRef="#br0" timeOffset="-117638.61">6297 13123 0,'0'0'0,"0"-13"16,13 0 0,1 26-1,-1 0-15,0 1 16,0-14-16,0 13 0,-13 0 15,14-13-15,12 13 0,-13 0 0,1-13 16,-1 14-16,0-14 0,0 0 16,14 13-16,-14-13 0,0 0 0,0 0 15</inkml:trace>
  <inkml:trace contextRef="#ctx0" brushRef="#br0" timeOffset="-116247.83">7885 13137 0,'0'0'0,"0"-14"0,-14 28 31,14-1-31,0 0 0,-13-13 0,13 13 15,0 0-15,0 1 0,0-1 16,0 27-16,0-27 16,-13 0-16,13 0 0,0 1 15,0-1 1,13-13 0,0-13-1,1-1 1,-1 14-16,-13-13 15,13 13-15,0 0 16,1 0-16,-1 0 0,0 13 16,0-13-16,0 14 15,1-14-15,-14 13 0,13-13 0,0 0 16,0 13-16,1-13 16,-1 0-16,0 0 15,0 0-15,0-13 0,1 13 0,-1-13 16,0-1-16,0 14 0,1-13 15,-14 0-15,0 0 0,13 13 16,-13-14-16,0 1 0,0 0 16,0 0-1,-13 13 1,-1 13-16,14 0 16,-13 14-1,13-14 1,13-13-16,-13 13 15,14-13-15,-1 13 0,0-13 16,0 0-16,-13-13 0,14 13 16,-1 0-16,0 0 0,0-13 0,0 13 15,1-13-15,-1 13 0,-13-14 0,13 14 16,-13-13-16,13 13 0,1-13 16,-1 26-1,0-13 1,-13 13-1,0 1-15,0-1 0,0 0 16,13 0 0,1-13-1</inkml:trace>
  <inkml:trace contextRef="#ctx0" brushRef="#br0" timeOffset="-116124.68">8401 13123 0,'0'0'0,"-14"0"15,14 14-15,-13-14 16</inkml:trace>
  <inkml:trace contextRef="#ctx0" brushRef="#br0" timeOffset="-115294.09">8559 13123 0,'-13'0'16,"-27"14"0,27-1-16,0 0 15,13 0 1,0 0-1,13 1-15,0-1 16,-13 0-16,14-13 16,-14 13-16,13 14 15,-13-14-15,-13 0 0,13 1 16,-14-1-16,1 0 0,13 0 16,-13-13-16,13 13 0,-13-13 15,13 14-15,-14-14 0,1 0 16,26-14 15,1 14-31,-1-13 16,0 0-16,0 0 0,1 13 15,-1-13-15,0-1 16,0 1-16,0 0 0,-13 0 0,14-1 16,-1 1-16,-13 0 0,13-14 0,-13 14 15,13 0-15,-13 0 0,0 0 16,0-1-16,14 1 0,-14 0 0,0 0 15,0-1-15,0 1 16,-14 40 31,14-14-47,0 0 16,0 0-1,0 1-15,0-1 16,14 0-1,-1 0-15,0-13 16,-13 13-16,13-13 16,1 14-16,-1-14 15,0 0 1,0 0-16,0 0 0,-13-14 0,14 14 16,-1-13-16,0 13 0,0-13 15,1 0-15,-1 0 0,-13-1 16,13 14-16,-13-13 0,13 0 0,-13 0 15,0-1-15,14 1 16,-14 0 0,0 0-16,0 52 31,0-25-15,0-1-16,0 0 15,0 0 1,0 1-16</inkml:trace>
  <inkml:trace contextRef="#ctx0" brushRef="#br0" timeOffset="-115129.38">8797 13110 0,'14'-13'31,"-1"13"-31,0-13 16,0 13-16,1 0 0,12-14 15,-13 14-15,0 0 0</inkml:trace>
  <inkml:trace contextRef="#ctx0" brushRef="#br0" timeOffset="-114838.23">9088 13018 0,'14'39'15,"-14"-26"1,0 1-16,0-1 16,0 0-16,0 0 0,0 1 0,0-1 15,0 0-15,0 0 0,-14 0 16,14 1-16,0-1 16</inkml:trace>
  <inkml:trace contextRef="#ctx0" brushRef="#br0" timeOffset="-114581.72">9115 13057 0,'0'0'0,"-13"0"15,-1 13 1,1 1-16,0-1 16,0 0-16,0 0 15,13 1-15,-14-1 16,1 0-16,0 0 16,13 0-16</inkml:trace>
  <inkml:trace contextRef="#ctx0" brushRef="#br0" timeOffset="-114365.69">9102 13044 0,'0'0'0,"13"0"0,0 0 0,0 0 15,1 0-15,-1 0 16,0 13-16,0-13 0,1 0 15,-1 0-15,0 13 0,0-13 0,0 0 16,1 0 0,-1 0-16,0 0 15,0 14-15,1-14 16</inkml:trace>
  <inkml:trace contextRef="#ctx0" brushRef="#br0" timeOffset="-100324.15">6006 13520 0,'0'13'0,"0"1"16,0-1-16,0 0 0,13 0 16,-13 14-16,13-14 0,-13 0 0,14 0 15,-1 1-15,0-1 0,14 13 16,-1 1-16,1-14 0,-1 14 0,0-14 16,1 13-16,13-13 0,-14 14 0,1-14 15,12 0-15,1 1 16,0-1-16,-1 0 0,1 0 0,0 1 15,13-14-15,-14 13 0,1 0 0,13-13 16,0 0-16,-14 0 0,14 0 16,0 0-16,-13 0 0,13 0 0,0 0 15,0-13-15,0 13 0,-14-13 0,14-1 16,-13 1-16,0 0 0,-14 0 16,14 13-16,-27-14 0,13 1 0,1 0 15,-14 13-15,0-13 0,1 13 0,-1-14 16,0 14-16,0-13 0,1 0 15,-1 0-15,-13 0 16,13 13-16,0-14 16,-13 1-1,13 0 1,1 13 0</inkml:trace>
  <inkml:trace contextRef="#ctx0" brushRef="#br0" timeOffset="-100008.61">7554 13626 0,'-13'0'31,"39"-13"-15,-13 13-16,1 0 0,-1 0 15,0 0-15,0 0 0,0 13 0,1-13 16,-1 0-16,0 0 0,0 13 0,1-13 16,-1 0-16,-13 13 15,13-13-15,-13 14 0,13-1 0,-13 0 16,0 0-16,0 1 0,0-1 15,0 0-15,-13 0 0,13 1 16,-13-1-16,13 0 0,0 0 0,-13-13 16,13 13-16,0 1 15</inkml:trace>
  <inkml:trace contextRef="#ctx0" brushRef="#br0" timeOffset="-93665.57">8969 13639 0,'0'-13'0,"27"53"15,-14-27 1,0 13-16,-13-12 0,14 12 0,-1 1 16,0-1-16,0 0 0,-13 1 15,13-1-15,-13-12 0,0 12 16,14-13-16,-14 1 0,0-1 0,0 0 0,0 0 15,-14 0-15,1-39 32,13 13-32,-13 0 15,13-1-15,0-12 0,13 13 0,-13-14 0,0 1 16,13-1-16,1 14 0,-1-13 16,-13 12-16,26 1 0,-26 0 15,14 0-15,12-1 0,-13 14 0,1-13 16,-1 13-16,0 0 0,0 13 15,0-13-15,1 0 0,-1 14 16,0-1-16</inkml:trace>
  <inkml:trace contextRef="#ctx0" brushRef="#br0" timeOffset="-92825.5">9379 13930 0,'14'-66'15,"-14"53"1,0 0-16,0-1 0,0 1 0,0 0 16,0 0-16,0 0 0,0-1 15,-14 1 1,14 40 0,0-14-16,0 0 0,0 0 15,14 0-15,-14 1 0,0-1 16,13 0-16,-13 0 0,13-13 0,0 14 15,-13-1-15,14-13 0,-1 13 16,0-13-16,0 0 0,1 0 16,-1 0-16,0-13 15,0 0-15,-13-1 16,13 1-16,-13 0 16,14 0-16,-14-1 15,13 1 1,0 26-1,-13 1-15,13-14 0,-13 13 16,14 0-16,-1 0 0,-13 1 16,13-14-16,0 13 0,-13 0 0,14-13 15,-1 0-15,-13 13 0,13-13 16,0 0 0,0 0-16,-13-13 0,14 13 15,-14-13-15,0 0 16,13-1-16,-13 1 0,0 0 0,0 0 15,0-1-15,0 1 0,0 0 0,0 0 16,0 0-16,0-1 0,0 1 16,0 0-16,0 0 15,-13 39 17,13-13-17,0 1-15,0-1 16,0 0-16,13 0 15,0 0 1,0-13 0,1 0-16,-1 0 0,0 0 15,0 0 1,0 0-16,1 14 16,-1-14-16,-13 13 0,0 0 15,13 0 1,-13 1-1,13-41 17,-13 14-32,14 0 15,-1-14-15,-13 14 0,13 0 16,0 0-16,1-1 0,-1 1 16,0 0-16,0 0 0,0 13 0,1-14 15,-1 14-15,0 0 0,-13-13 0,13 13 16</inkml:trace>
  <inkml:trace contextRef="#ctx0" brushRef="#br0" timeOffset="-92340.66">10266 13639 0,'0'27'31,"0"-14"-15,0 0-16,0 0 0,0 1 0,0-1 15,0 0-15,0 0 16,0 1-16,0-1 0,0 0 16,0 0-16,0 0 15,13-39 17,-13 13-32,13 0 0,1-1 15,-14 1-15,13 0 0,-13 0 16,13-1-1,-26 54 17,26-27-17,0 1 1,0-14 0,1 0-16,-1 0 0,0 0 0</inkml:trace>
  <inkml:trace contextRef="#ctx0" brushRef="#br0" timeOffset="-92092.35">11033 13613 0,'0'0'0,"0"13"0,0 13 16,0-12-1,0-1-15,0 0 0,0 0 16,0 1-16,0 12 16</inkml:trace>
  <inkml:trace contextRef="#ctx0" brushRef="#br0" timeOffset="-91954.29">10967 13533 0,'0'0'0,"-13"0"16,0 14-1,13-1-15</inkml:trace>
  <inkml:trace contextRef="#ctx0" brushRef="#br0" timeOffset="-91733.59">11179 13586 0,'0'0'0,"0"14"0,0-1 16,13-13-16,-13 13 0,0 0 15,0 0 1,13 1-16,-13-1 0,0 0 15,0 0-15,0 1 0,13-1 16,-26 0 0,13 0-16</inkml:trace>
  <inkml:trace contextRef="#ctx0" brushRef="#br0" timeOffset="-90801.24">11814 13481 0,'0'0'16,"-14"26"-16,14-13 0,14-13 15,-14 13-15,0 1 0,0-1 16,0 0-16,0 0 0,0 1 0,0-1 15,13 0-15,-13 0 0,0 0 16,0 1 0,0-1-1,13-13-15,0-13 32,-13-1-32,14 14 0,-14-13 15,13 0-15,0 13 16,0 0-1,-13 13 1,13-13-16,-13 13 16,14-13-16,-14 14 0,13-14 15,0 13 1,0-13-16,1-13 16,-1 13-16,0-14 15,0 14 1,1-13-16,-1 13 15,0 0 1,-13 13-16,13-13 16,0 0-16,1 0 15,-1 0-15,0 0 16,0-13-16,1 0 16,-1 0-16,-13 0 0,0-1 15,0 1-15,13 13 0,-26-13 16,13 0-16,0-1 0,0 1 15,-13 0-15,-1 13 16,-12 13 0,13 0-16,13 1 15,-14-1-15,14 0 16,14-13-16,12 0 16,-13-13-1,1 13-15,-1-13 0,0-1 0,0 1 16,14-13-16,-14 13 0,0-1 0,0-12 15,1 13-15,-14-1 0,13-12 16,0 13-16,0-1 16,-13 1-16,14 13 15,-14 13-15,0 1 16,0-1-16,0 0 0,0 14 16,0-14-16,0 13 0,0-12 15,0 12-15,0-13 0,0 14 0,13-14 0,-13 13 16,0-12-16,0-1 0,13 0 15,-13 0-15</inkml:trace>
  <inkml:trace contextRef="#ctx0" brushRef="#br0" timeOffset="-90626.57">12250 13481 0,'-13'0'16,"26"-14"-16,0 1 15,1 13-15,-1 0 0,13-13 16,-12 13-16,12-13 0,-13 13 0,14 0 16,-1-14-16,1 14 0,-14 0 0,13 0 15,1 0-15,-1 0 0</inkml:trace>
  <inkml:trace contextRef="#ctx0" brushRef="#br0" timeOffset="-89757.06">13018 13388 0,'0'40'31,"0"-27"-31,0 13 0,0 1 0,0-1 16,0 1-16,0-1 0,0 1 15,0-1-15,13 0 0,-13 1 16,0-1-16,0 1 0,0-14 0,0 0 16,0 1-16,0-1 0,13 0 15,-26-39 17,13 12-32,0-12 0,0 13 15,0-14-15,0 1 0,13-1 0,-13 1 16,13-1-16,-13 1 0,13 13 0,1-1 15,-14 1-15,13 13 0,0 0 0,14 0 32,-27 13-32,0 1 0,0-1 15,0 0-15,-14 0 0,14 14 0,-13-14 16,13 0-16,-13 0 0,0 1 16,13-1-16,-14-13 15,28-13 16,-1-1-31,0 14 0,0-13 16,1-13-16,-1 13 0,13-1 0,-13 1 0,1 0 16,-1 0-16,0-1 15,0 14-15,-13-13 0,14 0 16,-28 39 15,14-12-31,0-1 0,-13 0 16,13 0-16,0 1 0,0-1 0,0 0 15,0 0-15,13-13 16,1 13-16,-1-13 16,0 0-16,0 0 0,1-13 0,-1 13 15,0-13-15,13 13 0,-26-13 0,14 0 16,-1-1-16,-13 1 0,0 0 16,13 13-16,-26-13 0,13-1 0,0 1 15,0 0-15,-13 13 0,13-13 0,-14 13 16,1-13-16,-13 13 15,-1 13 1,14-13-16,0 13 16,13 0-1</inkml:trace>
  <inkml:trace contextRef="#ctx0" brushRef="#br0" timeOffset="-89277.78">13520 13467 0,'13'14'16,"1"-1"-1,-14 0-15,0 0 16,13 0-16,-13 1 0,0-1 0,13 0 16,-13 0-16,0 1 0,13-14 15,-13 13-15,0 0 0,0 0 16,0 0-16,0 1 0,0-1 15,-13 0-15,0-13 16,13 13-16,-13-13 16,-1 0-1,14-13-15,0-13 16,0 12-16,14-12 16,-1 13-16,-13 0 0,13-1 0,0 1 15,-13 0-15,14 0 0,-1-1 0,0 1 16,-13 0-16,13 13 0,0-13 15,1 0-15,-1 13 16,0 0-16,0 13 16,-13 0-1,14 0-15,-14 0 0,0 1 16,0-1-16,0 0 0,0 0 0,0 1 16,0-1-16,0 0 0,-14 0 15,14 0-15,0 1 0,0-1 16,0 0-1,0 0-15</inkml:trace>
  <inkml:trace contextRef="#ctx0" brushRef="#br0" timeOffset="-89004.23">13772 13348 0,'-14'0'32,"1"13"-32</inkml:trace>
  <inkml:trace contextRef="#ctx0" brushRef="#br0" timeOffset="-88590.6">13838 13348 0,'13'27'31,"-13"-14"-31,0 0 0,0 14 0,0-14 16,0 13-16,0-12 0,0 12 0,0 0 15,0 1-15,0-14 0,0 14 16,0-14-16,0 13 0,0-13 0,0 1 15,0-1-15,13-13 0,-13 13 0,0 0 16,0-52 15,27-1-15,-27 27 0,13 0-16,-13-1 0,13 14 15,0-13-15,1 0 0,-1 13 16,0 13-16,0-13 15,-13 13-15,0 1 0,0-1 16,0 0-16,0 0 0,-13 0 16,13 1-16,0-1 0,-13 13 0,0-12 15,13-1-15,-14 0 0,28-26 47</inkml:trace>
  <inkml:trace contextRef="#ctx0" brushRef="#br0" timeOffset="-88268.69">14116 13361 0,'0'27'31,"-14"-14"-31,14 0 16,0 1-16,-13-1 0,13 13 0,0-12 15,0-1-15,0 13 0,0-13 0,0 1 16,13-1-16,-13 0 15,14 0-15,-1-13 0,0 0 16,0 0-16,-13-13 16,13 13-16,1-13 0,-14 0 15,13 13-15,-13-14 0,13 1 16,0 13-16,-13 13 31,0 1-31,14-14 16,-14 13-16,0 0 0,13 0 15,0 1-15,14-1 16,-14-13 0</inkml:trace>
  <inkml:trace contextRef="#ctx0" brushRef="#br0" timeOffset="-87961.69">12475 13930 0,'185'-39'15,"-370"78"-15,529-92 0,-251 40 0,-1 0 0,27 13 16,-26-13-16,13-1 0,-14 14 15,14-13-15,-13 13 0,-14-13 16,14 13-16,-27 0 0,-13 0 0,0 0 16,0 0-16,-27 0 0,1 0 0,-14 0 15,0 0-15,14 0 16,-54 26-16,1-26 16,-14 14-16,-13-1 0,-13 0 0,0 0 15</inkml:trace>
  <inkml:trace contextRef="#ctx0" brushRef="#br0" timeOffset="-87623.72">11417 14221 0,'211'-26'31,"-118"13"-31,26-1 16,13 1-16,14 0 0,13 0 0,-1 0 15,1-14-15,0 14 0,13 0 0,-13-1 16,-14 1-16,1 0 0,-14 0 0,0-1 16,-39 1-16,-1 13 0,1-13 15,-14 13-15,1 0 0,-27-13 0,0 13 16,-14 0-16,-12 0 0,-1 0 16,-12 0-16,12 0 0,-13 0 15,-13-13-15,13 13 0,-39 0 31,13 0-15,0 0-16,-1-14 0</inkml:trace>
  <inkml:trace contextRef="#ctx0" brushRef="#br0" timeOffset="-80084.58">2606 12396 0,'27'13'16,"12"53"-1,27 53-15,14 0 16,-27 0-16,-14-13 16,-12-13-16,-1-1 15,-12-65-15,-1 26 16,-13-27-16,0-13 15,0 1-15,-13-14 125,-1-14-109,1 14 0,13-39-16,0 12 15,0 1-15,-13-27 16,0 13-16,-14-39 16,1 13-16,-14-27 15,14 14-15,12 26 16,-12 13-16,26 0 15,-27-13-15,27 27 16,-26-14 0,13 27-16,13 0 15,-13-14-15,13 1 16,-27 13 0,27-1 15,40 14 156,13 0-171,0 0-16,26 0 16,-26 0-1,0 0-15,13 0 16,0-13-16,-13-13 15,-13 26-15,13-13 16,-14 13-16,1-14 16,0 14-16,-14 0 15,1 0-15,12-26 16,-26 26-16,14-13 16,-14 13-1,14 0-15,-14 0 16,0 0-16,14 0 15,-1 0-15,-13-14 16,0 14-16,14-13 16,-14 13-1,0-13-15,1 13 16,-1 0 125,13 0-126,1 40 1,-27-27-16,26 27 15,-13-1-15,-13-12 16,14 26-16,12-14 16,-26 1-16,13 13 15,-13-13-15,27-14 16,-14 1-16,-13-14 16,0 0-1,-26 13 110,12-26-125,-25 0 16,12 0-16,-12 0 15,-1 14-15,0-14 16,-26 13 0,13-13-16,27 0 15,-27 0-15,13 0 16,-13 0-16,13 0 16,-12 0-16,12 0 15,27 0-15,-14 0 16,14 0-16,0 0 15,-1 0-15,-12 13 16,13-13 0,0 0-16,-1 0 15,-12 13-15,-1-13 16,14 0-16,0 14 16,0-14-1,-1 0-15,1 0 31</inkml:trace>
  <inkml:trace contextRef="#ctx0" brushRef="#br0" timeOffset="-74029.63">4710 13137 0,'26'39'0,"0"1"16,1 66-16,13-27 16,-14 53-16,1-65 15,-14 12-15,13-26 16,1 26-16,-27-52 15,0 26-15,13-14 16,-13-25 0,0-1 31,-13-13-16,-1 0-16,1 0-15,-13-27 16,26 1-16,-27-27 16,1-26-16,13 26 15,-14-27-15,1-12 16,12 12-16,-25 1 16,26 26-16,13 0 15,-27 0-15,14 27 16,0-14-16,13 14 15,-27-1-15,14-13 16,13 27 0,0 0 140,53 13-156,0 0 16,26 0-1,-13 0-15,27 0 0,0 0 16,-27 0-1,40 0-15,-54 0 16,28 0-16,-27 0 16,-14 0-16,1 0 15,-13 0-15,12 0 16,1 0-16,-27 0 16,27 0-16,0 0 15,-1 0-15,1 0 16,-14 0-16,14 0 15,-27 0-15,27 0 16,-27 0 0,14 0-16,-14 0 15,0 0 1,0 0-16,1 0 16,12 0-16,14 0 15,26 0-15,0 0 16,0 0-16,0 0 15,27-26-15,-14 12 16,-13 14-16,1 0 16,-1 0-1,-13 0-15,-14 0 16,1 0-16,0 0 16,-14 0-16,1 0 15,-14 0-15,13 0 16,-12 0-16,-1 0 15,13 0-15,14 0 16,-27 0-16,27 0 16,0 0-16,-14 0 15,14 0-15,-14 0 16,1 0-16,-1 0 16,0 0-16,14 0 15,-13 0-15,-14 0 16,13 0-16,-12 0 15,25 0-15,-26 0 16,14 0-16,-14 0 16,14 0-16,-14 0 15,0 0-15,14 0 16,-1 0-16,0 0 16,14 0-16,-13 0 15,12 0 1,14 0-16,13 0 15,-13 0-15,0 0 16,40 0-16,-14 0 16,-26 0-16,26 0 15,-12-13-15,-1 13 16,26 0-16,-12-13 16,-27 0-16,39-1 15,1 14-15,-27-13 16,13 13-16,-12 0 15,-1 0-15,0 0 16,-13 0-16,0 0 16,-27 0-16,1 0 15,-14 0-15,0 0 32,0 0 30,0 0-46,1 0 77,-1 0-77,0 0 0,0 40-16,-13-14 15,14 14-15,-1 0 16,0-14-16,0 1 16,-13 12-16,14-12 15,-1-14 1,-13 13-16,0 1 172,-13-14-157,-14-13 1,1 0-16,-1 13 16,-39-13-16,26 14 15,-52-1-15,39-13 16,-27 13-16,14-13 15,-26 13-15,26 0 16,-1-13-16,-25 0 16,39 0-16,0 0 15,26 0-15,-25 0 16,25 0-16,-13 27 16,14-27-16,-14 13 15,27-13-15,-40 0 16,0 0-16,-13 13 15,26-13-15,-13 27 16,-13-14-16,27-13 16,-41 13-16,14-13 15,-26 0-15,25 0 16,-12 0-16,0 0 16,-1 14-16,27-14 15,14 13-15,12-13 16,1 13-1,12-13-15,1 0 0,-13 0 16,-14 13 0,27-13-16,-27 13 15,27-13-15,-27 0 16,1 14-16,-28-1 16,28-13-16,12 0 15,-52 13-15,26-13 16,0 0-16,0 0 15,-26 0-15,13 0 16,13 0-16,-27 0 16,27 0-16,-39 0 15,26 0-15,-14 13 16,14 14-16,0-14 16,0-13-16,0 0 15,0 0-15,-14 13 16,27-13-16,0 27 15,0-27-15,-26 0 16,39 0-16,-12 0 16,12 0-16,27 0 15,-27 13-15,27-13 16,-14 0-16,14 0 16,-13 0-1,12 0 1,-12 0-16,13 0 15,-27 0-15,27 0 16,-1 0 0,1 0-1,0 0-15,0 13 16,0-13 0,-1 0-1,1 0-15,-13 0 16,-1 0-1,14 0 173,-14 0 31</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01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16 14,'-5'1,"0"0,0 1,0-1,1 1,-1 0,1 0,-1 0,1 1,0-1,-1 1,1 0,1 1,-1-1,0 1,1-1,0 1,0 0,0 0,0 1,-2 4,1-2,0-1,1 1,-1-1,1 1,1 0,0 0,0 1,0-1,1 0,0 1,0-1,0 1,2 7,-1-12,1 0,0-1,-1 1,1 0,1-1,-1 1,0-1,0 0,1 1,-1-1,1 0,0 0,0 0,0 0,0 0,0 0,0-1,0 1,5 2,-2-2,0 0,0-1,0 1,0-1,0 0,0 0,1-1,-1 1,0-1,7-1,-6 1,0-1,0 1,0-1,0-1,-1 1,1-1,-1 0,1 0,-1-1,1 1,-1-1,0 0,-1-1,1 1,0-1,-1 0,0 0,0-1,6-8,-8 9,0 0,0 0,-1-1,1 1,-1 0,0-1,-1 0,1 1,-1-1,0 1,0-1,0 1,-1-1,1 0,-1 1,0-1,0 1,-1 0,0-1,1 1,-1 0,-4-5,1 2,0 0,0 1,-1 0,0 0,0 1,-1-1,1 1,-1 0,0 1,-1 0,-8-4,-1 1</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4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36 34,'-9'40,"8"-36,-1 0,1 0,0 0,0 0,0 0,1 0,-1 0,1 0,0 0,0 0,1 7,1-7,-1-1,0 1,1-1,0 1,0-1,0 0,0 0,0 0,1 0,0 0,-1 0,1-1,0 1,0-1,0 0,1 0,-1 0,5 2,-6-3,-1-1,1 1,-1-1,1 1,0-1,-1 1,1-1,0 0,-1 0,1 0,0 0,0 0,-1 0,1-1,0 1,-1-1,1 1,-1-1,1 1,0-1,-1 0,1 0,-1 0,0 0,1 0,-1 0,0 0,1 0,-1 0,0-1,0 1,0 0,0-1,0 1,-1-1,1 1,0-1,-1 1,1-1,-1 0,1 1,-1-3,1 0,0 0,0-1,-1 1,1 0,-1 0,0 0,0-1,-1 1,1 0,-1 0,0 0,0-1,0 1,-1 0,1 1,-1-1,0 0,0 0,0 1,-1-1,1 1,-5-5,0 2,1 0,-1 0,-1 1,1 0,-1 0,0 1,0 0,0 0,-12-3,4 2</inkml:trace>
</inkml:ink>
</file>

<file path=ppt/ink/ink6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57:29.351"/>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3241 4432 0,'80'0'15,"-54"0"-15,-13 0 0,14 0 0,-14 0 16,13-13-16,-12 13 0,12 0 0,-13 0 16,14 0-16,-14 0 0,0-14 0,0 14 15,1 0-15,-1 0 0,13 0 16,-12 0-16,-1-13 0,0 13 0,13 0 16,-12 0-16</inkml:trace>
  <inkml:trace contextRef="#ctx0" brushRef="#br0" timeOffset="265.02">4392 4379 0,'27'0'31,"-1"0"-31,-13 0 0,0 0 16,1 0-16,-1-13 0,0 13 16,0 0-16,1 0 0,-1 0 15,0 0-15</inkml:trace>
  <inkml:trace contextRef="#ctx0" brushRef="#br0" timeOffset="662.2">5398 4379 0,'26'0'0,"27"0"32,-40 0-32,14 0 0,-14 0 0,0 0 15,0 0-15,14 0 0,-14 0 16,13 0-16,-12 0 0,12 0 0</inkml:trace>
  <inkml:trace contextRef="#ctx0" brushRef="#br0" timeOffset="1029.83">6284 4326 0,'26'13'15,"-12"-26"1,-1 13-16,0 0 0,0 0 0,0 0 16,1 0-16,-1 0 0,0 0 0,14 0 15,-14 0-15,0 0 0,0 0 16</inkml:trace>
  <inkml:trace contextRef="#ctx0" brushRef="#br0" timeOffset="1546.02">7250 4260 0,'39'0'32,"-26"0"-32,14 0 0,-14 0 15,14 0-15,-1 0 0,1 0 16,-1 0-16,14 0 0,-14 0 0,1 0 15</inkml:trace>
  <inkml:trace contextRef="#ctx0" brushRef="#br0" timeOffset="2077.13">8096 4247 0,'0'13'0,"53"0"31,-40-13-31,14 0 15,-1 0-15,-12 0 0,12 0 16,0 0-16,1 0 0,13 0 0,-14 0 16,14 0-16</inkml:trace>
  <inkml:trace contextRef="#ctx0" brushRef="#br0" timeOffset="2609.86">9049 4299 0,'39'0'46,"-25"0"-46,12 0 16,-13 0-16,14 0 0,-1 0 0,1 0 16,12 0-16,-12 0 0,-1 0 0,1 0 15,-1 0-15,1 0 0,-1-13 0,1 13 16</inkml:trace>
  <inkml:trace contextRef="#ctx0" brushRef="#br0" timeOffset="3059.68">9988 4286 0,'40'-13'31,"-14"13"-31,-13 0 15,27 0-15,-27 0 0,14 0 16,-14 0-16</inkml:trace>
  <inkml:trace contextRef="#ctx0" brushRef="#br0" timeOffset="3747.81">10769 4247 0,'-14'13'31,"41"-13"-31,-14 0 15,0 0-15,-13 13 0,27-13 16,-14 0-16,0 0 0,14 0 16,-14 0-16,13 0 0,-12 0 0,12 0 15,0 0-15,1 0 0,-1 13 0,1-13 16,-1 0-16,1 0 0,-1 0 16,-13 0-16</inkml:trace>
  <inkml:trace contextRef="#ctx0" brushRef="#br0" timeOffset="4108.42">11774 4299 0,'40'0'15,"-27"0"1,13 0-16,-12 0 0,-1 0 16,13 0-16,-13 0 0,14 0 0,-14 0 15,14-13-15,-14 13 0,0 0 0,0 0 16</inkml:trace>
  <inkml:trace contextRef="#ctx0" brushRef="#br0" timeOffset="6723.26">12846 4273 0,'26'0'0,"-13"0"16,14 0-16,-1 0 0,1 0 15,12 0-15,14 0 0,-13 0 0,13 0 16,0 0-16,-14-13 0,14 13 0,-13 0 16,-14 0-16,1 0 0,-1 0 15,1 0-15,-14-13 0</inkml:trace>
  <inkml:trace contextRef="#ctx0" brushRef="#br0" timeOffset="6959.12">13031 4366 0,'79'13'31,"-52"-13"-31,12 0 16,-12 0-16,12 0 0,-12-13 0,13 13 15,-1 0-15,1 0 0,-14 0 16,1-14-16,-1 14 0,1 0 15,-1 0-15,-13 0 0,1 0 0,-1 0 16,0 0-16,0 0 0,1 0 16</inkml:trace>
  <inkml:trace contextRef="#ctx0" brushRef="#br0" timeOffset="8838.11">2924 5980 0,'26'0'47,"-13"0"-47,14 0 0,-1 0 16,14 0-16,0 13 0,13-13 0,-1 0 15,1 0-15,-13 0 0,13 0 16,0 0-16,13 13 0,-13-13 16,0 0-16,0-13 0,-14 13 0,14 0 15,-13 0-15,13 0 0,-13-13 16,-14 13-16,14 0 0,0-14 0,-14 14 15,0-13-15,1 13 0,-1-13 0,-12 13 16,12 0-16,-13-13 0,14 13 16,-14-14-16,0 14 0,0 0 0,1-13 15,-1 13-15,0-13 0,0 13 16,1-13-16,-1 0 0,0-1 16,-13 1-16,13 0 0,0 0 0,-13-1 15,14 1-15,-14 0 0,13 0 0,-13-14 16,0 1-16,13-1 0,-13 1 0,0-1 15,0-12-15,0-1 16,13 0-16,-13 1 0,0 12 0,0-12 16,0-1-16,0 13 0,0 1 0,0-1 15,0 1-15,0 0 0,0-1 16,0 14-16,0 0 0,-13-1 0,13 1 16,0 0-16,0 0 0,0-1 0,0 1 15,-13 13-15,13-13 0,0 0 0,0 0 16,-13-1-1,-1 1-15,1 13 16,0-13-16,0 13 16,0 0-16,-1-13 0,1 13 0,0 0 15,-14 0-15,14-14 0,-13 14 16,-1 0-16,1 0 0,-1 0 0,-12-13 16,12 13-16,-26 0 0,14-13 15,-1 13-15,0 0 0,-13 0 0,14 0 16,-14 0-16,13-13 0,0 13 0,1 0 15,12 0-15,-13 0 0,1 13 16,-1-13-16,0 0 0,14 0 0,-14 0 16,1 0-16,12 0 0,1 0 0,-1 0 15,1 0-15,13 13 0,-14-13 0,14 0 16,0 0-16,-14 0 0,14 0 16,0 0-16,-1 0 0,1 0 15,13 13-15,-13-13 0,0 0 0,0 0 16,-1 0-16,1 0 15,0 0 1,0 0-16,-1 14 0,1-14 16,0 0-16,13 13 15,-13-13-15,0 0 0,13 13 16,-14-13-16,1 13 16,0-13-1,0 0 1,13 14-16,0-1 15,-14 0-15,14 0 0,0 0 16,0 1-16,0-1 16,0 13-16,0-12 0,-13 12 0,13-13 15,0 14-15,0 12 0,0-12 0,0 13 16,0-14-16,0 14 0,0-1 16,0 1-16,0-13 0,0-1 0,0 0 15,-13 14-15,13-13 0,0-1 0,0 1 16,0-14-16,0 13 0,0-13 15,0 14-15,0-14 0,0 0 16,-13 1-16,13-1 0,0 0 0,0 0 16,0 1-16,0-1 15,0 0 1,0 0-16,0 0 16,0 1 15,13-14 0,0-14-15,0 14-16,14-13 0,-1 13 0</inkml:trace>
  <inkml:trace contextRef="#ctx0" brushRef="#br0" timeOffset="9336.49">5027 5569 0,'66'0'0,"-132"0"0,159 0 0,-67 0 16,-13 0-16,14-13 0,-1 13 16,1 0-16,-1 0 0,14 0 0,-14 0 15,-12 0-15,12-13 0,1 13 0,-14 0 16,13 0-16,-13 0 0,1 0 15,-1-13-15,0 13 0,0 0 0,1 0 16,-14-13-16,13 13 0,0 0 16,-13-14-16</inkml:trace>
  <inkml:trace contextRef="#ctx0" brushRef="#br0" timeOffset="9589.86">5292 5331 0,'26'0'0,"-52"0"0,79 0 0,-40 0 15,0 0-15,14 14 16,-14-14-16,13 13 0,1 0 0,-14 0 16,27 1-16,-14-1 0,0 0 0,1 0 15,-14 0-15,14 1 0,-1 12 16,-13-13-16,1 1 0,-14 25 15,0-26-15,-14 14 0,1 13 16,0-14-16,0 1 0,-14 12 0,1-12 16,-1-1-16,1 1 0,-1-1 15</inkml:trace>
  <inkml:trace contextRef="#ctx0" brushRef="#br0" timeOffset="15515.19">3321 3440 0,'-14'-14'15,"28"28"-15,-28-1 16,1-13 0,13 13-16,0 0 0,0 14 0,0-14 15,-13 0-15,13 0 0,0 1 0,0 12 16,0-13-16,0 1 0,0-1 16,13 0-16,-13 0 0,13-13 0,1 13 15</inkml:trace>
  <inkml:trace contextRef="#ctx0" brushRef="#br0" timeOffset="15867.39">4379 3373 0,'0'0'0,"26"-13"0,-12 13 0,-1 0 16,0 0-16,-13 13 0,0 1 15,0-1-15,0 0 16,0 0-16,-13 1 0,13-1 0,0 0 15,-13-13-15,13 13 0,0 0 16,13-13-16,0 14 16,0-14-16,0-14 15,1 14-15,12-13 0,1 13 0,12-13 16,-12 0-16</inkml:trace>
  <inkml:trace contextRef="#ctx0" brushRef="#br0" timeOffset="16256.12">5398 3321 0,'13'-14'15,"13"28"1,-13-14-16,1 13 16,-14 0-16,13-13 0,-13 13 15,0 0-15,0 1 16,13-1-16,-13 0 0,0 0 15,0 1 1,0-1-16,0 0 16,-13-13-16,13 13 0,-13-13 15,13 13-15,-14-13 16,1 0-16,0 14 0,0-1 16,0-13-16</inkml:trace>
  <inkml:trace contextRef="#ctx0" brushRef="#br0" timeOffset="16708.22">6191 3334 0,'13'-13'15,"-39"39"1,13-26-16,0 13 0,-1 0 0,14 1 16,-13-14-16,0 13 0,0 0 0,13 0 15,-14 1-15,14-1 16,-13 0-16,26 0 16,1 0-16,-1-13 15,0 0 1,0 0-16,1 0 0,-1-13 0,0 13 15,0-13-15,0 13 0,1-13 16,-1 0-16,0-1 0,0 1 16,1 0-16,-1 13 0,-13-13 15,13-1-15,-13 1 16,-13 40 15,13-14-31,0 0 0,-13 0 16,13 1-16,0-1 0,0 0 15,0 13-15,0-12 0,0-1 0,0 0 16,0 0-16,0 1 0,13-1 0,0 0 16</inkml:trace>
  <inkml:trace contextRef="#ctx0" brushRef="#br0" timeOffset="17090.86">7051 3321 0,'-13'0'0,"26"0"0,-39 0 0,12 0 16,1 13-1,13 0-15,-13-13 0,26 26 16,-13-12-16,13-1 16,-13 0-16,14-13 0,-14 13 15,13 1-15,0-1 0,-13 0 16,0 0-1,0 0-15,-13 1 0,0-14 16,-1 13-16,1-13 0,0 13 16,0-13-16,0 13 0,-1-13 15,1 14-15</inkml:trace>
  <inkml:trace contextRef="#ctx0" brushRef="#br0" timeOffset="17548.86">8229 3281 0,'-14'13'16,"1"14"-1,0-14-15,13 13 0,0-13 16,-13 14-16,13-14 0,0 0 15,0 14-15,13-14 0,-13 0 0,13 0 16,-13 1-16,13-1 0,-13 0 0,14-13 16,-1 13-16,0-13 15,0 0-15,0 0 16,-13-13-16,-13 0 31,0 13-31,0 0 16,0 13-16</inkml:trace>
  <inkml:trace contextRef="#ctx0" brushRef="#br0" timeOffset="17968.8">9102 3321 0,'0'-14'0,"13"14"0,-13-13 31,13 13-31,0 0 0,1 0 16,-1 13-16,0-13 0,-13 14 0,13-14 15,1 13-15,-14 0 0,13 13 16,-13-12-16,0-1 0,13 0 0,-13 0 15,0 14-15,0-14 0,0 0 0,0 0 16,-13 1-16,13-1 0,0 0 16,0 0-16,-13 1 0</inkml:trace>
  <inkml:trace contextRef="#ctx0" brushRef="#br0" timeOffset="18087.87">9155 3545 0,'0'0'0,"0"-13"0,13 0 15,0 13-15,-13-13 0,27 13 16,-14-14-16,13 1 0,1 13 16,-1-13-16,14 0 0,-14 13 0,1-13 15</inkml:trace>
  <inkml:trace contextRef="#ctx0" brushRef="#br0" timeOffset="18551.62">10041 3268 0,'13'26'31,"-13"-13"-15,0 1-16,0-1 0,0 13 15,0-13-15,0 1 16,-13-1-16,13 13 0,-13-12 0,-1-1 16,1-13-16,13 13 0,-13 0 0,0-13 15,13 13-15,13-39 31,-13 13-31,13 0 16,0-1-16,1 1 0,-1 0 16,0-14-16,0 14 0,1 0 0,-14 0 15,13 0-15,-13-1 0,0 1 0,0 0 16,0 0-16,-13 13 0,13-14 16,-27 1-16,14 13 15,0 0-15,-1 0 0,1 0 16,0 13-16,0-13 0,13 14 15,0-1-15</inkml:trace>
  <inkml:trace contextRef="#ctx0" brushRef="#br0" timeOffset="18929.97">10861 3294 0,'0'-13'0,"-26"26"31,12-13-31,1 13 16,13 1-16,-13-1 15,13 0-15,13-13 0,-13 13 16,13 0-16,1-13 16,-1 14-16,0-14 15,0 13-15,1 0 16,-1 0-16,-13 1 16,0-1-16,13 0 0,-13 0 0,0 0 15,0 1-15,0-1 0,0 0 16,0 0-16,0 1 0,0-1 0,0 13 15,13-12-15</inkml:trace>
  <inkml:trace contextRef="#ctx0" brushRef="#br0" timeOffset="19197.16">11642 3360 0,'0'27'31,"0"-14"-31,0 0 0,0 0 0,0 1 16,-14-1-16,14 26 15,0-25-15,0-1 0,0 0 16,0 0-16</inkml:trace>
  <inkml:trace contextRef="#ctx0" brushRef="#br0" timeOffset="19435.91">11814 3466 0,'26'26'31,"-26"-12"-31,13-14 0,1 0 0,-1 0 16,0 0-16,0 0 15,0-14-15,14 14 16,-27-13-16,13 13 0,-13-13 0,13 13 16,-13-13-16,0 0 15,14 13-15,-28-14 47</inkml:trace>
  <inkml:trace contextRef="#ctx0" brushRef="#br0" timeOffset="19700.84">12991 3321 0,'27'13'15,"-27"0"1,0 0-16,13 14 15,-13-14-15,0 0 0,13 0 16,-13 1-16,0-1 16</inkml:trace>
  <inkml:trace contextRef="#ctx0" brushRef="#br0" timeOffset="19819.97">13216 3413 0,'0'13'15,"0"1"-15,0-1 0,-13 0 16,13 0-16,0 0 0</inkml:trace>
  <inkml:trace contextRef="#ctx0" brushRef="#br0" timeOffset="20735.93">7183 5847 0,'0'0'0,"0"-13"15,27 13 1,-14 0-16,53 0 0,-26-13 16,26 13-16,0 0 0,14 0 15,-1-13-15,14 13 0,-14 0 0,0-14 16,1 14-16,12 0 0,-12 0 16,-1-13-16,0 13 0,1 0 0,-14-13 15,0 13-15,-13 0 0,40 0 16,-67 0-16,1 0 0,12 0 15,-26 0-15,1 0 16,-1 0-16,-13 13 0,-13-13 16,-1 13-16,1-13 15,-13 14-15,-1-1 0,-12-13 16,-1 13-16,0 0 0</inkml:trace>
  <inkml:trace contextRef="#ctx0" brushRef="#br0" timeOffset="20978.04">7686 6072 0,'0'27'31,"0"-14"-16,0 0-15,0 0 0,0 14 16,0-14-16,0 0 16,0 0-16,0 1 0,0-1 15,13-13-15,-13 13 16</inkml:trace>
  <inkml:trace contextRef="#ctx0" brushRef="#br0" timeOffset="21136.45">8030 6072 0,'13'0'0,"-13"27"31,-13-14-31,13 0 16,0 0-16,0 1 0,-13-1 16,13 0-16,0 0 0,0 0 0</inkml:trace>
  <inkml:trace contextRef="#ctx0" brushRef="#br0" timeOffset="42876.97">7422 5292 0,'39'-14'31,"-26"14"-31,14-13 0,-14 13 16,0 0-16,1-13 0,-1 13 15,0 0-15,0 0 0,1 0 16,-1-13-16,0 26 16,0-13-16,0 13 0,1 0 15,-14 1-15,0-1 16,0 13-16,0-12 0,0-1 0,0 13 15,0-12-15,0 12 0,0-13 0,-14 14 16,14-14-16,0 13 0,0-12 16,-13-1-16,13 0 0,0 0 0,0 0 15,0 1-15,-13-1 0,13 0 16</inkml:trace>
  <inkml:trace contextRef="#ctx0" brushRef="#br0" timeOffset="43067.8">7435 5530 0,'0'-13'16,"0"26"-16,13-26 16,0-1-16,0 14 0,1 0 0,-1 0 15,0-13-15,0 13 0,14 0 16,-14 0-16,14-13 0,-1 13 0,-13 0 15,14-13-15,-1 13 0,1 0 0,-1-14 16,-13 14-16</inkml:trace>
  <inkml:trace contextRef="#ctx0" brushRef="#br0" timeOffset="43426.17">8136 5239 0,'-79'13'15,"158"-26"-15,-172 26 0,80 0 0,-13-13 16,12 13-16,1-13 0,0 14 0,0-1 16,0 0-16,-1 0 0,1 1 15,13-1-15,0 0 0,0 0 16,13-13-16,1 0 15,-1 0-15,0 0 0,0 0 0,0 0 16,1 0-16,-1-13 0,0 13 16,0 0-16,14 0 15,-14 13-15,0 1 16,-13-1 0,13 0-16,-13 0 0,0 0 0,0 1 15,0-1-15,0 0 0,0 0 0,0 1 16,0-1-16,0 0 15,0 0-15</inkml:trace>
  <inkml:trace contextRef="#ctx0" brushRef="#br0" timeOffset="44165">8467 5212 0,'-14'-13'0,"1"0"16,0 13-1,0 13 1,13 0-16,0 1 16,0-1-16,0 0 15,0 0-15,0 14 0,0-14 0,0 13 16,0-12-16,0 12 0,0-13 0,0 1 15,-13 12-15,13-13 0,0 0 16,-14 1-16,14-1 0,-13 0 0,13 0 16,-13-13-16,13 14 0,-13-14 0,13 13 15,-14-13-15,1 0 16,13-13 0,13-14-1,1 27-15,-1-13 0,0-14 0,0 14 16,14-13-16,-14 13 0,0-1 15,0-12-15,1 13 0,-1-14 16,0 14-16,-13-14 0,13 14 0,-13 0 16,0 0-16,0 0 0,-13-1 0,13 1 15,-13 0-15,13 0 16,-13 13-16,-1 0 0,1 0 16,0 0-16,0 13 15,13 0-15,0 14 16,13-27-16,-13 13 15</inkml:trace>
  <inkml:trace contextRef="#ctx0" brushRef="#br0" timeOffset="44423.78">9234 5556 0,'13'-13'16,"-26"26"-16,53-26 0,-27 13 16,0 0-16,14-13 0,-14 13 0,13 0 15,-13 0-15,14 0 0,-1 0 0,-12 0 16,-1 0-16,0 0 0,0 0 0</inkml:trace>
  <inkml:trace contextRef="#ctx0" brushRef="#br0" timeOffset="44600.88">9141 5728 0,'27'0'16,"-1"-13"-16,-12 13 15,12 0-15,0 0 0,1 0 16,-1-13-16,27 13 16,-26 0-16,-1 0 0,27 0 15,-40-13-15,1 13 0</inkml:trace>
  <inkml:trace contextRef="#ctx0" brushRef="#br0" timeOffset="46596.86">10028 5239 0,'26'0'16,"-13"0"-16,1 0 15,-1 0-15,0 0 0,0 0 0,1 0 16,-1 0-16,0 0 0,0 0 0,0 13 16,1-13-16,-14 13 0,13 0 15,0 1-15,-13-1 0,0 0 0,13 0 16,-13 1-16,0 12 0,0-13 0,-13 14 16,13-14-16,0 13 0,0-12 15,0 12-15,-13-13 0,13 1 0,0 12 16,-13-13-16,13 0 0,0 1 15,0-1-15,0 0 0,0 0 0,0 1 16,0-1 0,0 0-16</inkml:trace>
  <inkml:trace contextRef="#ctx0" brushRef="#br0" timeOffset="46787.34">10054 5569 0,'27'0'31,"-14"0"-31,13 0 16,-12 0-16,-1 0 0,0 0 0,0 0 16,14 0-16,-14-13 0,27 13 15,-14 0-15,-13 0 0,14-13 16,-14 13-16,13 0 0,-12 0 0</inkml:trace>
  <inkml:trace contextRef="#ctx0" brushRef="#br0" timeOffset="47124.03">10570 5252 0,'0'0'0,"27"0"0,-14 0 0,0 0 16,-13 13-16,13-13 0,-13 13 0,13-13 16,-13 14-16,0-1 0,0 0 15,-13 0-15,13 1 0,-13-1 0,-13 13 16,12 1-16,-12-14 0,-1 13 0,14-12 16,0 12-16,0-26 0,0 13 15,13 1-15,-14-1 0,1 0 16,13 0-16,0 0 15,13-13 1,1 0-16,-1 14 0,13-14 16,-13 0-16,1 0 0,12 0 15,-13-14-15,106-12 32,-105 26-32</inkml:trace>
  <inkml:trace contextRef="#ctx0" brushRef="#br0" timeOffset="47271.91">10861 5450 0,'0'-13'47</inkml:trace>
  <inkml:trace contextRef="#ctx0" brushRef="#br0" timeOffset="47700.97">11430 5239 0,'0'0'0,"-26"-13"0,12 13 16,-12 13-16,13-13 0,-1 0 16,-12 13-16,13-13 0,-1 13 0,-12-13 15,13 13-15,0-13 0,13 14 16,-14-14-16,14 13 0,0 13 15,0-12 1,14-14-16,-14 13 0,0 0 16,13 0-16,-13 1 15,13-1-15,-13 0 16,-13 0-16,0 0 16,-1 1-16,1-14 0,0 13 0,0 0 15,-1-13-15,1 13 0,-13 1 0,12-14 16,1 13-16,-13-13 15,13 13-15,-1-13 0,1 0 0,13 13 0,-13-13 16,0 0 0</inkml:trace>
  <inkml:trace contextRef="#ctx0" brushRef="#br0" timeOffset="48144.78">11774 5384 0,'0'0'16,"-26"14"-1,12-1-15,-12 0 0,-1 0 16,-12 14-16,12-14 0,-12 13 16,-1 1-16,0 12 0,-13-12 0,14-1 15,-28 14-15,41-13 16,-1-14-16,1 0 0,0 0 0,12 0 16,1 1-16,0-14 0,13 13 15</inkml:trace>
  <inkml:trace contextRef="#ctx0" brushRef="#br0" timeOffset="48364.78">11933 5437 0,'-14'13'0,"1"1"0,0-1 0,-13 0 15,-1 0-15,1 14 0,-14-14 16,0 13-16,1 1 0,-1 13 0,0-14 16,1 1-16,-1-1 0,0 0 15,-26 14-15,40-13 16,-41-1-16,41-13 0</inkml:trace>
  <inkml:trace contextRef="#ctx0" brushRef="#br0" timeOffset="49564.94">9194 5556 0,'40'-13'47,"-27"13"-47,0 0 15,14 0-15,-14-13 0,0 13 0,1 0 16,-1 0-16,0 0 0,0 0 15,0 0-15,1 0 0,-1 13 16</inkml:trace>
  <inkml:trace contextRef="#ctx0" brushRef="#br0" timeOffset="49803.14">9221 5768 0,'26'0'0,"1"0"15</inkml:trace>
  <inkml:trace contextRef="#ctx0" brushRef="#br0" timeOffset="65780.25">12726 5371 0</inkml:trace>
  <inkml:trace contextRef="#ctx0" brushRef="#br0" timeOffset="68657.25">12316 4855 0,'-39'0'15,"65"0"17,-13 0-17,1 13-15,-1-13 0,13 0 0,-13 0 16,14 0-16,-14 0 0,14 0 0,-14 0 15,13 0-15,-12 0 0,-1 0 16,0 0-16,0 0 0,0 0 16,1 0-16,-1 0 15,0 0-15,0 14 16,1-1 0,-14 0-16,0 0 15,0 0-15,0 1 0,0-1 16,0 13-16,0 1 0,0-1 15,0 1-15,13 12 0,-13 1 0,0-13 0,13 12 16,-13 1-16,0 0 0,0-1 16,13 1-16,-13-13 0,0-1 15,0 0-15,0 1 0,0-1 0,0 1 16,0-1-16,0 1 0,14-1 0,-14-13 16,0 14-16,0-1 0,0-12 15,13-1-15,-13 13 0,0-13 0,0 1 16,0-1-16,13 0 0,-13 0 0,0 1 15,0-1 1,13-13-16,-13 13 0,0 0 16,0 1-16,13-1 31,-13 0 0,-26-26 16,13 13-47,0 0 16,-1 0-16,-12 0 0,13 0 0,-1 0 15,-12 0-15,-1 0 0,1 0 0,0 0 16,-1 13-16,-13-13 0,14 0 0,-1 0 16,1 13-16,-14-13 0,14 0 15,-1 13-15,-12-13 0,12 0 0,14 0 16,-13 14-16,12-14 0,-12 0 0,13 0 15,-1 0-15,1 0 0,0 0 16,0 13-16,0-13 0,-1 0 16,1 0-16,0 0 0,0 0 15,-1 0 1,1 0 0,0 0-1,0 0 16,-1 0 16,41 0 172,-14 0-203,0-13-1,1 13 48,-1-14 109,-26 1 265,13 0-421</inkml:trace>
  <inkml:trace contextRef="#ctx0" brushRef="#br0" timeOffset="70740.89">13666 3532 0,'13'0'32,"-13"-13"-32,0 0 15,0-1-15,13 14 16,-13-13-16,0 0 15,0 0-15,0 0 0,0-1 16,0 1-16,0 0 16,0-14-16,0 14 0,0 0 15,-13-13-15,13-1 0,0 1 0,-13-1 16,13 1-16,-14-1 0,14-12 0,-13 12 16,0 1-16,-13-14 0,12 13 15,1 1-15,-13 13 0,-1-14 0,-12 14 16,12-13-16,-13 12 0,14 1 0,-14 0 15,1 0-15,-1 0 0,0-1 16,0 14-16,14 0 0,0 0 0,-1 0 16,1 0-16,-14 0 0,0 14 15,1-14-15,-1 13 0,0 0 0,1 0 16,-1 14-16,13-14 0,-12 13 16,-1-12-16,14 12 0,-14 0 0,13 1 15,1-1-15,-14 14 0,14-13 0,13 12 16,-14 1-16,1 0 0,-1 13 15,1-14-15,12 14 0,1 0 0,-13 0 16,13 0-16,-1 0 0,1 0 0,0 0 16,0 0-16,13-1 0,-14 1 0,14-13 15,0 13-15,0-13 0,0 13 16,14-14-16,-14 1 0,13 13 0,0 0 16,14-14-16,-1 1 0,0 0 15,14 0-15,0-1 0,0-12 0,12 12 16,-12-12-16,13-14 0,0 14 15,-13-14-15,-1 0 0,1 0 0,13 0 16,-13 1-16,-14-14 0,14 0 16,-14 0-16,1 0 0,12 0 0,-12-14 15,13 14-15,-1-13 0,1 0 0,0 0 16,-1 0-16,-12-1 0,12 1 0,-12-13 16,13 12-16,-14 1 0,1-13 15,-1-1-15,0 14 0,1-13 16,-1-1-16,1 1 0,-1-1 0,1 1 15,-1-1-15,-13 1 0,14-1 0,-14 1 16,0-14-16,14 14 0,-27-14 16,13 14-16,-13-14 0,13 0 0,-13 1 15,0-1-15,0 0 0,-13 0 0,13 1 16,-13-1-16,0 0 0,-1 1 16,14-1-16,-13 0 0,0 1 0,0-1 15,-1 0-15,1 14 0,-13-1 16,12 1-16,14-1 0,-13 14 0,0-13 15,0 13-15,0-1 0,-1 1 0,1 0 16,0 0-16,0 13 0,13-14 0,-14 14 16,1 0-16,0 0 15,0 14-15,13-1 16</inkml:trace>
  <inkml:trace contextRef="#ctx0" brushRef="#br0" timeOffset="71053.23">14473 3228 0,'13'-13'16,"-26"52"15,-1-25-31,-25 52 0,-1 13 16,14-39-16,-1-1 0,1 1 15,-1 0-15,14-14 0,-13 14 16,12-14-16,-12 1 0,13-1 16,-1 1-16,1-1 0,0-12 0,0-1 0,13 0 15,-13 0-15,-1 0 0,14 1 16</inkml:trace>
  <inkml:trace contextRef="#ctx0" brushRef="#br0" timeOffset="71956.42">13944 3268 0,'52'13'0,"-38"-13"0,52 26 16,-40-12-16,27 12 0,-13 14 15,13-14-15,0 14 0,0-14 0,-14 14 16,14 0-16,-13-14 0,0 14 16,-1-14-16,1 1 0,-14-1 15,1 1-15,-1-14 0,1 13 0,13 1 16,-27-14-16,0 0 15,0 0-15,-13 1 0,13-14 0,-13 13 0,14-13 16,-1 13-16,0-13 16,-13 13-1,13-13-15,-13 14 16,14-14 15,-28 13 125,1-13-140,0 13 0,0-13-1,-1 0 1,1 0 0,0 0-1,0 0-15,0 0 31,-1 0-15,14-13 15,14 0 188</inkml:trace>
  <inkml:trace contextRef="#ctx0" brushRef="#br0" timeOffset="79535.19">14407 5173 0,'-14'0'32,"54"0"-17,-27 13 1,0 0-16,1 0 16,-14 1-16,0-1 15,0 0-15,-14 0 0,14 0 16,-13 1-16,0-1 0,0 0 0,0 0 15,-1 1-15,1-1 16,0 0 0,26-13-1,0 13-15,1-13 16,-1 0-16,0 14 0,0-14 0,0 13 16,1-13-16,-1 0 0,-13 13 15,13-13-15,-13 13 0,13-13 0,-13 13 16,-13 1-1,0-14-15,0 13 0,-1-13 16,1 0-16,-13 13 0,13-13 0,-1 0 16,-12 0-16,13 0 0,-1 0 15,-12 13-15,13-13 0,0 0 0,-1 0 16,-12 0-16,13 0 16</inkml:trace>
  <inkml:trace contextRef="#ctx0" brushRef="#br0" timeOffset="79963">14777 5199 0,'-40'-13'0,"80"26"0,-93-26 0,40 13 15,0 0-15,-1 0 0,1 0 16,0 13-16,0-13 0,-1 13 0,1-13 16,0 0-16,0 14 0,13-1 15,-13-13-15,13 13 0,13 0 16,0-13-1,0 13-15,0-13 0,1 0 0,-1 0 16,0 0-16,0 0 0,1 0 16,-1 0-16,0 0 0,0 0 15,1 0-15,-1 0 0,0 14 0,0-14 16,-13 13 0,13 0-16,1 0 0,-14 1 15,0-1-15,0 0 0,0 0 16,0 1-16,0-1 15,0 0-15,13 0 0,-13 0 16,0 1-16,0-1 16</inkml:trace>
  <inkml:trace contextRef="#ctx0" brushRef="#br0" timeOffset="80781.02">15240 5226 0,'0'-14'31,"0"1"-15,-13 13-16,0-13 16,-1 13-16,1 0 15,0 0-15,13-13 16,-13 13-16,-1 0 0,1 0 15,0 0-15,0 0 16,-1 13 0,14 13-1,14-26-15,-14 14 0,0-1 16,0 0-16,0 0 0,0 0 0,0 1 16,0-1-16,0 0 0,0 0 0,-14 1 15,14-1-15,-13 0 0,13 0 16,-13 1-16,0-14 0,13 13 15,-13-13-15,13 13 0,-14-13 16,1 0-16,26-13 47,1 0-47,-1-1 0,0 14 0,0-13 16,0 0-16,1 0 0,-1-1 0,0 1 15,0 0-15,1 0 0,-1-1 16,-13 1-16,13 0 0,-13 0 0,0 0 15,0-1-15,-13 14 0,13-13 0,0 0 16,-13 0-16,-1-1 0,1 1 16,0 13-16,0-13 0,-1 13 15,1-13-15,0 13 16,0 0-16,0 13 16,-1-13-16,14 13 0,-13 0 15,0 1-15,13-1 0,-13 0 16,13 0-16</inkml:trace>
  <inkml:trace contextRef="#ctx0" brushRef="#br0" timeOffset="81177.9">13970 5834 0,'0'0'16,"40"-13"-16,-27 13 15,13-13-15,1 13 0,13-14 16,12 14-16,-12 0 0,13-13 0,0 13 15,0-13-15,0 13 0,0-13 16,0 13-16,0 0 0,13-14 16,-27 14-16,14 0 0,-13-13 0,0 13 15,-14 0-15,14 0 0,-27 0 0,13-13 16,-12 13-16,12 0 0,-13 0 0,1 0 16,-1 0-16,0 0 15,-26 13 1,13 0-16,-27-13 15,14 14-15</inkml:trace>
  <inkml:trace contextRef="#ctx0" brushRef="#br0" timeOffset="81416.78">14605 5874 0,'-13'0'15,"0"13"1,13 0-16,0 0 16,0 14-16,-14-14 0,14 0 0,0 14 15,-13-1-15,13-13 0,-13 14 0,13-1 16,-13-12-16,13 12 0,0-13 16,0 1-16,-14-1 0,14 0 0,0 0 15,14 0-15,-1 1 16</inkml:trace>
  <inkml:trace contextRef="#ctx0" brushRef="#br0" timeOffset="81713.19">14764 6059 0,'-13'0'16,"-14"26"15,27-12-31,0-1 0,0 0 15,13-13-15,1 13 0,-1 1 16,0-14-16,0 0 16,0 0-16,1 0 0,-1 0 0,0-14 15,0 14-15,1 0 0,-1-13 0,0 0 16,0 0-16,-13-1 16,0 1-16,0 0 0,0 0 15,-13-1-15,13 1 0,-13 0 16,0 13-16,13-13 0,-14 13 0,1-13 15,0 13-15,13-14 0,-13 14 16,-1 0-16,1-13 16,0 13-16</inkml:trace>
  <inkml:trace contextRef="#ctx0" brushRef="#br0" timeOffset="82008.78">15571 5609 0,'0'0'0,"39"-13"32,-25 0-32,12 13 0,-13 0 0,14 0 15,-14 0-15,13 0 0,1-14 0,-14 14 16,0 0-16,1 0 0,-1 0 16,13 14-16</inkml:trace>
  <inkml:trace contextRef="#ctx0" brushRef="#br0" timeOffset="82181.75">15571 5741 0,'0'0'15,"0"14"-15,13-1 16,0-13 0,0 0-16,1 0 0,-1 0 15,0 0-15,0 0 0,1 0 0,12-13 16,-13 13-16,14 0 0,-14 0 15,13 0-15,-12-14 0,-1 14 0</inkml:trace>
  <inkml:trace contextRef="#ctx0" brushRef="#br0" timeOffset="82671.9">16603 5345 0,'26'-14'0,"-13"14"16,1 0-16,-1 14 0,0-14 0,0 0 15,-13 13-15,13-13 0,-13 13 16,0 0-16,0 1 16,-13-14-16,13 13 0,-13 0 15,13 0-15,-13 0 16,26 1-1,-13-1-15,13 0 16,-13 0 0,13 1-16,-13-1 15,0 0-15,-13-13 0,13 13 16,-13-13-16,0 13 0,-14 1 16,14-14-16,0 0 0,0 13 15,-1-13-15,1 0 0,13 13 0,-13-13 16,0 0-16</inkml:trace>
  <inkml:trace contextRef="#ctx0" brushRef="#br0" timeOffset="83027.16">16999 5331 0,'-26'0'15,"52"0"-15,-65 0 0,26 0 0,-1 0 16,1 0-16,0 14 0,0-14 16,-1 13-16,1-13 0,0 13 0,0-13 15,13 13-15,-13-13 0,13 14 16,0-1 0,13-13-16,0 0 15,13 0 1,-26-13-16,27 13 15,-14 0 1,0 13-16,-13 0 16,14 0-16,-14 0 0,0 1 15,0-1-15,-14 0 0,14 0 16,0 1-16,0-1 0,0 0 0,0 0 16,-13 0-16,13 1 0,0-1 15,0 0-15</inkml:trace>
  <inkml:trace contextRef="#ctx0" brushRef="#br0" timeOffset="83163.86">17145 5543 0,'0'-13'0</inkml:trace>
  <inkml:trace contextRef="#ctx0" brushRef="#br0" timeOffset="83952.9">17621 5345 0,'-13'-14'16,"0"14"0,0-13-16,-1 13 15,1 0 1,0 0-16,13-13 16,-13 13-1,-1 13 1,14 0-1,0 1-15,0-1 16,0 0-16,0 0 0,-13-13 0,13 14 16,0-1-16,0 0 0,0 0 15,-13 0-15,0 1 0,13-1 16,-14 0-16,1 0 16,0-13-16,13 14 0,-13-14 0,0 13 15,39-40 32,-13 27-47,0-13 0,1 13 16,-1-13-16,0 0 0,0-1 0,1 14 15,-1-13-15,0 0 0,-13 0 0,13 0 16,1-1-16,-14 1 16,0 0-16,0 0 15,-14-1-15,1 14 16,0 0-1,0 0 1,-1 0-16,14 14 0,-13-14 0,0 13 16</inkml:trace>
  <inkml:trace contextRef="#ctx0" brushRef="#br0" timeOffset="86779.13">13110 5834 0,'40'-13'16,"-27"13"-16,0 0 0,0 0 16,1-13-16,12 13 0,-13 0 0,1 0 15,-1-14-15,0 14 0</inkml:trace>
  <inkml:trace contextRef="#ctx0" brushRef="#br0" timeOffset="86951.99">13150 5940 0,'13'13'15,"0"-13"-15,0 0 0,1 0 16,-1 0-16,0 0 0,0 0 0,1 0 15,-1 0-15,0-13 0,0 13 16,1 0-16,-1 0 16</inkml:trace>
  <inkml:trace contextRef="#ctx0" brushRef="#br0" timeOffset="88128.05">13705 4286 0,'14'-13'31</inkml:trace>
  <inkml:trace contextRef="#ctx0" brushRef="#br0" timeOffset="88277.68">13719 4273 0,'0'-13'16</inkml:trace>
  <inkml:trace contextRef="#ctx0" brushRef="#br0" timeOffset="89361.86">16867 5808 0,'-13'0'16,"53"13"15,-27-13-31,13 0 0,1 0 0,12 0 16,14 0-16,-13 0 0,0 0 15,13-13-15,-14 13 0,-12 0 0,-1 0 16,14 0-16,-14 0 0,1 0 0,-1 0 16,1-14-16,-14 14 0,13 0 15,-12 0-15,-1 0 0,0 0 16,-39 14 0,12-14-1,-12 0-15,0 13 0,-14-13 0,-13 13 16,13-13-16,-13 13 0,14 1 0,-14-14 15,13 13-15,0-13 0,1 13 16,12-13-16,1 0 0,13 0 16,-1 0-16,1 13 0,0-13 0,0 0 15,39 13 17,1-13-32,-14 0 0,26 0 0,-12-13 15,13 13-15,13 0 0,-14 0 0,1-13 16,0 13-16,-1 0 0,14 0 15,-13-13-15,0 13 0,-14 0 16,14 0-16,-14-13 0,1 13 0,-14 0 16,13 0-16,-12 0 0,-1 0 0,0 0 15,0 0-15,0 0 0,-52 0 47,26 0-31,-1 0-16,1 0 0,0 13 15,0-13-15,-1 0 16,1 0-16,0 0 31</inkml:trace>
  <inkml:trace contextRef="#ctx0" brushRef="#br0" timeOffset="90192.9">17158 4352 0,'0'27'32,"0"-1"-32,0-12 15,0-1-15,-13 0 16,13 13-16,-13-12 0,13 12 0,-13-13 0,13 14 15,0-14-15,-14 0 0,14 1 0,0-1 16,0 0-16,-13-13 16,13 13-16,0 0 0,0 1 15,13-14-15,-13 13 0,14-13 16,-1 0-16,0 0 16,0 0-16,0 0 0,14 0 0,-14 0 15,0 0-15,14 0 0,-14-13 0,14 13 16,12-14-16,-26 14 15,1 0-15,-1-13 0,0 13 0,0 0 16,-13-13-16,14 13 0</inkml:trace>
  <inkml:trace contextRef="#ctx0" brushRef="#br0" timeOffset="90364.99">17224 4551 0,'53'-27'31,"-26"27"-31,-14 0 0,13-13 16,-12 13-16,12 0 0,1-13 0,-14 13 15,13 0-15,-13-13 0,1 13 16,12-14-16</inkml:trace>
  <inkml:trace contextRef="#ctx0" brushRef="#br0" timeOffset="90504.01">17198 4299 0,'40'0'16,"-14"0"-16,-13 0 16,14 0-16,-1 0 0</inkml:trace>
  <inkml:trace contextRef="#ctx0" brushRef="#br0" timeOffset="90672.25">17793 4286 0,'-13'40'15,"0"-40"-15,0 13 16,13 0-16,-14 14 0,-12-14 0,13 14 16,-14-1-16,14 0 0,-14 1 15,14-1-15,0 1 0,-13-14 0,12 14 16,14-14-16,-13 0 0,0 0 0,0 0 15</inkml:trace>
  <inkml:trace contextRef="#ctx0" brushRef="#br0" timeOffset="90871">17489 4458 0,'13'-13'15,"0"13"1,1 13-1,-1-13-15,0 13 0,0-13 0,1 14 16,12-1-16,-13 0 0,0 0 16,1-13-16,-1 14 15,0-14-15,0 13 0,1-13 0,12 13 16,-13-13-16,1 0 0</inkml:trace>
  <inkml:trace contextRef="#ctx0" brushRef="#br0" timeOffset="91705.09">18098 4299 0,'-14'-13'16,"1"26"-16,0 1 0,0-1 16,13 0-16,-14 0 0,1 1 0,13 12 15,-13-13-15,0 14 0,13-14 16,0 0-16,0 0 0,0 14 0,0-14 15,0 0-15,13 1 0,-13-1 0,13-13 16,0 13-16,1 0 0,-1-13 16,0 14-16,0-14 0,1 0 15,12 0-15,-13-14 0,0 14 0,1 0 0,12-13 16,-13 0-16,1 0 0,-1-14 16,0 14-16,13-14 0,-12 1 15,-1-14-15,0 14 0,0-14 0,-13 14 16,14 12-16,-14-12 0,13 0 0,-13 12 15,13 1-15,-13 0 0,0 0 16,0-1-16,0 1 16,-13 40-1,13-14-15,-13 0 16,13 0-16,-14 14 0,14-14 0,-13 13 16,13-12-16,0 12 0,0-13 15,0 1-15,0-1 0,0 13 0,0-12 16,13-1-16,-13 0 0,14 0 15,-1-13-15,0 13 0,0 1 16,1-14-16,-1 0 0,0 0 0,0 0 16,0 0-16,1 0 0,-1-14 15,0 14-15,-13-13 0,13 13 0,1-13 16,-14 0-16,13 13 16,-13-13-16,0-1 15,-13 28 16,13-1-31,0 0 0,0 0 16,0 0 0,13-13-16,-13 14 15,13-14-15,0 0 16,1 0 0,-1 0-16,0 0 15,0 0-15,0 13 16,1-13-1,-1 0-15,0 0 16,0-13 0</inkml:trace>
  <inkml:trace contextRef="#ctx0" brushRef="#br0" timeOffset="92203.84">19076 4167 0,'-26'27'16,"52"-54"-16,-52 67 0,13-27 0,0 0 0,13 1 15,-14-1-15,14 13 0,0-13 0,-13 1 16,26-1-16,-13 0 0,0 0 0,0 1 16,14-1-16,-14 0 15,13-13-15,-40-13 32,14 13-17,0 0-15,0 0 0,-1 0 0,1 0 16,0 0-16,0 13 0,-14-13 15,14 0-15,0 13 0,0-13 0,-1 14 16,28-1 15,12-26-31,-13 13 0,14 0 0,-1 0 16,1 0-16,-1 0 0,1 0 0,-1 0 16,-13 0-16,14 0 0,-1 0 15,-13 0-15,1 0 0,-1 0 0,0 0 16,0 0-16,1 0 0,-1 0 0,0 0 15,-13 13-15,13-13 0,0 0 16</inkml:trace>
  <inkml:trace contextRef="#ctx0" brushRef="#br0" timeOffset="92308.06">19341 4299 0</inkml:trace>
  <inkml:trace contextRef="#ctx0" brushRef="#br0" timeOffset="92868.12">19434 4299 0,'0'27'16,"0"-14"-1,0 0-15,0 1 16,-14-14 0,14 13-16,0 0 15,14-26 32,-1 0-47,0 13 16,0 0-1,1 0-15,-1 0 16,0 0-16,0-14 16,0 14-16,1 0 15,-1-13 1,0 0-1,-13 0 1,13 13-16,-13-14 16,14 14-16,-1 14 31,-13-1-15,13 0-1,-13 0-15,0 1 0,0-1 0,0 0 16,0 0-16,0 1 0,0-1 15,-13 0-15,13 0 0,-13 0 16,-1-13-16,1 14 0,0-1 0,0 0 16,-1-13-16,1 13 0,0-13 15,0 0-15,0 14 0,-1-14 16</inkml:trace>
  <inkml:trace contextRef="#ctx0" brushRef="#br0" timeOffset="94240">20505 4207 0,'-13'-13'0,"-27"13"16,27 13-16,0 0 16,-14 0-16,14 1 0,0-1 15,0 0-15,-1 13 0,1-12 16,13-1-16,0 0 0,-13 0 0,13 1 16,13-1-16,0 0 0,-13 0 15,27-13-15,-14 14 16,0-14-16,14 0 0,-1 0 0,1 0 15,-1 0-15,1 0 0,-14-14 0,13 1 0,1 0 16,-14 0-16,0-1 0,1 1 16,-1-13-16,-13 12 0,13 1 15,-13-13-15,0 13 0,0-1 0,0 1 0,-13 0 16,13 0-16,-13-1 0,-1 1 16,1 13-16,0 0 0,-14 0 0,14-13 15,0 26-15,0-13 0,-14 0 16,14 13-16,0-13 0,0 0 0,-1 14 15,1-1-15,13 0 16,-13-13-16,26 27 0,0-27 16,-13 13-16,14-13 0,-1 0 0,13 13 15,-13-13-15,14 0 0,-14 13 16,14-13-16,-14 0 0,0 0 16,14-13-16,-14 13 0,0 0 0,0 0 0,0-13 15,1 13-15,-1 0 0,0-13 16,0 13-16,1 0 15,-14-14-15,13 14 0,0 0 32,-26 14-17,13-1 1,0 0-16,0 0 16,0 0-1,13-13 1,0 0-1,0 0-15,1-13 0,-1 13 16,0 0 0,0 0-16,-13-13 0,14 13 15,-1 13 1,-13 0 0,13-13-16,-13 14 15,13-14-15,-13 13 16,14-13-16,-1 0 15,0-13-15,0 13 0,0 0 16,-13-14-16,14 1 0,-1 0 0,0 0 16,0 0-16,1-1 0,-1-25 0,0 12 15,0-12-15,1 12 16,12-39-16,-13 26 0,0 1 16,1-1-16,-14 27 0,13-14 0,-13 14 15,13-14-15,-13 14 16,-26 40-1,12-1-15,1 1 16,0-1-16,0 14 0,-14-1 0,14-12 16,0 13-16,13-14 0,-13-13 15,13 14-15,0-14 0,0 0 0,0 0 16,0 1-16,0-1 0,0 0 16,13 0-16,0 1 0,0-14 15,1 0-15,-1 13 0,0-26 16,0 13-16,0 0 0,1 0 15,-1-14-15,0 14 0,0-13 0,1 0 16,-14 0-16,13 13 0,0-27 16,0 14-16,0 0 0,1 0 0,12-14 15,-26 14-15,13 0 0,1 26 32,-28 0-17,14 0-15,0 1 0,0-1 0,-13 0 16,13 0-16,-13 0 0,13 1 15,0-1-15,-13-13 0,13 13 16,0 0-16,0 1 0,0-1 16,0 0-16,13-13 31</inkml:trace>
  <inkml:trace contextRef="#ctx0" brushRef="#br0" timeOffset="94615.97">20955 4048 0,'159'-13'16</inkml:trace>
  <inkml:trace contextRef="#ctx0" brushRef="#br0" timeOffset="94740.35">21405 3863 0,'0'0'16,"0"-13"-16,-13 39 15,13-13 1</inkml:trace>
  <inkml:trace contextRef="#ctx0" brushRef="#br0" timeOffset="95236.72">21484 4167 0,'13'-13'0,"-26"26"0,26-39 16,1 26-16,-14-13 0,-14-1 31,1 28-15,0-14-16,13 13 15,-13 0-15,13 0 16,13-13 0,0 13-1,14-26-15,-14 13 16,0 0-1,0 0-15,1 0 0,-1 0 16,0 0-16,0 0 0,-13 13 16,0 1-1,0-1 1,0 0-16,27-13 31,-14 0-15,0-13-16,0 0 0,1-1 0,12 1 15,14-13-15,-14 13 0,-13-14 16,14 14-16,-14 0 0,0-1 16,-13 1-16,-13 0 15,0 13-15,0 0 0,-27 0 0,0 13 16,-39-13-16</inkml:trace>
  <inkml:trace contextRef="#ctx0" brushRef="#br0" timeOffset="96133.12">10292 5953 0,'40'-13'0,"-14"13"16,14 0-16,0-13 0,158-14 16,-158 27-1,0-13-15,13 13 0,-27 0 0,0-13 16,1 13-16,-14 0 0,14 0 0,-14 0 15,-13-13-15,-27 26 32,1-13-32,-14 13 0,1-13 0,-14 13 15,13-13-15,-13 13 0,0-13 16,0 14-16,0-14 0,14 13 0,12-13 16,1 13-16,-1-13 0,14 0 0,13 13 15,26-13 1,1 0-1,-1 0-15,27-13 0,-13 13 0,13-13 16,0 13-16,0-13 0,0 13 0,0-14 16,-1 1-16,-12 13 0,-13-13 15,-1 13-15,1 0 0,-1-13 0,-13 13 16,0 0-16,1 0 0,-1 0 16</inkml:trace>
  <inkml:trace contextRef="#ctx0" brushRef="#br0" timeOffset="96549.58">10755 6257 0,'14'27'16,"-14"-1"-16,0-12 16,0 12-16,13 0 0,-13 1 0,13 13 15,0-1-15,-13-12 0,13 12 16,1-12-16,-14-1 0,13-12 0,-13 12 16,13-13-16,-13 1 0,13 12 0,-13-13 15,14 0-15,-14 1 16,0-1-16,0 0 15</inkml:trace>
  <inkml:trace contextRef="#ctx0" brushRef="#br0" timeOffset="96856.32">10702 6681 0,'-13'39'16,"26"-39"-16,-13 14 15,0-1-15,14 0 0,-14 0 16,13 1-16,0-1 0,-13 0 0,13-13 16,1 13-16,-1 0 0,0-13 15,0 0-15,0 0 0,1 0 16,-1-13-16,0 13 0,0 0 0,1-13 15,-1 0-15,0 13 0,0-13 0,-13-1 16,14 1-16,-1 0 0,0 0 16,0-1-16,-13 1 0,0 0 0,13 0 15,1 0-15,-14-1 0</inkml:trace>
  <inkml:trace contextRef="#ctx0" brushRef="#br0" timeOffset="97364.9">11112 7183 0,'0'0'0,"0"27"31,0-14-31,0 14 0,0-14 15,0 13-15,0-13 0,0 14 16,0-14-16,0 14 0,0-14 16,0 0-16,0 0 0,0 1 0,0-1 15,-13 0-15,13 0 0,13 0 16,-13 1-16</inkml:trace>
  <inkml:trace contextRef="#ctx0" brushRef="#br0" timeOffset="97516.55">11033 7104 0</inkml:trace>
  <inkml:trace contextRef="#ctx0" brushRef="#br0" timeOffset="97875.06">11258 7197 0,'0'0'0,"0"26"0,0-13 0,0 1 0,0-1 15,0 0-15,0 0 0,0 0 0,0 1 16,0-1-16,0 0 0,0 0 16,0 1-16,0-1 0,0 0 15,26-26 17,-12 0-17,-1-1-15,0 14 16,0-13-16,1 13 15,-1 0-15,0 0 16,0 0-16,1 13 16,-1 1-1,0-1 1,0 0 0</inkml:trace>
  <inkml:trace contextRef="#ctx0" brushRef="#br0" timeOffset="98759.13">11734 7117 0,'0'0'16,"-13"14"-16,0-14 15,13 13-15,-13 0 16,13 0-16,0 0 0,-14 1 0,14 12 15,0-13-15,0 1 0,0-1 0,0 0 16,0 0-16,14 0 0,-14 1 16,13-1-16,0 0 0,0 0 0,1-13 15,-1 14-15,0-14 0,0 0 0,0 0 16,1-14-16,-1 14 0,0-13 16,14 13-16,-14-13 0,-13 0 15,13-1-15,0-12 0,0 13 0,1-14 16,-14 1-16,0-1 0,13-12 0,-13 12 15,13 1-15,-13-1 0,0 1 16,0-1-16,0 14 0,0 0 0,13 0 16,-13 0-16,0-1 0,0 1 0,-13 40 31,0-14-15,13 0-16,0 0 0,-13 14 0,13-1 15,0-13-15,0 14 0,0-14 0,0 14 16,0-14-16,13 0 15,-13 13-15,13-12 0,0-1 0,1-13 16,-14 13-16,13-13 0,0 13 0,0-13 16,1 0-16,-1 0 0,0-13 15,0 13-15,0-13 0,1 13 16,-14-13-16,13 13 0,-13-14 0,13 1 16,-13 40 46,0-14-46,13-13-1,1 0-15,-1-13 16,0 13-16,0-14 16,1 14-1,-1-13 1,0 26-1,0 1 1,0-1 0,1-13 15,-1 0-31,0 0 0,0 0 16,-13-13-16,14 13 0</inkml:trace>
  <inkml:trace contextRef="#ctx0" brushRef="#br0" timeOffset="99408.74">12502 7025 0,'-14'13'16,"28"-26"-16,-41 26 0,14-13 0,13 13 0,-13-13 16,-1 13-16,1 1 15,0-1-15,13 0 0,-13 0 0,13 1 16,-14-1-16,14 0 0,0 0 15,0 0-15,0 1 0,14-14 16,-1 0-16,-13 13 16,13-13-16,0 0 0,1 0 0,-1 0 15,0-13-15,14 13 0,-1-14 16,0 1-16,-12 0 0,-1 0 16,0 0-16,14-14 0,-14 1 0,0-1 15,0 1-15,1-14 0,-1 14 0,-13-14 16,13 13-16,-13 1 0,13 13 15,-13-14-15,0 14 0,0 0 0,0 0 16,0-1-16,13 14 0,-26-13 16,0 26-1,0 1-15,13-1 16,-13 0-16,13 0 0,-14 0 16,14 1-16,0-1 0,-13 13 0,13-12 15,0-1-15,0 13 0,0-12 16,13-1-16,1 0 0,-1 0 15,0 0-15,0-13 0,0 0 16,1 0-16,-1 0 0,0 14 0,0-14 16,1 0-16,-14 13 15,13-13-15,-13 13 0,13-13 16,0 13-16,-13 1 0,14-1 16,-14 0-16,13 0 15</inkml:trace>
  <inkml:trace contextRef="#ctx0" brushRef="#br0" timeOffset="99515.43">12951 6906 0,'-13'-14'31</inkml:trace>
  <inkml:trace contextRef="#ctx0" brushRef="#br0" timeOffset="99979.75">13031 6919 0,'13'13'31,"-13"0"-31,0 1 15,13-14-15,-13 13 0,0 0 16,0 0-16,0 0 0,0 1 16,0-1-1,0 0 1,27-26 31,-14 0-32,0 13-15,0 0 0,1 0 16,-1-14-16,0 14 0,0-13 0,0 13 16,1-13-16,-1 13 0,13 0 15,-12-13-15,-1 13 0,-13-13 0</inkml:trace>
  <inkml:trace contextRef="#ctx0" brushRef="#br0" timeOffset="100212.87">13322 6919 0,'0'0'0,"-13"13"31,13 0-15,0 1-16,0-1 0,-14-13 16,14 26-16,-13-13 0,13 1 0,-13-1 15,13 13-15,-13-12 0,13-1 16,-14 0-16,1 0 0,0 1 16,13-1-16,0 0 0,-13-13 15,39-26 16,-13 12-31,1 1 0,12 0 16,-13 0-16,1-1 16,-1 14-16,-13-13 0,13 13 15</inkml:trace>
  <inkml:trace contextRef="#ctx0" brushRef="#br0" timeOffset="101444.85">13877 6892 0,'-26'14'16,"13"12"0,-1-13-16,14 1 0,-13-1 15,13 26-15,0-25 16,27 12-1,-1-26-15,1 0 16,12 0-16,-25-13 16,12 13-16,-13-13 0,0-1 15,1 1-15,-14 0 0,13 0 16,0 0-16,-13-14 0,0 14 0,0 0 0,0-1 16,0 1-16,0 0 0,-13-14 15,0 27-15,13-13 0,-14 13 16,1 0-16,0 0 0,0 0 15,0 13-15,-1-13 0,1 14 0,0-1 16,-14 0-16,27 0 16,-13-13-16,13 14 0,-13-1 15,13 0-15,0 0 16,13-13-16,-13 14 0,13-14 0,1 0 16,-14 13-16,13-13 0,0 0 15,0 0-15,14 0 0,-14 0 0,0 0 16,14-13-16,-14 13 0,0-14 15,0 14-15,1 0 0,-1-13 16,0 13-16,0 0 0,-13-13 0,14 13 16,-1 0-16,-13-13 0,13 13 15,0-14 1,-13 28 0,13-1-1,-13 0 1,0 0-1,0 1-15,0-1 16,14-13 0,-1 0-16,0 0 15,0 0-15,1 0 16,-1 0 0,0 0-1,0 0-15,1 0 16,-14 13-16,13-13 0,0-13 15,0 13 1,0 0-16,1-13 0,-1 13 16,0-14-16,-13 1 0,13 0 0,1 0 15,-1-1-15,-13-12 0,13 13 16,0-14-16,-13-12 0,13 12 16,1 1-16,-14-1 0,13 1 0,-13-1 15,0 14-15,13 0 0,-13 0 0,0-1 16,0 1-16,-13 40 15,13-14 1,-13 13-16,13-12 0,-14 12 16,14 0-16,-13 1 0,13-1 15,0-12-15,0 12 0,0-13 0,0 0 16,0 1-16,13-1 0,-13 0 0,0 0 16,14-13-16,-1 14 15,0-14-15,0-14 0,1 14 16,-1-13-16,0 13 0,0-13 0,-13 0 15,14-1-15,-1 1 0,0 0 16,-13 0-16,13 13 0,-13-13 16,13 13-16,-13-14 0,14 28 15,-28 12 1,14-13-16,0 0 16,0 1-16,0-1 0,0 0 15,0 0-15,0 1 16,-13-1-1</inkml:trace>
  <inkml:trace contextRef="#ctx0" brushRef="#br0" timeOffset="101635.04">14314 6747 0,'26'0'31,"-12"0"-15,-1 0-16,0 0 0,0 0 15</inkml:trace>
  <inkml:trace contextRef="#ctx0" brushRef="#br0" timeOffset="102078.45">14698 6615 0,'0'0'16,"-27"13"-16,27 0 0,-13 0 16,0 1-16,13-1 0,-14 13 0,1-13 15,13 14-15,-13-1 0,0-12 0,13 12 16,-13 0-16,13-12 0,-14-1 15,14 13-15,0-12 0,0-1 16,0 0-16,0 0 0</inkml:trace>
  <inkml:trace contextRef="#ctx0" brushRef="#br0" timeOffset="102236.74">14830 6853 0,'-27'13'16,"27"0"-16,-13 0 16,0 1-1,13-1-15,-13 0 16</inkml:trace>
  <inkml:trace contextRef="#ctx0" brushRef="#br0" timeOffset="102396.96">14790 6800 0,'0'-13'0,"0"26"0,-13-26 16</inkml:trace>
  <inkml:trace contextRef="#ctx0" brushRef="#br0" timeOffset="102837">14870 6866 0,'-14'-13'31,"1"26"-15,0-13-1,39 0 32,-12 0-47,-1 13 16,0-13-1,0 13 1,-13 1 0,0-1-1,-13-13-15,13 13 16,26-39 15,-12 26-31,-1-14 16,0 1-16,-13 0 0,27 0 0,-14-1 15,0 1-15,0 0 0,1 0 0,-14 0 16,13 13-16,-13-14 0</inkml:trace>
  <inkml:trace contextRef="#ctx0" brushRef="#br0" timeOffset="103411.08">11840 7554 0,'119'-40'31,"-53"14"-31,0 12 0,1-12 15,12 0-15,27-1 0,0 1 0,-1-1 16,-12 14-16,13-14 0,-27 1 16,14 13-16,-14 0 0,14-14 0,-14 14 15,1 0-15,-14-1 0,0 1 0,-13 0 16,-13 13-16,-1-13 0,-12 13 16,-14 0-16,13 0 0,-12 0 15,-54 13 1</inkml:trace>
  <inkml:trace contextRef="#ctx0" brushRef="#br0" timeOffset="103675.89">11906 7488 0,'13'0'31,"27"-14"-31,0 14 0,26-13 0,13 0 15,-12 0-15,25 0 0,1 13 16,-14-14-16,14 1 0,-14 0 0,0 0 16,1 13-16,-1-14 0,-13 14 15,-13-13-15,0 13 0,-13 0 16,0-13-16,-14 13 0,0 0 0,-12 0 16,-1 0-16,0-13 0,0 13 0,1 0 15</inkml:trace>
  <inkml:trace contextRef="#ctx0" brushRef="#br0" timeOffset="107734.74">18481 4723 0,'66'0'0,"-26"0"0,13 0 0,13-13 15,13 13-15,1 0 0,12 0 16,14 0-16,0-14 0,13 14 0,27 0 15,-27-13-15,-13 13 0,-1 0 0,1 0 16,26-13-16,-26 13 0,-13 0 16,0 0-16,-14 0 0,-26 0 15,13 0-15,-40 0 0,14 0 0,-27 13 16,1-13-16</inkml:trace>
  <inkml:trace contextRef="#ctx0" brushRef="#br0" timeOffset="108024.89">18865 4802 0,'251'-13'31,"-171"13"-31,12 0 0,14-13 0,-13 13 16,12 0-16,-12 13 0,0-13 0,-1 0 15,14 0-15,-13 0 0,-14 0 16,14 0-16,-14 0 0,-26 0 0,0 0 16,0 0-16,-14 0 0,-12 0 0,-1 0 15,1 0-15,-14 0 0,0 0 16,1 0-16,-1 0 0,0-13 0,0 13 16</inkml:trace>
  <inkml:trace contextRef="#ctx0" brushRef="#br0" timeOffset="109280.8">16113 5358 0,'13'0'16,"27"66"-1,-40-40-15,13 14 16,-13 0-16,0-1 0,0 1 0,-13 13 16,13-13-16,0 13 0,-13-14 15,13 1-15,0 0 0,-13-14 16,13 1-16,0-1 0,0-13 0,0 14 16,-14-14-16,14 0 0,0 0 0,0 1 15,0-1 1</inkml:trace>
  <inkml:trace contextRef="#ctx0" brushRef="#br0" timeOffset="109816.9">15954 5226 0,'0'0'0,"172"-27"16,-119 27-16,27 0 0,-1 0 16,14 0-16,-1 0 0,14-13 0,-13 13 15,26 0-15,-13 0 0,-1 0 16,41 0-16,-14 0 0,-26 0 16,0-13-16,-14 13 0,1 0 0,0 0 0,-14-14 15,0 14-15,-26 0 0,-13 0 16,0-13-16,-14 13 0,1 0 0,-14 0 15,0 0-15,0 0 0,1 0 0,-1 13 16,0-13-16,0 14 16,-13-1-16,0 13 15,0-12-15,0-1 0,0 13 16,0 1-16,0 12 0,0 1 0,0 0 16,13-1-16,-13 14 0,0-13 15,14 13-15,-14-13 0,0 13 0,13-14 16,-13 1-16,13 0 0,-13-1 0,0 1 15,13 0-15,-13-14 0,0 1 16,0-1-16,0-13 0,0 14 0,0-14 16,0 0-16,-13 14 0,0-14 0,0 0 15,-1 0-15,-25 1 0,12-1 16,-12 0-16,-14-13 0,13 13 16,-26-13-16,13 0 0,0 0 0,-26 0 15,-1 13-15,1-13 0,0 0 0,-14 0 16,0 0-16,14 0 0,0 0 15,-1-13-15,27 26 0,0-13 0,0 0 16,27 0-16,0 0 0</inkml:trace>
  <inkml:trace contextRef="#ctx0" brushRef="#br0" timeOffset="111143.67">17251 6019 0,'0'-13'0,"0"39"15,0-12 1,0 12-16,0-13 0,-13 14 0,13 13 16,-14-1-16,14 14 0,-13-13 0,13 0 15,-13 26-15,0-13 0,-14 0 16,14-1-16,0 1 0,-14 0 16,1 0-16,-1 0 0,1 0 0,-1 0 15,-12-13-15,12 13 0,-12-1 0,-1 1 16,-13-13-16,0 13 0,0 0 15,0-13-15,0-1 0,-13 14 0,0-13 16,-13 0-16,13-1 0,-1-12 0,-25 12 16,12 14-16,-12-26 0,12-1 15,1 1-15,-14 12 0,-12-12 0,12-1 16,14 1-16,-27-1 0,13 1 0,-13-1 16,1-13-16,-1 14 0,13-14 15,-26 14-15,40-14 0,-14 0 0,-26 13 16,0-12-16,0 12 0,26-13 15,-26 1-15,0-1 0,0 0 0,0 13 16,0-12-16,26-1 0,-26 0 0,-13 0 16,13 1-16,26-14 0,-39 13 15,39-13-15,-12 13 0,-14 0 0,-14-13 16,41 14-16,-41-14 0,41 13 16,-14-13-16,0 13 0,-26-13 0,26 0 15,13 13-15,-12-13 0,-1 0 0,13 0 16,-13 0-16,0 0 0,1 0 0,12 0 15,-13-13-15,14 13 0,-14 0 0,13 0 16,1-13-16,-1 13 16,0 0-16,1-13 0,-1 13 0,0 0 15,14-14-15,-13 14 0,12-13 0,-12 13 16,12-13-16,1 13 0,-1-13 16,1 13-16,0-14 0,13 1 0,-14 13 15,1-13-15,13 0 0,-14 13 0,14-14 16,0 1-16,13 0 0,0 0 0,0 13 15,0-13-15,0-1 0,0 1 16,1 0-16,-1 0 0,0-1 0,0-12 16,0 13-16,13 0 0,1-1 0,-1 1 15,0 0-15,0-14 0,1 14 16,-1 0-16,0-14 0,1 14 16,12 0-16,-12-13 0,-1 12 0,0 1 15,-13-13-15,14 12 0,-41-25 16,27 25-16,14 1 15,-14 0-15,13 0 0,-13 0 0,13-1 0,1 14 16,-14-13-16,13 0 0,-13 13 0,13 0 16,-12-13-16,12 13 0,0-14 15,1 14-15,12 0 0,-13 0 0,1-13 16,-1 13-16,0 0 0,14 0 0,-1 0 16,-12-13-16,12 13 0,1 0 0,-1 0 15,-12 0-15,12 0 0,1 0 16,-14-13-16,14 13 0,-1 0 15,-13 0-15,14 0 0,-14 0 0,14 0 16,-14 0-16,14 13 0,-1-13 16,-12 0-16,12 0 0,-13 0 0,14 0 15,-14 0-15,14 0 0,-14 0 0,14 0 16,-27 0-16,13 0 0,0 0 16,1 0-16,-14 13 0,13-13 15,14 0-15,-14 0 0,0 0 0,14 0 16,-14 0-16,14 0 0,-14 0 0,13 0 15,1 13-15,0-13 0,-1 0 0,1 0 16,-1 0-16,14 0 0,-14 0 0,14 14 16,0-14-16,0 0 0,-14 0 15,14 0-15,0 13 0,0-13 16,-1 0-16,1 0 16</inkml:trace>
  <inkml:trace contextRef="#ctx0" brushRef="#br0" timeOffset="111548.32">4987 7210 0,'-13'13'0,"-40"27"16,40-27-1,-13 13-15,-1 1 0,1-1 0,-1 1 16,14-14-16,-14 14 0,1-1 0,13-13 16,0 0-16,-1 1 0,1-1 0,0 0 15,0 0 1,13 1-16,0-1 0,0 0 15,0 0-15,13 1 0,0-1 16,0 0-16,1 0 16,-1-13-16,0 13 0,13 1 0,-12-1 15,-1-13-15,0 13 0,0-13 0,14 13 16,-14-13-16,0 0 0,1 0 16,-1 14-16,0-14 0,0 0 15,0-14-15,-13 1 31</inkml:trace>
  <inkml:trace contextRef="#ctx0" brushRef="#br0" timeOffset="113557.07">3876 6826 0,'-13'-13'63,"13"0"-32,0 0-31,0-14 16,13 14-1,-13 0-15,0-1 0,13 1 16,1 13-16,-1-13 0,0 0 0,0 0 15,1 13-15,12-14 0,-13 14 16,14-13-16,-14 13 0,13 0 0,-12 0 16,12 0-16,1 13 15,-14-13-15,0 14 0,0-1 16,-13 0-16,13 0 0,-13 0 0,0 14 16,0-14-16,0 0 0,0 14 0,0-14 15,-13 13-15,13 1 0,-13-1 16,13-12-16,-13 12 0,13 1 0,-13-1 15,13 0-15,-14-12 0,14 12 0,0 1 16,-13-1-16,13 1 0,-13-1 16,13 0-16,0 1 0,-13-1 0,13 1 15,0-14-15,0 13 0,0 1 0,0-14 16,0 0-16,0 1 0,0 12 0,0-13 16,13 1-16,-13-1 15,13 0-15,0 0 0,1-13 16,-1 0-16,0 0 0,0 0 15,0 0-15,1 0 0,-1-13 16,13 0-16,-12 13 0,12-13 0,-13-1 16,0 1-16,14 0 0,-14 0 0,0 13 15,-13-14-15,14 1 0,-1 0 16,0 0-16,-13-1 0,0 1 16,-13 0-1,0 13 1,-1 13-16,1-13 15,13 13-15,-13 1 0,0-14 0,-1 26 16,1-13-16,0 1 0,0 12 0,13 1 16,-13-14-16,13 13 0,-14 1 15,14 12-15,0-12 0,0 13 0,0-14 16,0 14-16,0-1 0,0 1 0,14 0 16,-14-1-16,13-12 0,-13 13 15,13-1-15,0 1 0,0-14 0,-13 14 16,14 0-16,-1-1 0,0-12 0,0 13 15,1-1-15,-14-12 0,13 12 16,13 14-16,-26-26 0,14-1 16,-14 1-16,13-14 0,-13 13 0,0-12 15,13 12-15,-13-13 0,0 1 16,0-1-16,0 0 0,0 0 16,0 0-16,0 1 0,0-1 15,0 0-15,-13 0 0,13 1 0,-13-1 16,-1 0-16,14 0 15,-13-13-15,0 14 0,0-1 16,-1-13-16,1 0 0,0 13 0,0-13 16,-1 0-16,1 13 0,0-13 15,0 0-15,0 0 0,-1 0 0,1 13 16,0-13-16,0 0 0,-1 14 16,1-14-16,0 0 0,0 13 0,0-13 15,-1 0-15,1 13 0,0-13 16,0 0-16,-1 13 15,1-13-15,0 0 32,13 14-32,-13-14 15,-1 0 17,14-14 499,0 1-531,0 0 15,14 0-15,-14-1 0,0 1 16</inkml:trace>
  <inkml:trace contextRef="#ctx0" brushRef="#br0" timeOffset="120199.86">10557 5966 0,'0'14'15,"-13"-14"79,-1 0-63,14 13-31,-13-13 32,0 13-1,0-13 0,0 0 32,39 0-17,-13 0-46,0 0 16,1 0-16,12 0 16,-13 0-16,14 0 0,12 0 0,-12 0 15,26 0-15,-13 0 0,12-13 0,-12 13 16,13 0-16,0-13 0,-13 13 16,-1-14-16,14 14 0,-13 0 0,0-13 15,-14 13-15,14 0 0,-14-13 0,1 13 16,-1 0-16,1-13 0,-1 13 0,1-14 15,-1 14-15,0-13 0,1 0 16,-1 13-16,1-13 0,13 0 0,-14 13 16,0-14-16,1 1 0,-1 13 0,-12-13 15,12 13-15,1-13 0,-14 13 16,13-14-16,-13 14 0,1-13 16,12 13-16,-13-13 0,1 13 0,-1-13 15,13 13-15,-13-14 0,1 1 16,-1 13-16,0-13 0,0 0 0,1 0 15,-1-1-15,0 1 0,0 0 0,14-14 16,-1 1-16,-13 13 0,1-14 16,-1 14-16,0 0 0,0-14 0,1 1 15,-14 13-15,13-14 0,-13 14 0,13-13 16,-13 12-16,0-12 0,0 13 16,0-14-16,0 14 0,-13-14 15,13 14-15,-13-13 0,13-1 0,-14 14 16,1-13-16,0 12 0,0-12 0,-1-1 15,-12 14-15,0-13 0,-1-1 16,14 14-16,-14 0 0,1-14 0,-27 1 16,27 13-16,-14-1 0,0 1 15,1 0-15,-1 0 0,0 0 16,0-1-16,-12 1 0,12 0 0,-13 13 16,13-13-16,-13-1 0,0 14 0,0-13 15,1 0-15,-1 13 0,0-13 16,0 13-16,-27-14 0,14 14 0,0-13 15,13 13-15,-13 0 0,13 0 0,-13 0 16,13 0-16,-26 13 16,13-13-16,-1 14 0,1-1 0,0 0 15,13 0-15,-13 1 0,13 12 0,-13 1 16,13-1-16,13 0 0,-13 1 16,14-1-16,-1 14 0,0 0 0,14-1 15,-14 1-15,14-13 0,-1 12 0,14-12 16,0-1-16,0 1 0,13-1 15,0 1-15,0-14 0,0 13 0,0 1 16,0-14-16,0 13 0,0-12 0,0-1 16</inkml:trace>
  <inkml:trace contextRef="#ctx0" brushRef="#br0" timeOffset="121687.82">10054 5966 0,'-53'27'31,"27"-27"-31,-1 13 0,1-13 0,-14 13 15,0 0-15,-12 1 0,12-14 0,-26 13 16,-14 13-16,1-12 0,0-1 0,-1 0 16,1 0-16,0 1 0,-14 12 15,-13-13-15,0 14 0,27-1 0,-14-13 16,14 1-16,-14 12 0,1-13 0,-14 14 16,26-1-16,-25-13 0,12 14 15,14-14-15,-1 14 0,1-14 0,0 13 16,-1 1-16,-12-14 0,12 13 0,1-12 15,-1 12-15,1-13 0,0 14 16,13-14-16,-1 0 0,1 14 16,0-14-16,13 0 0,13 0 0,-12 1 15,12-1-15,13-13 0,1 13 0,0 0 16,-1-13-16,14 0 0,-14 14 16,14-14-16,-13 0 0,12 13 0,1-13 15,0 0-15,0 0 0,0 13 16,-1-26-1,1 13 1</inkml:trace>
  <inkml:trace contextRef="#ctx0" brushRef="#br0" timeOffset="122028.12">6403 6601 0,'0'0'0,"-40"14"0,27-1 0,-40 27 15,27-27-15,-1 13 16,1 1-16,-1-1 0,1 1 16,13-1-16,-14 0 0,14 1 0,0-14 15,13 14-15,-14-14 0,14 0 16,-13 0-16,13 1 0,0-1 15,13 0-15,-13 0 0,0 0 0,14 1 16,-1-14-16,13 13 0,-12-13 0,12 13 16,0-13-16,1 0 0,-1 0 15,14 0-15,-13 0 0,12-13 0,-12 13 16,-1 0-16,14-13 0,0 13 0,-14 0 16,0-14-16,1 14 0,13-13 15,-14 13-15,1 0 0,-1-13 0</inkml:trace>
  <inkml:trace contextRef="#ctx0" brushRef="#br0" timeOffset="123531.68">8215 6720 0,'0'0'0,"-13"0"0,13-13 15,0 0 1,-13 0 0,13 0 15,-13 13 0,13-14 47,-14 28-62,1-14-1,0 13-15,0 0 16,-1 0 0,14 0-16,0 1 0,-13-1 0,13 0 15,0 0-15,0 14 0,0-1 16,0-13-16,0 14 0,0-1 0,0 1 16,0 13-16,0-27 0,13 13 0,-13 1 15,0-14-15,14 13 0,-14-12 0,0-1 16,0 0-16,13 0 15,-13 1-15,0-1 0,0 0 16,-13 0-16,-1-13 16,1 0-16,0 0 15,0 0-15,0 0 0,-1 0 16,1 0-16,0-13 0,0 13 16,13-13-16,-14 13 15,14-13-15,0-1 16,80-65 15,-54 52-31,-13 14 0,14-13 16,-1-1-16,-12 14 0,-1 0 0,0-14 15,0 14-15,-13 0 0,14 0 0,-1-1 16,-13 1-16,0 0 0,0 0 16,13 13-16,-13-13 0,0-1 15,0 1-15,-13 13 16,0 0-1,13 13 1,-14-13-16,14 14 0,0-1 16,-13 0-16,13 0 15,0 0 1,0 1-16,0-1 31,13-13 0,1 0-31,-1 0 16,0 0-16,0 0 16,0 0-16,1 0 0,-14 13 15,13-13-15,0 0 0,0 13 16,1-13-16,-1 0 16,-13 14-1,13-28 16,-13 1-15,0 0-16,0 0 16,0-1-16,0 1 15,13 13-15,-13-13 0,14 13 0,-14-13 16,13 0-16,0 13 0,0-14 0,0 14 16,1-13-16,-1 13 0,0 0 0,14-13 15,-14 13-15,13 0 0,-13-13 16,1 13-16</inkml:trace>
  <inkml:trace contextRef="#ctx0" brushRef="#br0" timeOffset="124434.12">8890 6615 0,'-13'0'0,"26"0"0,-39 0 0,-1 13 16,14 0-16,0 0 16,13 1-16,0-1 15,-14 0-15,14 0 0,14 0 16,-14 1-16,0-1 0,13-13 0,0 13 15,0-13-15,1 0 16,-1 0-16,0 0 0,0 0 0,0 0 16,1-13-16,-1 13 0,-13-13 0,13-1 15,-13 1 1,13 0-16,-26 0 0,13 0 0,0-1 16,0 1-16,-13 13 0,0-13 0,-1 13 15,1 0-15,0-13 0,0 13 16,0 0-16,-1 13 0,1-13 15,0 0-15,0 0 0,-1 13 0,14 0 32,14-13-32,-1 0 0,0 0 15,0-13-15,14 13 0,-14-13 0,13 13 16,1-13-16,-1-1 0,-12-12 0,12 13 16,-13-1-16,1-12 0,-1 13 15,0-14-15,-13 14 0,13-13 0,-13-1 16,13 14-16,-13 0 0,0-1 15,14 1-15,-14 0 0,13 26 32,-13 0-32,0 14 0,13-1 15,-13 1-15,0 13 0,0 12 16,0-12-16,0 13 0,0-13 0,0-1 16,-13 14-16,13-13 0,0 0 0,-13-1 15,13 1-15,-14 0 0,1-1 16,0-12-16,13-14 0,-13 0 0,13 14 15,-13-14-15,-1 0 0,1 1 16,13-41 0,0 14-1,0-14-15,13 1 0,1-14 0,-1 1 16,0-14-16,13 13 0,-12-13 16,12 13-16,-13 1 0,14-14 15,-14 13-15,0 0 0,1 14 0,12-40 16,-13 39-16,-13 14 0,13 0 15,-13 0-15,0-1 0,14 1 16,-28 40 0,14-14-1,-13 13-15,13-12 0,-13 25 16,13-12-16,-13 12 0,13-12 16,-13-1-16,13 27 0,0-40 15,0 14-15,0-14 0,0 0 0,0 1 16,0-1-16,0 13 15,13-13-15</inkml:trace>
  <inkml:trace contextRef="#ctx0" brushRef="#br0" timeOffset="131908.06">4405 8295 0</inkml:trace>
  <inkml:trace contextRef="#ctx0" brushRef="#br1" timeOffset="136492.37">10411 8652 0,'0'-13'0,"-13"39"31,13-13-31,-13 1 16,13-1-16,0 0 0,-13 0 15,13 0-15,0 1 0,0-1 16,0 0-16,-14-13 0,14 13 0,0 1 15,0-1 1,0 0-16,-13-26 47,13 0-47,0-1 16,0 1-16,0 0 0,0 0 0,0-14 15,13 14-15,-13 0 0,0 0 16,0-14-16,0 14 0,14 13 0,-14-13 15,0-1-15,0 1 0,0 0 16,13 13-16,-13-13 0,13 26 31,0 0-31,1-13 16,-14 13-16,13 14 0,0-14 16,-13 0-16,13 1 15,-13-1-15,14-13 0,-14 13 16,13-13-16,-13 13 15,13-13-15,0-13 16,0 0 0,-13 0-16,14 13 0,-1-14 0,-13 1 15,13 0-15,-13 0 0,13-1 0,-13 1 16,14 13-16,-14-13 0,13 0 16,0 26-1,-13 0 1,13 0-16,-13 1 15,0-1-15,0 0 0,13 0 16,-13 1-16,0-1 0,0 0 0,0 0 16,14 0-16,-14 1 0,13-1 15,0 0-15,0-13 16,1 0-16</inkml:trace>
  <inkml:trace contextRef="#ctx0" brushRef="#br1" timeOffset="136827.12">10901 8731 0,'0'0'0,"-13"-13"0,13 0 15,0 0-15,-14 13 16,14-14 0,-26 28-1,13-14 1,13 13-16,0 0 0,-14 0 16,14 0-16,14 14 15,-14-14 1,13-13-16,0 13 0,0-13 15,1 0-15,-1 0 16,0 0-16,0 0 0,1 0 0,-1-13 16,13 13-16</inkml:trace>
  <inkml:trace contextRef="#ctx0" brushRef="#br1" timeOffset="137405.26">11165 8652 0,'-13'-27'0,"26"54"0,-39-67 16,13 40 0,-1 0-1,1 13-15,0-13 0,0 14 16,0-1-16,-1 0 16,1 0-16,13 1 15,0-1-15,0 0 16,13 0-16,1-13 15,-1 13-15,0-26 16,0 13-16,0-13 16,1 13-16,-14-13 0,13 0 15,0-1-15,0 1 0,-13 0 16,14-14-16,-1 1 0,0 13 0,-13-14 16,13 1-16,-13-1 0,14 14 0,-14 0 15,0-14-15,13 14 0,-13 0 16,0 0-16,-13 39 47,13-13-47,-14 14 0,14-14 0,-13 0 15,13 14-15,-13-14 0,13 13 0,0-12 16,-13 12-16,13-13 0,0 1 16,0-1-16,0 0 0,13-13 15,-13 13-15,0 1 0,13-1 16,0-13-16,-13 13 15,14-13-15,-1 13 16,0-13-16,-13 13 16,13-13-16,-13 14 0,0-1 0,13-13 15,-13 13-15,14-13 16,-14 13-16,0 1 0,13-14 16</inkml:trace>
  <inkml:trace contextRef="#ctx0" brushRef="#br1" timeOffset="137564.62">11456 8572 0,'-39'0'31,"39"14"-31</inkml:trace>
  <inkml:trace contextRef="#ctx0" brushRef="#br1" timeOffset="137907.04">11523 8612 0,'-27'0'0,"-13"27"16,40-14-1,-13-13-15,13 13 0,0 0 32,13-13-32,1 0 15,-1 0 1,0 0-16,0 0 0,1 0 15,-1 0-15,0 0 16,0 0-16,1 14 16,-1-14-1,-13 13-15,13-13 16,-13 13 0,13-13-1,-13 13 1</inkml:trace>
  <inkml:trace contextRef="#ctx0" brushRef="#br1" timeOffset="138123.34">11721 8692 0,'13'-14'31,"1"14"-15,-1 0-1,-13-13-15,13 13 16</inkml:trace>
  <inkml:trace contextRef="#ctx0" brushRef="#br1" timeOffset="138572.38">12951 8692 0,'0'0'0,"-13"-27"16,26-39-1,-13 39-15,14 1 0,-1-14 16,0 14-16,0-1 0,1 1 0,-1 0 16,0 12-16,0 1 0,0 0 0,1 0 15,-14 26 1,0 13-1,-14-12-15,-12 12 0,0 0 16,-1 1-16,-13 13 0,14-14 0,-14 0 16,14 1-16,-1-1 0,1 1 0,-1-14 15,14 0-15,0 1 0,0-14 16,13 13-16,-14 0 0,14 0 16,27-13-16,-14 0 15,0 0-15,14-13 0,13 0 16,-1 0-16,1-1 0,13 1 0,-13 0 15,-1 0-15,1-1 0,13 1 0,-14 0 16,14 0-16,-13-1 16</inkml:trace>
  <inkml:trace contextRef="#ctx0" brushRef="#br1" timeOffset="139938.07">14089 8387 0,'-13'40'31,"13"-27"-15,0 14-16,0-14 0,0 0 15,-13 0-15,13 1 0,0-1 0,0 0 16,0 0-16,0 0 15,0 1-15,0-1 0,13-40 47,-13 14-31,0-13-16,0 13 0,13-14 0,-13 14 16,0-14-16,13 1 0,-13 13 0,0-14 15,14 14-15,-14 0 0,0 0 0,0-1 16,13 14-1,-13 27 1,0-1 0,0-12-1,0-1-15,0 0 0,0 0 0,0 0 16,13-13-16,-13 14 0,13-14 16,0 0-16,1 0 15,-1 0-15,0 0 16,0 0-1,1 0 1,-14 13-16,13-13 16,-13 13-16,13-13 0,0 0 15,1 0-15,12 0 0,-13-13 16,0 13-16,14-13 16,-1 13-16,-12-14 0,12 1 0,-13 0 15,14 0-15,-14 0 0,0-1 0,0 1 16,1 13-16,-14-13 0,13 0 15,-13-1-15,-27 28 32,14-1-17,0 0-15,13 0 16,-13 1-16,-1-14 0,14 13 0,0 0 16,0 0-16,0 0 15,0 1 1,14-14-16,-1 0 15,0 0-15,-13-14 16,13 14-16,1 0 0,-1-13 16,0 13-16,0-13 0,1 13 15,-1-13-15,0 13 0,0-13 0,0 13 16,1-14-16,-1 14 0,-13-13 16,13 13-16,0 0 0,-13-13 0,14 13 15,-41 13 16,27 0-31,-13-13 16,13 14-16,-13-1 0,-1 0 16,1 0-1,13 0-15,-13 1 0,13-1 16,0 0-16,0 0 16,13-13-16,0 0 15,1 0 1,-1-13-16,0 13 0,-13-13 15,13 0-15,1-1 0,-1 1 0,0 0 16,0-13-16,1-1 0,-1 1 16,0-14-16,0 13 0,0 1 0,-13 0 15,14-1-15,-14 14 0,13-14 0,-13 14 16,0 0-16,0 0 16,0-1-16,0 1 0,-13 26 31,-1 1-31,14-1 0,-13 13 15,0 1-15,13-14 0,-13 14 16,13-1-16,0-13 0,-13 14 0,13-14 16,0 0-16,13 14 0,-13-14 0,13 0 15,-13 0 1,13-13-16,0 0 0,1 0 0,-1 0 16,0 0-16,0 0 15,1 0 1,-1 0-1</inkml:trace>
  <inkml:trace contextRef="#ctx0" brushRef="#br1" timeOffset="140063.81">15240 8401 0,'-13'-14'46,"0"14"-30</inkml:trace>
  <inkml:trace contextRef="#ctx0" brushRef="#br0" timeOffset="146220.18">19989 6641 0,'0'40'31,"-13"-40"-31,13 39 0,-13-25 16,13-1-16,0 0 0,-13 14 0,-1-1 15,14-13-15,0 0 16,0 1-16,0-1 0,-13-13 0,13 13 15,0 0-15,0 1 16,0-41 15,0 14-31,0 0 16,13-1-16,-13 1 0,0-13 16,14 13-16,-14-14 0,0 14 0,13 0 15,-13-1-15,0 1 0,13 0 16,-13 0-16,0 0 0,13 13 15,0 13 1,-13 0 0,14-13-16,-14 13 0,0 0 0,13 1 15,-13-1-15,13 0 16,-13 0-16,13 1 0,-13-1 16,14-13-16,-14 13 15,13-26-15,0 13 16,0-13-16,-13-1 15,14 14-15,-14-13 0,13 0 0,-13 0 16,13 13-16,-13-14 0,13 1 0,-13 0 16,13 13-1,1 13 1,-14 0-16,0 1 16,13-14-16,-13 13 0,0 0 0,0 0 15,0 14-15,0-14 0,0 0 16,0 0-16,0 1 0,0-1 0,13 0 15,-13 0-15,0 1 16,0-1-16,13-13 16,1 0-1</inkml:trace>
  <inkml:trace contextRef="#ctx0" brushRef="#br0" timeOffset="146473.81">20452 6681 0,'0'0'0,"0"-13"16,-13 39 15,0-13-31,13 0 0,0 1 16,-13-1-16,13 0 0,0 0 16,0 1-16,0-1 0,13-13 0,-13 13 15,0 0-15,13 0 0,0 1 16,1-14-1,-14 13-15,13-13 0,0 0 0,0 0 16,0 0-16,1 0 16,12 0-16,-13-13 0,1 13 0,-1 0 15,0 0-15,0 0 0</inkml:trace>
  <inkml:trace contextRef="#ctx0" brushRef="#br0" timeOffset="148364.79">21140 6734 0,'0'-14'31,"0"54"-15,0-27-16,0 1 16,0-1-16,0 0 15,0 0-15,-13 0 16,13 1 15,13-28-15,0 1-16,-13 0 15,14 13-15,-14-13 0,13 0 16,-13-1-16,13 1 16,0 0-16,1 0 0,-1 13 15,0-14-15,0 14 16,0 0-1,1 14-15,-1-14 0,-13 13 16,13-13-16,-13 13 0,13 0 16,-13 1-1,0-1-15,14 0 16,-14 0 0,26-26 62,-13 13-63,-13-13-15,14 13 0,-1-13 16,0 13 0,13 0 15,-12 13-16,-1 0 1,0-13-16,0 0 16,1 0-1,-1 0-15,0 0 16,0 0-16,1 0 16,-14-13-16,13 13 0,0-13 15,0 13-15,-13-14 16,13 14-1,-13 14 1,0-1 0,14-13-16,-28 13 15,28 0-15,-14 0 16,13 1 0,0-14-1,0 0-15,1 0 16,-1-14-16,0 14 15,-13-13-15,0 0 16,0 0-16,0 0 16,-13-1-16,13 1 15,-13 13-15,-1-13 16,1 0 0,40 13 30,-14 0-46,0 0 0,0 0 0,1 0 16,-1 0-16,0 0 16,0 0-16,0 0 15,1 0-15,-14 13 16,0 0 0,0 0-16,-14 1 15,14-1 1,0 0-16,-13 0 15,13 0-15,0 1 16,13-14 0,14 0-1,-27-14 1,13 14-16,-13-13 0,13 0 0,1 0 16,-1 0-16,-13-1 0,13 1 0,0-13 15,1 12-15,-14-12 0,13 13 16,0 0-16,-13-14 0,13 14 0,-13 0 15,13-1-15,-13 1 0,14 0 16,-14 0-16,-14 39 31,1-26-15,13 13-16,-13 1 0,13-1 0,-13 0 16,13 0-16,0 1 0,-13-1 15,13 0-15,0 0 0,0 0 0,-14 1 16,14-1-16,0 0 15,14-13-15,-14 13 16,13 1 0,0-14-16,0 0 15,0 0 1,1 0-16,-14 13 16,13-13-16,-13 13 15,13-13-15,0 0 16,14-13-1,-14 0 1,0 13-16,0-14 0,-13 1 0,14 0 16,-1 0-16,0-1 0,0-12 15,1 0-15,12-1 0,-13 1 16,1-1-16,-1 1 0,-13-1 0,13 14 16,0 0-16,-13 0 0,13-1 15,-39 28 16,13-1-31,13 0 0,-13 0 0,13 0 16,-14 1-16,14 12 0,0-13 0,0 1 16,0-1-16,0 0 15,14-13-15,-14 13 16,13-13-16,0 0 0,0 14 16,0-14-16,1 0 0,-1 13 15,0-13-15,-13 13 0,13-13 16,-13 13-16,14-13 0,-14 13 0,13 1 15,-13-1 1,-13 0-16,13 0 0,0 1 16,-14-14-16,1 13 0,13 0 15,-13-13-15,-14 13 0,14 0 0,0 1 16,-13-14-16,-1 13 0</inkml:trace>
  <inkml:trace contextRef="#ctx0" brushRef="#br0" timeOffset="148615.94">20809 7131 0,'67'-27'16,"-41"14"-16,1 13 0,12 0 0,14-13 15,0 13-15,0-14 16,132 1-16,-132 0 15,0 13-15,13 0 0,-13-13 0,-13 13 0,13-14 16,-14 14-16,-12 0 0,-1 0 16,-12 0-16,-1 0 0,0 0 15,0 0-15,-26 0 16,0 14-16</inkml:trace>
  <inkml:trace contextRef="#ctx0" brushRef="#br0" timeOffset="148878.99">20862 7223 0,'-39'13'16,"25"-13"-16,41 0 31,-1 0-31,1 0 0,13 0 16,12-13-16,1 13 0,0 0 0,0-13 15,0 13-15,0-13 0,0 13 16,0 0-16,-13-14 0,12 14 0,-25 0 15,-1 0-15,1-13 0,-1 13 0,-12 0 16,-1 0-16,0 0 0,0-13 16,0 13-16,1 0 0,-1 0 0,0-13 15</inkml:trace>
  <inkml:trace contextRef="#ctx0" brushRef="#br0" timeOffset="153256.09">9049 11218 0,'0'0'0,"39"0"15,-12 14 1,13-28-16,13 14 0,13 0 0,0 0 16,13-13-16,1 13 0,12-13 0,1 13 15,-14-13-15,0 13 0,1-14 16,-14 1-16,0 13 0,0-13 0,-13 13 15,-13-13-15,13 13 0,-27 0 0,1 0 16,-1-14-16,-13 14 0,1 0 16,-1 0-16,0 0 0,-66 14 31,40-1-15,-27-13-16,-13 13 0,0 0 0</inkml:trace>
  <inkml:trace contextRef="#ctx0" brushRef="#br0" timeOffset="153518.43">9036 11430 0,'-67'13'16,"134"-26"-16,-160 39 0,80-26 0,-1 0 15,1 0-15,66 0 32,0-13-32,0 13 0,13-13 0,0 0 15,14 0-15,-14 13 0,13-14 0,1 14 16,-14-13-16,13 13 0,-13-13 15,0 13-15,-13-13 0,0 13 16,-13 0-16,0 0 0,-1 0 0,-12 0 16,-1 0-16,-13 0 0,14-14 0,-14 14 15,0 0-15,1 0 0,-1 0 16,-26-13 15</inkml:trace>
  <inkml:trace contextRef="#ctx0" brushRef="#br0" timeOffset="154052.74">8943 10186 0,'212'14'31,"-40"-28"-31,-120 14 16,1 0-16,14-13 0,-1 13 0,0 0 16,0-13-16,-13 13 0,-13-13 0,12 13 15,-12-13-15,26 13 0,-39-14 16,-14 14-16,0 0 15</inkml:trace>
  <inkml:trace contextRef="#ctx0" brushRef="#br0" timeOffset="154395.09">8890 10332 0,'40'0'0,"185"-26"16,-172 26 0,-1 0-16,1-14 0,0 14 0,0 0 15,0-13-15,0 13 0,0-13 16,-13 13-16,13 0 0,-27 0 16,0-13-16,1 13 0,-1 0 0,-12 0 15,-1 0-15,0 0 0,0 0 16,0 0-16,1 0 0,-1-14 15,0 14-15,0 0 16,-13-13 15,14 13-15</inkml:trace>
  <inkml:trace contextRef="#ctx0" brushRef="#br0" timeOffset="157967.91">9723 10067 0,'14'-26'32,"-1"26"-32,13-13 0,14-1 15,0 1-15,13 0 0,13-13 0,-13 12 16,26-12-16,-13 13 0,14-14 0,-1 14 15,14 0-15,-14-1 0,14-12 16,-1 13-16,14 0 0,-13 13 0,-1-14 16,1 14-16,-1-13 0,1 13 0,-14 0 15,14 0-15,-14 13 0,1-13 16,-1 0-16,-13 0 0,0 14 0,1-14 16,-15 0-16,1 0 0,-13 13 0,0-13 15,-1 0-15,-12 0 0,-14 0 16,14 0-16,-14 0 0,0 0 15,0 0-15,1 0 0,-1 0 0,0 0 16,-13-13 15</inkml:trace>
  <inkml:trace contextRef="#ctx0" brushRef="#br0" timeOffset="158271.7">12012 9618 0,'53'0'15,"-40"0"-15,0 0 0,1 13 16,12-13-16,1 13 0,-14 0 0,13 1 15,1-1-15,-1 13 0,1-13 0,-1 14 16,-13-14-16,1 0 0,-1 14 16,0-14-16,-13 13 0,13-12 0,-13 12 15,0-13-15,0 14 0,-13-14 0,13 14 16,-13-14-16,0 13 16,-1-13-16,1 1 0,0-1 0,0 0 15,13 0-15,-14 1 0</inkml:trace>
  <inkml:trace contextRef="#ctx0" brushRef="#br0" timeOffset="159180.68">13560 9684 0,'-13'-13'0,"26"26"0,-26-40 0,-1 27 31,-12 0-31,13 14 0,13-1 16,-13 0-16,-1 0 0,1 0 15,0 14-15,0-1 0,13 1 16,-14-14-16,14 13 0,0 1 0,-13-14 15,13 14-15,13-14 0,-13 0 0,14 14 16,-14-14-16,13 0 0,0-13 16,0 13-16,1-13 0,-1 13 0,0-13 15,13 0-15,-12-13 0,12 13 16,-13-13-16,14 0 0,-14 0 0,13-1 16,1-12-16,-14-1 0,14 1 15,-14-1-15,0 1 0,0-14 0,1 14 0,-1-14 16,0 1-16,-13-1 0,13 13 15,0 1-15,-13 13 0,0-14 16,0 14-16,14 0 0,-14 0 0,0-1 16,-14 54 15,14-27-31,-13 0 0,13 1 16,0 12-16,-13-13 0,13 14 0,0-14 15,0 14-15,0-14 0,0 13 16,0-13-16,13 1 0,-13 12 0,13-13 15,-13 1-15,14-14 0,-1 13 0,0-13 16,0 0-16,1 0 0,-1 13 0,0-13 16,0 0-16,1 0 15,-1 0-15,0 0 0,0 0 16,0 13-16,1-13 0,-1 13 16,0 1-16,-13-1 15,13-13-15,-13 13 16</inkml:trace>
  <inkml:trace contextRef="#ctx0" brushRef="#br0" timeOffset="159305.9">14155 9591 0,'-13'-13'16,"13"26"-1</inkml:trace>
  <inkml:trace contextRef="#ctx0" brushRef="#br0" timeOffset="160344.34">14274 9803 0,'0'-27'47,"0"14"-32,0 0-15,-26 39 47,26-12-47,0-1 16,0 0-16,-13-13 0,13 13 16,0 0-16,13 1 15,0-1 1,0-13-16,1 0 15,-1-13-15,0 13 16,0-14-16,0 14 0,-13-13 16,14 13-16,-1-13 0,0 13 31,0 0-31,1 0 16,-1 0-1,0 0 1,0 0-16,0 0 15,1-13-15,-1 13 0,0-13 0,0-1 16,1 1-16,25-40 16,-25 40-16,-1-27 15,0 14-15,0-1 0,-13-12 0,13 12 16,1-12-16,-1 12 0,-13 14 0,0-14 16,13 14-16,-13 0 0,0 0 0,13 13 0,-13-14 15,0 41 16,-13-14-31,13 14 0,-13-1 0,13 14 16,-13-14-16,-1 1 0,14-1 16,-13 1-16,13-1 0,0-13 0,-13 14 15,13-14-15,0 0 0,0 0 0,0 1 16,0-1-16,-13 0 16,13-39 30,0 12-30,-13 1-16,13 0 16,-14 13-1,14-13-15,14 0 16,-14-1 0,13 14-16,0-13 0,0 0 15,0 13-15,1-13 0,-1 13 16,-13-14-16,13 14 0,0 0 15,-13-13-15,14 13 0,-1-13 16,0 13 0,0 0-1,-13 13-15,14-13 0,-14 13 16,0 1-16,0-1 0,13-13 16,-13 13-16,0 0 0,0 1 0,0-1 15,0 0 1,-13-13-16,13 13 0,0 0 0,-14-13 15,14 14-15,-13-1 0</inkml:trace>
  <inkml:trace contextRef="#ctx0" brushRef="#br0" timeOffset="160678.91">14155 10041 0,'119'-40'31,"-79"27"-31,0 13 0,13-13 0,-1 0 16,15-1-16,-1 1 0,-13 0 16,-14 13-16,14-13 0,0-1 0,0 14 15,-13-13-15,-1 13 0,-12 0 0,-1-13 16,-12 13-16,-1 0 0,0 0 0</inkml:trace>
  <inkml:trace contextRef="#ctx0" brushRef="#br0" timeOffset="160935.1">14102 10094 0,'14'13'16,"12"-13"-1,-13 0-15,14 0 0,-1 0 0,14-13 16,13 13-16,0 0 0,0 0 16,-1-13-16,1 13 0,0-14 0,13 14 15,-13-13-15,0 13 0,-13 0 0,13-13 16,-27 13-16,1-13 0,-1 13 16,-13 0-16,1-14 0,-1 14 0,0 0 15,-13-13-15,-13 0 31,0 0-31,-1 13 0,1-13 0,-13 13 16,-1-14-16</inkml:trace>
  <inkml:trace contextRef="#ctx0" brushRef="#br0" timeOffset="161403.79">13758 9300 0,'66'0'16,"-26"0"-1,79 0-15,-53 0 0,1-13 16,12 13-16,0 0 0,1 0 15,-1-13-15,0 13 0,1-14 0,-1 14 16,1 0-16,-14-13 0,0 13 0,-13-13 16,0 13-16,-14 0 0,1-13 0,-14 13 15,-12 0-15,-1 0 0,0-13 16,-39 13 0,-1 0-1,14 0-15,-27 0 0,14 13 16</inkml:trace>
  <inkml:trace contextRef="#ctx0" brushRef="#br0" timeOffset="161599.97">14221 9353 0,'14'13'16,"-1"-13"-16,79 0 15,-65 0-15,13 13 0,-1-13 16,14 0-16,0 0 0,0 0 15,-13-13-15,13 13 0,-14 0 0,1 0 16,-14 0-16,1 0 0,-1 0 0,1 0 16,-1 0-16,1 0 15,-1 0-15,1 0 0,-14 0 0</inkml:trace>
  <inkml:trace contextRef="#ctx0" brushRef="#br0" timeOffset="161851.74">15214 9287 0,'0'-13'31,"0"39"-31,0-13 0,-14 14 16,14-1-16,0 1 0,0 12 15,-13 1-15,13-13 0,-13 12 0,13 1 16,-13 0-16,13-1 0,0-12 15,-14-1-15,14 1 0,0-1 0,0-13 16,0 14-16,0-14 0,0 0 0,0 0 16,0 1-16,-13-1 15,0 0-15</inkml:trace>
  <inkml:trace contextRef="#ctx0" brushRef="#br0" timeOffset="162298.06">12991 9512 0,'13'92'31,"-13"-65"-31,14 13 0,-14-1 16,0 14-16,0-13 0,13-1 0,-13 1 16,0 13-16,0-13 0,13-14 15,-13 1-15,0-1 0,0 1 0,13-14 16,-13 13-16,0-12 0,13-14 15,-13 13-15</inkml:trace>
  <inkml:trace contextRef="#ctx0" brushRef="#br0" timeOffset="162500.34">13242 9406 0,'0'53'0,"-39"119"32,39-132-32,-14-1 0,14 14 0,0-13 15,-13-1-15,13 1 0,0-13 16,0-1-16,0 1 0,13-1 0,-13 0 16,0 1-16</inkml:trace>
  <inkml:trace contextRef="#ctx0" brushRef="#br0" timeOffset="168139.87">10120 11377 0,'53'13'32,"-40"-13"-32,1 0 15,-1 0-15,0-13 0,14 13 0,-14 0 16,0 0-16,0 0 0,1 0 0,-1 0 16,0 0-1</inkml:trace>
  <inkml:trace contextRef="#ctx0" brushRef="#br0" timeOffset="168312.94">10173 11483 0,'13'-27'31,"1"27"-31,-1-13 15,0 13-15,0 0 16</inkml:trace>
  <inkml:trace contextRef="#ctx0" brushRef="#br0" timeOffset="169500.05">13824 11165 0,'186'-39'15,"-133"39"-15,0 0 16,-1-14-16,1 14 0,14 0 15,-1 0-15,13-13 0,-26 13 0,13 0 16,-13 0-16,13 0 0,-13 0 16,0 0-16,0 0 0,-13 0 0,-1 0 15,-12 0-15,-1 0 0,1 0 0,-14 0 16,0 0-16,0 13 16</inkml:trace>
  <inkml:trace contextRef="#ctx0" brushRef="#br0" timeOffset="170052.99">13692 11390 0,'0'0'0,"80"0"0,-28-13 0,15 13 15,-14 0-15,26 0 0,80 0 16,-1 0-16,-91 0 0,-1 0 15,-13 0-15,13 0 0,-13 0 16,0 0-16,-14 0 0,-12 0 0,-1 0 16,1 0-16,-1 0 0,-13 0 0,1 0 15,-1 0-15,0 0 0,0 0 16,0 0-16,1 0 0,-1 0 16,0 0-16,0 0 15,-13-13 220,14 13-235,-14-13 15,13 13-15,0-14 16,-13 1-1,13 13-15,-13-13 0</inkml:trace>
  <inkml:trace contextRef="#ctx0" brushRef="#br0" timeOffset="170715.87">14076 10358 0,'79'0'0,"-158"0"0,198-13 16,-66 13-16,0 0 0,26-13 0,-13 13 15,14 0-15,-14-13 0,13 13 16,-13 0-16,0 0 0,1 0 0,-15 0 15,15-13-15,-14 13 0,-1 0 0,-12 0 16,-13 0-16,12 0 0,-12 0 16,-1 0-16,-13 0 0,1 0 0,-1 0 15</inkml:trace>
  <inkml:trace contextRef="#ctx0" brushRef="#br0" timeOffset="170947.68">14367 10438 0,'40'0'0,"-27"0"15,26 0-15,1 0 0,13 0 0,0 0 16,0 0-16,0 0 0,13-13 0,-13 13 16,13 0-16,0 0 0,-13 0 15,0 0-15,0 0 0,0 0 0,-13 0 16,-14 0-16,0 0 0,1 0 0,-14 0 15,14 0-15,-14 0 16,0 0-16,0 0 0</inkml:trace>
  <inkml:trace contextRef="#ctx0" brushRef="#br0" timeOffset="172327.07">1085 2024 0,'53'-13'15,"-14"0"-15,14-1 0,0 1 0,13 0 16,14 0-16,-14-1 0,13 1 0,1-13 16,-1 13-16,14-1 0,-14 1 15,0 0-15,1 0 0,-14-1 0,13 14 16,-13-13-16,-26 0 0,13 13 15,-13 0-15,-14 0 0,1-13 0,-14 13 16,13 0-16,-12 0 0</inkml:trace>
  <inkml:trace contextRef="#ctx0" brushRef="#br0" timeOffset="172881.24">1164 2117 0,'-13'0'16,"26"0"-16,27-14 15,0 14-15,12-13 0,15 0 0,12 0 16,-13 13-16,14-13 0,12-1 0,-13 1 16,1 0-16,12 0 0,-25-1 15,12 1-15,-13 0 0,0 0 16,0 13-16,27-27 0,-27 27 15,-39-13-15,-14 13 16,13 0-16,-12 0 0,-1 0 0,-13-13 0,13 13 16,0 0-16,0 0 15,14 0 1,-14 0 15,0 0 0,-13-13 32,0-14 78,-13 27-141,13-13 0</inkml:trace>
  <inkml:trace contextRef="#ctx0" brushRef="#br0" timeOffset="173569.83">1283 595 0,'0'0'0,"119"-13"0,-53 0 0,14 13 0,-14-13 15,27 13-15,-1-14 0,1 1 0,-1 13 16,1-13-16,0 13 0,-1-13 16,1 13-16,-14-14 0,14 14 0,-14-13 15,1 13-15,-14-13 0,0 13 16,-26-13-16,12 13 0,-25 0 15,13 0-15,-27-13 0,13 13 0,-13 0 16,1 0-16</inkml:trace>
  <inkml:trace contextRef="#ctx0" brushRef="#br0" timeOffset="173899.01">1865 714 0,'80'-13'0,"118"-13"15,-119 12 1,-12 14-16,12-13 0,14 13 0,-14 0 0,14-13 16,-14 13-16,0 0 0,1-13 15,-14 13-15,0 0 0,-13 0 16,13 0-16,-13 0 0,-13 0 0,-1 0 15,-12 0-15,-1 0 0,-12 0 16,12 0-16,-13 0 0,0-13 0,1 13 16,-41 0 31,14 13-47,0-13 15,0 0-15,-1 0 0</inkml:trace>
  <inkml:trace contextRef="#ctx0" brushRef="#br0" timeOffset="174651.07">648 1058 0,'0'0'0,"-13"66"0,-13 159 31,26-145-31,-14 12 0,1 14 0,13-26 16,0-1-16,-13 0 0,13-13 15,0 1-15,-13-14 0,13-1 0,0-12 16,0 0-16,0-14 0,0 1 0,0-1 16,13-13-16,-13 1 0,-13-1 15,26 0-15</inkml:trace>
  <inkml:trace contextRef="#ctx0" brushRef="#br0" timeOffset="175634.07">569 926 0,'185'-79'31,"-132"65"-31,13-12 0,0 13 0,0 0 16,27-14-16,13 1 0,0-1 16,0 1-16,-1-1 0,1 14 0,13-13 15,-13-1-15,13 14 0,-39-14 16,39 14-16,-14-13 0,1-1 0,-26 14 16,12 0-16,-12-14 0,12 14 15,-12 0-15,-14 0 0,13-1 0,-13 1 16,-13 0-16,0 13 0,-13-13 0,13 13 15,-27 0-15,1-13 0,-1 13 16,1 0-16,-1 0 0,0 0 16,-12 0-16,12 0 0,-13 0 0,1 0 15,-1 0-15,0 0 0,0 0 0,0 0 16,14 0 0,-14 0-16,0 0 0,-13 13 15,14-13-15,-1 0 16,-13 13-16,13-13 0,-13 13 0,13 0 15,1 1-15,-1-1 0,-13 0 16,13 14-16,0-14 0,0 26 16,1 1-16,-14 0 0,13 0 0,0 12 15,0 15-15,-13-14 0,14 13 0,-14-13 16,13-1-16,0 15 0,0-14 16,-13 13-16,14-13 0,-1 0 15,0-14-15,-13 14 0,13-26 0,-13 12 16,13 1-16,1 0 0,-14-14 15,13 1-15,-13-14 0,0 13 16,0-12-16,13 12 0,-13-13 0,0 0 0,0 1 16,0-1-16,13 0 0,-13 0 15,0 1-15,0-1 0,0 0 0,14-13 16,-14 13-16,0 0 0,0 1 16,0-1-1,0 0-15,0 0 47,-27-13-47,14 0 16,-14 0-16,14 14 0,-13-14 0,-27 0 15,13 13-15,-26-13 0,-13 13 16,-14 0-16,-13 14 0,-13-1 0,0 1 16,0-1-16,-13 1 0,13-1 0,-14 14 15,1-1-15,13-12 0,0-1 16,0 14-16,13-14 0,13 1 15,1-1-15,26 1 0,-80 13 0,80-14 16,13-13-16,0 0 0,14 1 0,-1-1 16,13 0-16,1 0 15,-1-13-15,1 14 0,13-14 0,0 13 16,-1-13-16,-12 0 0,13 0 0,-1 13 16,1-13-16</inkml:trace>
  <inkml:trace contextRef="#ctx0" brushRef="#br0" timeOffset="177283.89">8652 10517 0,'0'0'16,"0"80"-16,13-41 0,-13 1 0,0 13 16,0 13-16,0-13 0,0 13 0,0 0 15,0-13-15,0-13 0,0 13 16,0-14-16,0 1 0</inkml:trace>
  <inkml:trace contextRef="#ctx0" brushRef="#br0" timeOffset="178276.65">8625 10213 0,'67'0'16,"-134"0"-16,160 0 0,-67 0 0,14 0 0,0-13 16,13 13-16,13 0 0,13 0 15,1 0-15,-1 0 0,0-14 0,14 14 16,0 0-16,-1-13 0,1 13 0,13 0 15,-14-13-15,14 13 0,0 0 16,0 0-16,0-13 0,-1 26 0,-12-13 16,0 0-16,-1 0 0,1 0 0,-14 13 15,-13-13-15,1 0 0,-15 0 16,1 13-16,0-13 0,-13 0 16,0 0-16,-14 0 0,1 0 0,12 0 15,-26 0-15,14 0 0,-1 0 16,1 0-16,-14 0 0,14 0 0,-1 0 15,0 0-15,-12 0 0,12 0 0,1 0 16,-14 0-16,13-13 0,-12 13 16,12 0-16,-13 0 0,0 0 0,1 0 15,-1 0-15,0 0 0,0 0 0,1 0 16,-1 0 0,0 0-16,0 0 15,1 0-15,-1 0 16,0 0 15,0 0-31,-13 13 16,0 1-16,13-1 15,-13 0-15,0 0 0,0 1 16,0-1-16,14 13 0,-14-12 0,13 12 16,-13 0-16,0 1 0,13-1 0,-13 1 15,0-1-15,13 1 0,-13-1 16,14 1-16,-14-14 0,13 13 0,-13 1 15,13-1-15,0-13 0,-13 14 16,13-1-16,1-12 0,-14 12 0,13-13 16,0 1-16,-13-1 0,13 13 15,-13-13-15,0 1 0,14-1 0,-14 0 16,0 0-16,0 1 0,13-1 0,-13 0 16,0 0-16,0 1 15,13-14-15,-13 13 0,0 0 0,0 0 16,0 0-1,0 1 1,-13-1-16,0-13 16,-14 13-16,-13 0 0,-26 14 0,0-1 15,-40 1-15,1-1 0,-15 14 16,-12 0-16,-13-1 0,-14 1 16,-13 13-16,-40 0 0,1 13 0,39-26 15,-40 13-15,40-1 0,13-12 16</inkml:trace>
  <inkml:trace contextRef="#ctx0" brushRef="#br0" timeOffset="179700.09">3082 2103 0,'27'14'31,"-14"-1"-31,-13 0 0,13 0 16,1 14-16,-1-14 0,0 13 0,-13 1 15,13-14-15,-13 27 0,13-14 16,-13 1-16,0-1 0,0 1 0,0-1 15,0-13-15,0 14 0,0-14 0,0 14 16,0-14-16,0 0 16</inkml:trace>
  <inkml:trace contextRef="#ctx0" brushRef="#br0" timeOffset="179923.97">3149 2117 0,'-93'53'31,"66"-40"-31,1 13 0,0 1 0,-14-1 0,13 14 16,1-14-16,0 1 0,-1-1 15,14-13-15,-14 14 0,27-14 0,-13 0 16,0-13-16,13 14 0</inkml:trace>
  <inkml:trace contextRef="#ctx0" brushRef="#br0" timeOffset="180098.83">2990 2077 0,'26'0'16,"1"0"-16,-14 0 0,0 13 0,14-13 15,-1 0-15,1 13 0,12-13 16,1 0-16,0 14 0,-1-14 0,1 13 16,0 0-16,-1-13 0,-12 0 15,-1 13-15,1-13 0</inkml:trace>
</inkml:ink>
</file>

<file path=ppt/ink/ink6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0:59.906"/>
    </inkml:context>
    <inkml:brush xml:id="br0">
      <inkml:brushProperty name="width" value="0.05292" units="cm"/>
      <inkml:brushProperty name="height" value="0.05292" units="cm"/>
      <inkml:brushProperty name="color" value="#0070C0"/>
    </inkml:brush>
  </inkml:definitions>
  <inkml:trace contextRef="#ctx0" brushRef="#br0">7342 3135 0,'66'0'16,"-39"-13"0,-1 13-16,14 0 0,13 0 0,0 0 15,0 0-15,0 0 0,0-13 16,-14 13-16,14 0 0,-13 0 0,-14 0 16,1 0-16,-1 0 0,-13 0 0,14 0 15,-14 0-15,0 0 0,1-13 0,-1 13 16,0 0-16,0 0 15</inkml:trace>
  <inkml:trace contextRef="#ctx0" brushRef="#br0" timeOffset="283">7871 2884 0,'40'-26'32,"-27"39"-32,14 0 15,-1 0-15,1 14 0,-1-14 0,1 13 16,-1 1-16,-13-1 0,14 1 16,-14 12-16,13-12 0,-12-1 0,-14 1 15,13-14-15,-13 13 0,0 1 16,-13-14-16,-1 27 0,1-14 0,-13 1 15,-1 12-15,-12-12 0,-1-1 0,-13 14 16,13-14-16,1-12 0,-1 12 0,0-13 16,1 1-16,-1-1 0</inkml:trace>
  <inkml:trace contextRef="#ctx0" brushRef="#br0" timeOffset="1853.66">9366 2871 0,'0'0'0,"-13"-13"16,0 39 15,13-13-15,-13 14-16,-1-14 0,1 27 15,13-14-15,-13 14 0,0-14 0,13 1 16,-14-1-16,14-13 0,-13 14 0,13-1 15,0-13-15,-13 1 0,13 12 16,0-13-16,0 1 0,0-1 16,-13 0-16,13 0 0,0-52 31,13 12-31,-13-13 16,0 1-16,13-14 0,0 0 15,-13-13-15,14 13 0,-1 0 16,0 0-16,0 13 0,14 1 0,-27-1 15,13 14-15,0 12 0,0 1 0,-13 0 16,14 13-16,-1 0 0,0 13 16,0 0-16,1 14 0,-1 12 15,0 1-15,0 0 0,-13 0 0,14-1 16,-14 1-16,13 0 0,-13-1 0,0-12 16,13-1-16,-13 1 0,0-1 15,0-13-15,0 14 0,0-14 16,0 0-16,-13 0 0</inkml:trace>
  <inkml:trace contextRef="#ctx0" brushRef="#br0" timeOffset="2302.64">9221 3135 0,'0'0'0,"-13"0"15,13-13 1,13 13-16,0 0 15,0 0-15,0-13 0,1 13 16,12 0-16,-13-13 0,14 13 16,-1-14-16,1 14 0,-1-13 0,-13 0 0,14 13 15,-1-13-15,-12-1 0,12-12 16,0 13-16,-12 0 0,-1-1 16,0 1-16,0 13 0,1-13 0,-1 0 15,0 13-15,-13-14 0,13 14 16,14 0-1,-27 14-15,13-1 16,0 0-16,0 0 16,-13 1-1,14-14-15,-14 13 0,13-13 0,-13 13 0,13-13 16,-13 13-16,13-13 31,1-13-31,-14 0 16,13 13-16,-13-13 0,0-1 0,13 14 15,-13-13-15,13 13 0,-13-13 16,13 13-16,-13-13 0,14 13 0,-14-14 16,13 14-16,0 0 15,0 0-15</inkml:trace>
  <inkml:trace contextRef="#ctx0" brushRef="#br0" timeOffset="2647.8">10067 2910 0,'-26'-13'16,"26"0"15,0 0-15,13 13-1,-39 0 32,26 13-47,-14-13 16,14 13-16,0 0 16,14 1-16,-14-1 0,13-13 15,-13 13-15,13-13 0,0 13 16,1-13-16,-1 14 0,0-14 15,0 0-15,1 0 0,-1 0 16,0 0-16,0 0 16</inkml:trace>
  <inkml:trace contextRef="#ctx0" brushRef="#br0" timeOffset="3469.6">10253 2910 0,'0'0'0,"26"14"16,-26-1 0,13 0-16,-13 0 15,0 1-15,-13-1 16,13 0-16,0 0 0,-13 0 31,26-39 0,0 13-15,1 0-16,-1-1 0,0 14 16,0-13-16,0 0 0,1 13 0,12-13 15,-13 13-15,1-14 0,-1 1 16,0 13-16,0 0 16,-13-13-16,-26 26 46,39 0-14,-13 1-17,13-14-15,-13 13 0,14-13 16,-14 13-16,0 0 0,13-13 0,-13 14 16,0-1-16,0 0 0,0 0 15,-13 0-15,13 14 0,-14-14 0,1 0 16,0 1-16,0-1 0,13 0 0,-14 0 15,1 1-15,0-14 0,13 13 16,-13-13-16,13 13 0,-14-13 0,28-13 31,-1 0-15,13-1-16,-12-12 0,12 13 16,1-14-16,12 14 0,-12-14 0,-1 14 15,1 0-15,-14 0 0,13 0 0,-13-1 16,1 14-16,-1-13 0,0 13 15,-13-13-15,13 13 0,1 0 16,-1-13-16,-13 26 78,0 0-78,0 0 16,0 1 15,0-1-15,13-13-16,-13 13 15,13-13-15,1 0 0,-1 0 16,0 0 0,-13 13-16,13-13 15,0 0-15</inkml:trace>
</inkml:ink>
</file>

<file path=ppt/ink/ink6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3:01:06.876"/>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00B050"/>
    </inkml:brush>
  </inkml:definitions>
  <inkml:trace contextRef="#ctx0" brushRef="#br0">6390 3334 0,'26'-13'16,"173"-14"-1,-120 27-15,14-13 0,-1 13 16,1-13-16,-1 13 0,1-14 16,0 14-16,-1 0 0,-12-13 0,-1 13 15,0 0-15,-13 0 0,-13 0 0,0 0 16,0 0-16,-13 0 0,-14 0 16,1 0-16,-1 0 0,-12 0 0,-1 13 15</inkml:trace>
  <inkml:trace contextRef="#ctx0" brushRef="#br0" timeOffset="267.18">6615 3492 0,'66'0'0,"-27"0"0,14-13 0,13 13 16,14-13-16,-1 13 0,1 0 0,78-13 15,-78 0-15,-14 13 16,13-14-16,-26 14 0,0 0 0,0 0 16,0 0-16,-13-13 0,-14 13 0,14 0 15,-27 0-15,13 0 0,-12 0 16,-1 0-16,0-13 0,0 13 16,1 0-16,-54 13 31,27-13-16</inkml:trace>
  <inkml:trace contextRef="#ctx0" brushRef="#br0" timeOffset="2839.12">4419 4326 0,'105'-13'31,"-52"13"-31,13 0 16,1-14-16,25 14 0,-12-13 0,12 13 15,1 0-15,13-13 0,-14 13 16,1-13-16,13 13 0,-14 0 0,14 0 15,-13-13-15,-1 13 0,1 0 0,-14 0 16,1 0-16,-27 0 0,13 0 16,-27 0-16,14 0 0,-26 0 0,-1 0 15,1 0-15,-14 13 0,13-13 0</inkml:trace>
  <inkml:trace contextRef="#ctx0" brushRef="#br0" timeOffset="3114.48">5120 4419 0,'53'0'0,"211"-27"16,-198 27-1,14 0-15,12-13 0,-12 13 0,-1 0 16,0 0-16,1 0 0,-1 0 0,-26-13 16,13 13-16,-13 0 0,-13 0 15,0 0-15,-1 0 0,-12 13 0,-1-13 16,1 0-16,-14 0 0,13 0 16,-12 0-16,12 0 0,-13 13 0,14-13 15,-14 0-15</inkml:trace>
  <inkml:trace contextRef="#ctx0" brushRef="#br0" timeOffset="4064.39">9128 3691 0,'-40'26'32,"40"1"-32,-26-1 0,13 1 15,0 12-15,-14 1 0,14 0 0,0-14 16,-1 14-16,14 0 0,-13-1 0,13-12 16,0-1-16,0-12 0,0 12 15,0 0-15,13 1 0,1-1 0,12 1 16,1-14-16,-1 13 0,0-12 0,14-1 15,0 0-15,0-13 0,-1 0 16,14 13-16,-26-13 0,12 0 16,1-13-16,13 13 0,-13-13 0,-1 13 15</inkml:trace>
  <inkml:trace contextRef="#ctx0" brushRef="#br0" timeOffset="4579.46">10411 3638 0,'53'26'15,"-106"-52"-15,120 66 0,-41-14 0,0 1 0,-12-1 16,12 1-16,-13 12 0,1-12 0,-1 12 15,-13 1-15,13 0 0,-13-14 16,-13 14-16,13 0 0,-13-1 0,-14 1 16,14 0-16,-27-1 0,14 1 15,-14 0-15,0-1 0,1 1 0,-1-13 16</inkml:trace>
  <inkml:trace contextRef="#ctx0" brushRef="#br0" timeOffset="8595.7">10266 3294 0,'-13'0'15,"-1"0"1,41 13 15,-14-13-31,0 0 16,14 0-16,-14 0 0,0 0 0,0 0 15,14 0-15,-1 0 16,-12 0-16,12 0 0,1 0 0,-1 0 16</inkml:trace>
  <inkml:trace contextRef="#ctx0" brushRef="#br0" timeOffset="9814.66">11073 3294 0,'26'13'15,"-13"-13"1,14 0-16,-14 0 0,0 0 15,1 0-15,-1 0 0,13 0 0,-12 0 16,-1 0-16,0 0 0,0 0 16,0 0-16,1 0 0,-1 0 0,0 0 15</inkml:trace>
  <inkml:trace contextRef="#ctx0" brushRef="#br0" timeOffset="10630.82">13626 4511 0,'-13'13'62,"13"1"-62,-13-1 0,-1-13 16,1 13-16,0 0 0,0 1 0,-1-1 15,1 0-15,0 0 0,0-13 16,0 13-16,-1 1 0,14-1 0,-13-13 16,13 13-16,-13-13 0,13 13 0,-13 1 15,26-1 1,0-13-16,-13 13 15,13-13-15,1 0 0,-1 0 0,13 0 16,-13 0-16,1 0 0,12 0 16,1 0-16,-14 0 0,13 0 15,1 0-15,-14-13 0,0 13 0,0 0 16,14 0-16,-14 0 0,0 0 0,-13-13 16,14 13-16,-1 0 0,0 0 15,-13-14-15,13 1 16</inkml:trace>
  <inkml:trace contextRef="#ctx0" brushRef="#br0" timeOffset="10866.11">13772 4524 0,'-14'14'31,"1"-14"-31,13 13 16,0 0-16,-13 0 0,13 1 0,-13 12 15,13-13-15,-14 14 0,14-14 0,-13 13 16,13 1-16,-13-14 0,13 13 16,-13-12-16,13 12 0,0-13 0,-14 1 15,14-1-15,0 0 0,0 0 16,0 1-16,14-1 16</inkml:trace>
  <inkml:trace contextRef="#ctx0" brushRef="#br0" timeOffset="11099.07">14168 4604 0,'-13'13'31,"0"0"-31,0-13 15,13 13-15,-13 1 0,-1-1 0,1 13 16,0-12-16,0-1 0,-1 0 16,1 0-16,0 0 0,0-13 0,-1 14 15,14-1-15,-13-13 0,13 13 16,-13 0-16</inkml:trace>
  <inkml:trace contextRef="#ctx0" brushRef="#br0" timeOffset="11303.06">13957 4670 0,'0'-13'16,"26"13"0,-13 13-1,1-13-15,-1 13 0,0 0 16,0-13-16,1 14 0,-1-14 0,0 13 15,0-13-15,1 0 0,-1 13 16,0-13-16,0 0 0,14 0 0,-14 0 16,0 0-16</inkml:trace>
  <inkml:trace contextRef="#ctx0" brushRef="#br0" timeOffset="12859.45">14459 4524 0,'40'0'46,"-27"14"-30,1-1-16,-14 0 31,0 0-31,0 1 16,13-1 0,0 0-1,0-13-15,1 26 16,-1-26-16,-13 14 0,13-14 15,-13 13-15,13-13 16,-13 13-16,-13 0 16,0 1-16,0-14 0,-1 0 0,1 13 15,0-13-15,0 13 0,-14-13 16,1 0-16,12 13 0,1-13 0,0 0 16,-13 0-16,12 0 0,1 0 0</inkml:trace>
  <inkml:trace contextRef="#ctx0" brushRef="#br0" timeOffset="14235.25">12885 4789 0,'13'26'16,"-13"-12"-1,0-1 1,14-13-16,-14 13 0,0 0 0,13-13 16,-13 14-16,13-1 0,-13 0 15,13-13 1,-13 13-16,14-13 0,-1-13 16,0 13-1,-13-13-15,13 0 16,-13-1-16,0 1 0,14 0 0,-14-14 15,13 1-15,-13-1 0,0 1 0,0 0 16,0-1-16,0 1 0,0-14 16,0 14-16,-13-14 0,13 13 15,0 1-15,-14-1 0,14 1 0,0 13 16,-13 0-16,13-14 0,0 14 0,0 0 16,-13-1-16,13 1 0,0 0 15,0 0-15,13 13 0,-13-14 16,13 14-16,1-13 0,-1 13 15,0 0-15,13-13 0,-12 13 16,25 0-16,1 0 0,0-13 0,13 13 16,0 0-16,-1 0 0,1-13 0,0 13 15,0 0-15,0 0 0,26-14 16,-12 14-16,12-13 0,-13 13 16,14-13-16,-1 13 0,0-13 0,1 13 15,-1-14-15,0 14 0,1 0 0,-14-13 16,13 13-16,-13 0 0,1 0 15,-14-13-15,-1 13 0,1 0 0,-13 0 16,0 0-16,-1 0 0,-12 0 0,-1 0 16,1 0-16,-14 0 0,0 0 15,0 0-15,1 0 0,-1 0 0,0 0 16,0 0-16,1 0 0,-1 0 16,0 0-1,0 0 1,1 0-1,-1 0 17,0 0 30,-53 0 188</inkml:trace>
  <inkml:trace contextRef="#ctx0" brushRef="#br0" timeOffset="17227.18">9671 2686 0,'-14'0'31,"1"0"-15,0 0-16,13 13 0,-13-13 15,13 13-15,0 0 0,-14 0 0,1 1 16,13-1-16,-13 0 16,13 0-16,0 1 0,0-1 0,0 0 15,0 0-15,0 1 0,0-1 0,13 0 16,0 0-16</inkml:trace>
  <inkml:trace contextRef="#ctx0" brushRef="#br0" timeOffset="17551.05">9869 2699 0,'26'13'15,"-12"0"-15,-1 0 0,0 1 0,0-14 0,-13 13 16,14 0-16,-14 0 0,13 1 0,-13-1 15,0 13-15,0-12 16,-13 12-16,-1-13 0,14 14 0,-13-1 16,0-13-16</inkml:trace>
  <inkml:trace contextRef="#ctx0" brushRef="#br0" timeOffset="20915.14">11232 3969 0,'0'-13'0,"-14"-1"31,14 41 16,0-14-31,0 0-16,0 0 0,-13-13 15,13 14-15,0-1 0,0 0 16,0 0-16,0 1 16,-13-1-16,13 0 15,0 0 1,0 1 0,-13-14-1,13 13 1,0 0 15,13-39 328,-13 12-359,0 1 16,13 0-16,-13 0 0,13-1 16,-13 1-16,14 0 0,-1 0 0,0-1 15,-13 1-15,13 0 0,14 0 0,-27 0 16,13-1-16,0 1 0,0 13 16,1 0-16,-1-13 0,0 13 15,0 13-15,1-13 16,-14 13-16,13-13 0,-13 14 0,0-1 15,0 0-15,13 0 16,-13 0-16,0 1 0,0-1 0,0 0 0,0 0 16,0 1-16,0-1 0,0 0 0,0 0 15,-13 1-15,13-1 16,0 0-16,0 0 0,0 0 16,0 1-1,13-14 16,0-14-15</inkml:trace>
  <inkml:trace contextRef="#ctx0" brushRef="#br0" timeOffset="21174.35">11642 4035 0,'26'-13'31,"-13"13"-31,1 0 0,-1 0 16,0-14-16,0 14 0,1 0 15,-1 0-15,0 0 16,0 0-16</inkml:trace>
  <inkml:trace contextRef="#ctx0" brushRef="#br0" timeOffset="21366.93">11642 4141 0,'13'13'47,"0"-13"-47,0 0 15,1 0-15,-1 0 16,0-13-16,0 13 16,1 0-16,-1 0 0,-13-13 0,13 13 15</inkml:trace>
  <inkml:trace contextRef="#ctx0" brushRef="#br0" timeOffset="22148.51">11946 3969 0,'-13'0'16,"26"0"-16,-26-13 0,-1 13 15,28-14 1,-1 14-1,13 0 1,-12 0-16,-1 0 16,-13 14-16,13-14 0,0 13 0,1 0 15,-14 0-15,0 0 16,0 1-16,-14-1 0,14 0 16,-13-13-16,13 13 0,-13 1 15,13-1-15,-13-13 0,13 13 0,-14 0 16,1-13-16,13 14 0,-13-14 15,13 13-15,-13-13 0,13 13 16,-14 0 0,28-13 15,-1 0-31,0 0 16,0 0-16,14 0 15,-14 0-15,0-13 0,1 13 16,-1 0-16,0 0 0,0 0 15,0 0-15</inkml:trace>
  <inkml:trace contextRef="#ctx0" brushRef="#br0" timeOffset="23073.02">12793 4498 0,'26'-13'31,"-13"13"-16,1 13 1,-1-13 0,-13 13-16,0 0 15,0 1-15,0-1 16,-13-13-16,13 13 16,-14-13-16,14 13 0,-13-13 15,13 14-15,-13-14 0,13 13 16,-13-13-1,13 13 17,13-13-17,0 13-15,0-13 16,1 0 0,-1 0-1,0 0-15,0 0 16,0 0-1,1 0 1,-1 0 0</inkml:trace>
  <inkml:trace contextRef="#ctx0" brushRef="#br0" timeOffset="24067.5">16391 4551 0,'66'-13'15,"-53"-1"1,1 14-16,-1 0 0,0 0 16,0 0-16,0 0 0,1 14 15</inkml:trace>
  <inkml:trace contextRef="#ctx0" brushRef="#br0" timeOffset="24231.72">16391 4670 0,'-13'0'16,"39"13"15,-13-13-31,14 0 0,-14 0 0,14-13 16,-1 13-16,0 0 16,1 0-16,13 0 0,-14-13 0</inkml:trace>
  <inkml:trace contextRef="#ctx0" brushRef="#br0" timeOffset="25340.3">17238 4392 0,'13'-13'15,"13"13"1,-12 0 0,-1 13-16,0-13 0,0 0 15,-13 13-15,13-13 0,1 14 16,-14-1-1,-14 0-15,14 0 0,-13-13 16,0 13-16,0 1 0,0-14 0,13 13 16,-14-13-16,14 13 0,-13 0 15,13 1-15,0-1 16,13-13-16,-13 13 0,14-13 16,-14 13-16,13 1 15,-13-1-15,0 0 16,13-13-16,-13 13 0,-13 0 15,13 1-15,-13-14 16,13 13-16,-14-13 0,1 0 0,0 13 16,0-13-16,-1 0 0,1 0 15</inkml:trace>
  <inkml:trace contextRef="#ctx0" brushRef="#br0" timeOffset="25472.33">17489 4564 0,'13'0'0,"-13"-13"15</inkml:trace>
  <inkml:trace contextRef="#ctx0" brushRef="#br0" timeOffset="25790.93">17846 4405 0,'-26'14'16,"12"-14"-16,1 13 15,0-13-15,0 13 0,0 0 16,-1-13-16,14 13 0,-13-13 0,0 14 15,0-1-15,13 0 0,-14-13 16,14 13-16,14 1 16,-1-1-1,0-13-15,0 0 16,1 0-16,12 0 16,0 0-16,1 0 0,-14 0 15,0-13-15,1 13 0,-1 0 0,13 0 16,-12-14-16,-1 14 15,0 0-15,-13-13 0,13 13 0,-13-13 16,13 13-16</inkml:trace>
  <inkml:trace contextRef="#ctx0" brushRef="#br0" timeOffset="25999.18">17965 4326 0,'0'13'31,"0"0"-31,0 1 16,0-1-16,-13 13 0,13-12 0,0 12 16,-13 0-16,13-12 0,-13 12 0,-1 1 15,1-14-15,13 13 0,-13 1 16,0-14-16,13 0 0,-14 0 0,14 1 16,0-1-16,0 0 0,0 0 15</inkml:trace>
  <inkml:trace contextRef="#ctx0" brushRef="#br0" timeOffset="26304.1">18283 4313 0,'-53'66'31,"53"-53"-31,-13 0 0,13 1 0,-14-1 16,14 0-16,0 0 0,0 0 0,0 1 16,0-1-16,14 0 0,-1 0 15,0 1-15,0-14 16,0 0 0,1-14-16,-14 1 15,13 0-15,-13 0 16,0-1-1,-13 14-15,-1 0 16,1 0-16,-13 14 0,-1-14 16,1 13-16</inkml:trace>
  <inkml:trace contextRef="#ctx0" brushRef="#br0" timeOffset="26543.55">17304 4842 0,'0'0'0,"53"-13"0,-27-1 0,1 14 0,25-13 15,-12 13-15,13-13 0,0 13 0,0-13 16,0 13-16,0-14 0,0 14 16,0 0-16,0-13 0,-14 13 0,1 0 15,-14 0-15,1 0 0,-14-13 0,14 13 16,-14 0-16,0 0 0,0 0 15,0 0-15</inkml:trace>
  <inkml:trace contextRef="#ctx0" brushRef="#br0" timeOffset="26786.1">17330 4868 0,'225'0'31,"-185"14"-31,-1-14 0,1 0 0,-13 0 0,12 0 16,-12 0-16,-1 0 0,1 0 16,-14 0-16,0 0 0,0 0 15,1 0-15,-1 0 0,0 0 0,0 0 16,1 0-1</inkml:trace>
  <inkml:trace contextRef="#ctx0" brushRef="#br0" timeOffset="29420.45">11748 6509 0,'13'-13'0,"0"13"16,13 0-16,-12 0 15,-1 0-15,0 0 0,0 0 0,14 0 16,-14 0-16,13 0 0,1 0 0,-1 0 16,-12 0-16,12 0 0,1 0 0,-14-14 15,13 14-15,-13 0 0,1 0 16,-1 0-16,0 0 0,0-13 15,1 13-15,-1-13 16</inkml:trace>
  <inkml:trace contextRef="#ctx0" brushRef="#br0" timeOffset="29675.08">12012 6337 0,'0'0'0,"27"-13"31,-1 13-31,-13 13 0,0-13 16,1 0-16,-1 0 15,0 13-15,0-13 0,1 13 0,12-13 16,-13 13-16,1 1 0,-1-14 0,0 13 16,-13 0-16,13 0 0,0 1 15,-13-1-15,0 0 0,0 0 0,0 1 16,0-1-16,-13 0 0,13 0 0,-13 14 15,0-14-15,-14 0 0,14 14 0,0-14 16,-14 0-16,1 0 16,13 1-16</inkml:trace>
  <inkml:trace contextRef="#ctx0" brushRef="#br0" timeOffset="31059.1">13679 6760 0,'0'0'0,"13"13"16,0 1-16,1-1 0,-1 0 15,0 0-15,0 0 0,1 1 16,-1-1-16,-13 0 0,13 0 15,0-13-15,0 14 0,1-14 0,-1 0 16,0 0-16,0 0 16,-13-14-16,14 1 0,-14 0 15,0 0-15,0-1 0,0-12 0,0 13 16,0-27-16,-14 14 0,14-14 0,-13 0 16,0 1-16,13-1 0,-13 0 0,13 14 15,0-1-15,0 1 0,13 13 16,0-14-16,0 1 0,14-1 15,13 14-15,-14-13 0,27 12 0,0 1 16,26 0-16,1 0 0,-1 13 0,14-14 16,12 14-16,28-13 0,-1 13 15,13-13-15,1 13 0,0 0 0,12-13 16,-12 13-16,-1 0 0,1-14 0,-1 14 16,1-13-16,-14 13 0,-26-13 0,-13 13 15,-1 0-15,-26-13 0,1 13 16,-15 0-16,-12 0 0,-13 0 0,-14 0 15,0 0-15,-39 0 16,-14 13 0,0-13-16,-13 13 0</inkml:trace>
  <inkml:trace contextRef="#ctx0" brushRef="#br0" timeOffset="31568.2">14168 6681 0,'0'-13'0,"0"26"0,14-13 31,-14 26-31,0-13 16,0 1-16,-14-1 0,14 0 15,0 14-15,-13-14 0,13 0 0,0 0 16,-13 0-16,13 1 0,0-1 0,0 0 16,0 0-1</inkml:trace>
  <inkml:trace contextRef="#ctx0" brushRef="#br0" timeOffset="31767.36">14565 6628 0,'-13'13'15,"0"0"-15,0 1 16,13-1-16,-14 0 0,1 0 16,0 0-16,0 1 0,-1-1 0,1 0 15,13 0-15,-13 1 0,0-1 0,0 0 16,13 0-16,-14 0 0</inkml:trace>
  <inkml:trace contextRef="#ctx0" brushRef="#br0" timeOffset="31956.12">14327 6773 0,'13'0'0,"1"0"16,-1 14-1,0-14-15,0 0 0,-13 13 16,14-13-16,-1 13 0,0-13 0,0 0 16,0 13-16,14-13 0,-14 0 0,0 0 15,1 0-15,12 0 0,-13 0 16</inkml:trace>
  <inkml:trace contextRef="#ctx0" brushRef="#br0" timeOffset="32837.21">14790 6601 0,'0'-13'31,"13"13"-15,1 0-1,-1 0-15,-13 13 16,0 14-1,-13-27 1,13 13-16,-14-13 0,14 13 0,-13-13 16,13 14-16,-13-14 15,13 13-15,0 0 0,0 0 16,0 0-16,0 1 16,13-14-1,-13 13-15,0 0 0,0 0 16,0 1-16,-13-1 15,0 0-15,0-13 16,13 13-16,-14-13 0,1 0 16,0 13-16</inkml:trace>
  <inkml:trace contextRef="#ctx0" brushRef="#br0" timeOffset="33017.31">15108 6615 0,'0'0'0,"13"0"0,0 0 16,0 0-1,-13 13 1,-13 0-16,13 0 0,0 1 16,-13-1-16,13 0 0,-13 0 15,13 14-15,-14-14 0,1 0 0,0 0 16,13 1-16,-13-1 0</inkml:trace>
  <inkml:trace contextRef="#ctx0" brushRef="#br0" timeOffset="33238.75">15002 6747 0,'0'-13'16,"26"26"-1,-12-13 1,-1 0-16,0 13 16,0-13-16,0 13 15,1-13-15,-1 0 16,0 0-16,0 0 0,1 0 16,-1 0-16,0 14 0,0-14 15</inkml:trace>
  <inkml:trace contextRef="#ctx0" brushRef="#br0" timeOffset="33638.35">15624 6681 0,'0'-13'0,"0"26"0,-14-40 0,14 14 16,-13 13-16,0 0 16,0 0-16,-14 0 15,14 0-15,0 13 0,0-13 0,-1 0 16,1 14-16,0-14 16,13 13-16,-13-13 0,13 13 15,26-13 1,-13 0-16,1 0 15,-1 0-15,0 0 0,14 0 16,-14 0 0,0 0-1,-13 13-15,13-13 0,-13 13 16,0 1-16,0-1 16,0 0-16,0 0 0,0 1 15,0-1 1,0 0-16,0 0 0</inkml:trace>
  <inkml:trace contextRef="#ctx0" brushRef="#br0" timeOffset="33842.3">15954 6628 0,'-13'40'31,"13"-27"-31,-13 0 0,13 0 0,-13 0 16,13 1-16,-14-1 0,1 0 0,13 14 16,-13-14-16,0 0 0,13 0 0,-13-13 15,13 13-15,-14-13 0,14 14 16,-13-1-16</inkml:trace>
  <inkml:trace contextRef="#ctx0" brushRef="#br0" timeOffset="34004.1">15782 6760 0,'27'13'47,"-14"-13"-47,0 14 15,1-14-15</inkml:trace>
  <inkml:trace contextRef="#ctx0" brushRef="#br0" timeOffset="34554.17">16391 6562 0,'66'13'16,"-53"0"-1,-13 0-15,0 1 16,0-1-16,0 0 15,-13 14-15,0-14 0,0 0 0,-1 13 16,1-12-16,0-14 0,13 13 0,-13 0 16,13 0-16,-14-13 0,14 14 0,-13-14 15,13 13-15,0 0 32,13-13-32,1 0 0,-1 0 15,0 0-15,0 0 0,14 0 16,-14-13-16,14 13 0,-14 0 0,0 0 15,13-13-15,-12 13 0,-1 0 0,0-14 16,0 14-16,1 0 0,-1 0 16,-13-13-16</inkml:trace>
  <inkml:trace contextRef="#ctx0" brushRef="#br0" timeOffset="34831.1">16722 6588 0,'13'0'15,"0"-13"-15,0 13 16,27 26 0,-40-12-1,0-1-15,0 0 0,13-13 16,-13 13-16,0 1 0,0-1 0,0 0 15,0 0-15,0 0 0,0 1 16,0-1-16,0 0 0,0 0 16,0 1-16,0-1 15</inkml:trace>
  <inkml:trace contextRef="#ctx0" brushRef="#br0" timeOffset="34980.43">16722 6720 0,'0'-13'16,"0"26"-16,13-39 15,0 26-15,0 0 16,14 0-16,-14 0 16,0 0-16,1 0 0</inkml:trace>
  <inkml:trace contextRef="#ctx0" brushRef="#br0" timeOffset="35155.32">17145 6628 0,'0'26'47,"-13"-26"-47,13 14 15,0-1-15,-13 0 0,13 0 0,-14 0 16,1-13-16,13 14 0,-13-1 15,13 0-15,-13 0 0,13 1 0</inkml:trace>
  <inkml:trace contextRef="#ctx0" brushRef="#br0" timeOffset="35363.4">17013 6720 0,'0'-13'16,"26"26"0,-26 1-16,13-14 0,1 0 15,-1 13-15,0-13 0,0 0 16,14 13-16,-14-13 0,0 0 0,14 0 16,-14 0-16,13 0 0,-12 13 0,12-13 15</inkml:trace>
  <inkml:trace contextRef="#ctx0" brushRef="#br0" timeOffset="36104.17">17661 6615 0,'13'-27'31,"-26"27"-15,0 0-16,13-13 0,-14 13 15,1 0-15,0-13 16,0 13 0,0 13-16,13 0 15,0 0 1,0 1-16,0-1 0,0 0 16,0 0-16,-14 1 15,14-1-15,-13 0 0,13 0 16,-13 0-16,0 1 15,-1-14-15,14 13 16,-13-13-16,0 0 0,39 0 47,-26-13-47,14 13 16,-1 0-16,0-14 0,0 14 15,1-13-15,-1 13 0,-13-13 0,13 13 16,-13-13-16,13 13 0,-13-13 15,13-1-15,-13 1 16,-13 13-16,13-13 0,-13 0 16,0-1 15,26 1-15,0 13-16</inkml:trace>
  <inkml:trace contextRef="#ctx0" brushRef="#br0" timeOffset="36278.08">17806 6535 0,'14'0'0,"-1"13"32,-13 1-32,0-1 0,0 0 15,0 0-15,-13 1 0,13-1 16,0 13-16,-14-12 0,14-1 16,0 0-16,-13 0 0,13 0 0,0 1 15,-13-1-15,13 0 0,0 0 0,-13 1 16,13-1-16,0 0 15,-13 0-15</inkml:trace>
  <inkml:trace contextRef="#ctx0" brushRef="#br0" timeOffset="37779.18">8824 6443 0</inkml:trace>
  <inkml:trace contextRef="#ctx0" brushRef="#br0" timeOffset="38031.18">9208 6456 0</inkml:trace>
  <inkml:trace contextRef="#ctx0" brushRef="#br0" timeOffset="38344.48">9591 6482 0,'0'-13'16</inkml:trace>
  <inkml:trace contextRef="#ctx0" brushRef="#br0" timeOffset="38694.98">9962 6469 0</inkml:trace>
  <inkml:trace contextRef="#ctx0" brushRef="#br0" timeOffset="39983.33">13547 6429 0,'13'14'0,"0"-28"0,0 14 16,1 0 0,-41 0 30,14 0-46,0 0 16,-1 14-16,1-14 0,0 0 16,0 0-16,0 13 0,-1-13 15,14 13 1,14 0 0,-1-13-16,-13 14 15,13-14-15,0 13 16,0-13-16,-13 13 15,0 0 1,-13 0 0,0-13-16,0 0 15,0 0-15,-1 14 0,1-14 16,0 0-16,0 0 0,-1 0 0,1 13 16,0-13-16,0 0 0,-1 0 0</inkml:trace>
  <inkml:trace contextRef="#ctx0" brushRef="#br0" timeOffset="41740.24">14592 7038 0,'53'0'0,"-106"0"0,145-13 0,-65 13 16,13 0-16,12-14 0,1 14 16,13-13-16,-13 13 0,27 0 0,-27-13 15,13 13-15,0 0 0,-13 0 16,0 0-16,13 0 0,-13 0 0,0 0 0,-13 0 16,26 0-1</inkml:trace>
  <inkml:trace contextRef="#ctx0" brushRef="#br0" timeOffset="42008.24">15055 7078 0,'92'-14'15,"-184"28"-15,211-28 0,-79 14 0,-1 0 16,-12 0-16,12 0 0,-12-13 0,13 13 16,-14 0-16,14 0 0,-14 0 0,1 0 15,-14 0-15,13-13 0,-12 13 0,12 0 16</inkml:trace>
  <inkml:trace contextRef="#ctx0" brushRef="#br0" timeOffset="42743.7">18547 6681 0,'40'-13'16,"-27"13"-16,27 0 15,-27-14-15,0 14 16,14 0-16,-14 0 0,13 0 0,-12 0 16,-1 0-16,0 0 0,0 0 15</inkml:trace>
  <inkml:trace contextRef="#ctx0" brushRef="#br0" timeOffset="42902.98">18587 6773 0,'26'0'31,"-12"0"-31,12 0 0,1 0 16,-14 0-16,0-13 15,0 13-15,14 0 0,-14 0 0</inkml:trace>
  <inkml:trace contextRef="#ctx0" brushRef="#br0" timeOffset="43499.32">19672 6337 0,'-13'-13'0,"26"26"0,-40-26 0,14 26 16,-13-13-16,12 13 15,-91 80 1,78-67-16,14 1 0,0-14 16,-1 0-16,1 0 0,13 0 15,-13 1-15,13-1 0,0 0 0,0 0 16,13-13-16,0 14 0,1-14 16,-1 0-16,0 0 0,14 0 0,-14 0 15,13 0-15,1 0 0,-14 0 0,13-14 16,-12 14-16,12 0 0,-13 0 0,1 0 15,-1 0-15,-13 14 0,39 12 32,-39-13-32,14 1 15,-14-1-15,0 0 16,13 0 0,0 0-16,0-13 15,1 14-15</inkml:trace>
  <inkml:trace contextRef="#ctx0" brushRef="#br0" timeOffset="44299.1">19963 6641 0,'0'-13'110,"13"0"-110,-13-1 15,0 1 1,13 0-16,-13 0 0,0-1 0,13 1 15,-13 0-15,0-13 0,14 12 16,-14 1-16,0 0 0,13 0 16,-13-1-16,0 1 0,13 0 15,-13 0-15,0-1 0,13 14 16,-26 27 15,13-14-31,0 0 16,0 1-16,0-1 15,13 0 1,1-13-16,-1 0 16,0-13-16,0 13 15,1 0-15,-1 0 16,0 0 0,-13 13-16,13-13 0,-13 13 15,13-13-15,-13 14 0,14-14 16,-14 13-1,0 0-15,13-13 0,-13 13 16,13-13-16,-13 13 16</inkml:trace>
  <inkml:trace contextRef="#ctx0" brushRef="#br0" timeOffset="44479.43">20479 6443 0,'13'-14'0,"27"14"15,-27 0 17</inkml:trace>
  <inkml:trace contextRef="#ctx0" brushRef="#br0" timeOffset="44640.21">20386 6562 0,'40'0'16,"-27"0"0,0-14-1,1 14 1</inkml:trace>
  <inkml:trace contextRef="#ctx0" brushRef="#br0" timeOffset="57832.11">3903 8824 0,'-14'26'0,"14"-12"0,-13-1 15,13 13-15,0-13 16,-13 14-16,13-14 0,-13 27 15,13-14-15,-14-12 0,14 12 0,-13-13 16,13 0-16,0 1 0,-13-1 0,13 0 16,0 0-16,-13-13 0,13 14 15,0-1-15</inkml:trace>
  <inkml:trace contextRef="#ctx0" brushRef="#br0" timeOffset="58218.18">3757 8850 0,'0'-13'15,"13"0"-15,1 13 0,-1-13 16,0 13-16,13 0 0,-12 0 0,-1 0 16,0 0-16,14 0 0,-14 0 15,0 13-15,0-13 0,-13 13 16,14-13-16,-14 13 0,0 1 0,-14-1 15,14 0-15,-13 0 16,0-13-16,0 13 0,-1 1 0,1-1 16,0-13-16,0 13 0,-1 0 0,1-13 15,0 14-15,0-1 16,0-13-16</inkml:trace>
  <inkml:trace contextRef="#ctx0" brushRef="#br0" timeOffset="58534.98">4022 8996 0,'13'0'16,"-26"0"-16,26 13 0,-13 0 16,13-13-16,-13 14 0,-13-1 15,13 0-15,0 0 0,0 0 16,0 1-16,-13-14 0,13 13 15,0 0-15,-14 0 16,1-26 15,13 0-15,0 0-16,13-1 0,-13 1 0,14 0 16,-1 0-16,-13 0 0,13-1 15,0 14-15,1-13 16,-1 13-16,0-13 0,0 13 0,14-13 0,-14 13 15,0 0-15,0-14 0,1 14 0,-1 0 16</inkml:trace>
  <inkml:trace contextRef="#ctx0" brushRef="#br0" timeOffset="58796.57">4260 8983 0,'13'0'0,"0"13"32,-13 0-32,0 0 15,0 1-15,13-14 0,-13 13 16,14-13-16,-1 0 15,0 13-15,14-26 16,-14 13 0,0-13-16,-13-1 15,13 1-15,-26-13 16,13 12-16,0 1 16,-13 13-1,0-13-15,-1 13 16,1 0-16,13 13 15,-13-13-15,13 13 0</inkml:trace>
  <inkml:trace contextRef="#ctx0" brushRef="#br0" timeOffset="59043.96">4657 8916 0,'-27'0'16,"14"14"-16,0-14 0,0 13 16,-1 0-16,1 0 0,0 1 15,0-14-15,-1 13 0,14 0 0,-13 0 16,13 1-16,0-1 16,13-13-16,-13 13 15,14-13-15,-1 13 0,0-13 16,0 0-16,1 0 0,-1 0 15,0 0-15,0 0 16,0-13-16,1 13 0</inkml:trace>
  <inkml:trace contextRef="#ctx0" brushRef="#br0" timeOffset="66191.28">3519 10888 0,'0'13'32,"0"0"-32,-13 0 0,13 1 15,0-1-15,0 13 0,-14-13 16,14 1-16,-13 12 0,13-13 0,-13 14 15,13-14-15,-13 13 0,0-12 0,13-1 16,-14 0-16,14 0 0,-13 1 16,13-1-16</inkml:trace>
  <inkml:trace contextRef="#ctx0" brushRef="#br0" timeOffset="66522.66">3691 10901 0,'0'13'47,"0"0"-47,0 1 15,0-1-15,0 0 0,0 0 16,0 0-16,0 1 0,0-1 16,0 0-16,0 0 15,0 1-15,0-1 16,-13-13-16,13 13 0,0 0 15</inkml:trace>
  <inkml:trace contextRef="#ctx0" brushRef="#br0" timeOffset="67179.38">3479 11086 0,'13'-13'0,"1"0"16,-1 13-16,0 0 15,0 0-15,1 0 0,-1 0 16,0-14-16,0 14 16,1 0-16</inkml:trace>
  <inkml:trace contextRef="#ctx0" brushRef="#br0" timeOffset="67466.2">3903 10941 0,'0'26'31,"-14"-13"-31,14 0 15,-13 1-15,13-1 16,0 0-16,-13 0 0,13 1 16,0-1-16,-13 0 0,13 0 15,0 0-15,-14 1 16,14-1-16</inkml:trace>
  <inkml:trace contextRef="#ctx0" brushRef="#br0" timeOffset="67808.22">3836 10980 0,'0'-13'0,"0"26"0,14-39 16,-1 26-16,0 13 16,0-13-16,1 0 0,-14 13 15,13 0-15,0 1 0,-13-1 16,0 0-16,13-13 0,-26 13 16,13 1-16,0-1 0,0 0 0,-13 0 15,13 0-15,-13 1 16,-1-1-16,1-13 15,13 13-15,-13-13 0,0 13 0,-1-13 16,1 0 0</inkml:trace>
  <inkml:trace contextRef="#ctx0" brushRef="#br0" timeOffset="68036.14">4075 10993 0,'13'14'16,"-26"-1"0,13 0-16,0 0 15,0 1-15,-14-1 0,14 0 0,0 0 16,-13 0-16,13 1 0,0-1 15,-13 0-15,13 0 0</inkml:trace>
  <inkml:trace contextRef="#ctx0" brushRef="#br0" timeOffset="68336">4154 10967 0,'26'0'16,"-52"0"-16,66 0 0,-27 13 15,0 0-15,0 1 16,-13-1-16,0 0 0,0 0 15,0 1-15,0-1 0,-13 0 16,13 13-16,-13-12 0,-14 12 0,1-13 16,0 14-16,-1-14 0,1 14 15,-1-14-15,1 0 0,-1 0 16,1 0-16</inkml:trace>
  <inkml:trace contextRef="#ctx0" brushRef="#br0" timeOffset="70307.87">2209 8943 0,'-39'53'16,"25"-40"-1,1 0-15,0 1 0,0-1 16,-1 0-16,1 13 0,13-12 0,-13-14 16,0 13-16,13 0 0,-13 0 15,-1 1-15,14-1 0,-13-13 16,13 13-16,13 0 16,1-13-1,-1 0 1,0 0-16,0 0 0,0 0 0,1 0 15,-1 0-15,0 0 0,0 0 16,14 0-16,-14 0 0,0 0 0,0-13 16,1 13-16,-1 0 0</inkml:trace>
  <inkml:trace contextRef="#ctx0" brushRef="#br0" timeOffset="71051.03">2434 9049 0,'-13'-13'0,"0"13"15,-1 0 1,1 0 0,13 13-16,0 0 15,0 0 16,13-13-15,1 0 0,-1 0-1,0-13-15,0 26 47,1-13-16,-1 0-15,0 0-16,0 0 16,1-13-16,-1 0 0,0 0 15,-13-1 1,13 14-16,-13-13 0,13 0 16,-13 0-16,0-1 15,0 41 16,0-14-31,0 0 0,-13 14 16,13-14-16,0 13 0,-13-12 16,13 12-16,0-13 0,-13 14 0,13-14 15,0 0-15,-13 14 0,13-14 0,0 0 16,-14 0-16,14 1 16,0-1-16,-13-13 15,13-13 16,0-14-31,13 14 16,1 0-16,-1-14 16,0 14-16,0 0 0,0 13 15,-13-13-15,14 13 0,-1 0 16,0 0 0,-13 13-16,0 0 15,-13 0 1,0-13-1,13 14-15,-14-14 16</inkml:trace>
  <inkml:trace contextRef="#ctx0" brushRef="#br0" timeOffset="71454.35">2871 8996 0,'26'-27'0,"-52"54"0,52-67 16,-13 40-16,1-13 15,-14 26 32,0 0-47,0 1 0,0-1 16,-14 0-16,14 0 0,0 1 15,0-1-15,0 0 0,-13 0 0,13 0 16,0 1-16,0-1 16,-13 0-16,13 0 0,0 1 15,0-1-15</inkml:trace>
  <inkml:trace contextRef="#ctx0" brushRef="#br0" timeOffset="71619.5">2791 9181 0,'0'0'0,"27"0"31,-14-13-31,0 13 16,1 0-16,-1 0 16,0 0-16,0 0 0,0-13 0,1 13 15</inkml:trace>
  <inkml:trace contextRef="#ctx0" brushRef="#br0" timeOffset="72334.25">1892 9737 0,'0'0'0,"-13"13"31,13 0-15,-14-13-16,14 13 0,-13 1 0,13-1 16,-13 0-16,13 0 0,-13 0 15,13 1-15,-14-14 0,14 13 0,-13 0 16,13 0-16,0 1 0,-13-14 16,13 13-16,0 0 15,13 0-15,0 1 31,1-14-31,-1 0 0,0 0 16,0 0-16,1 0 0,-1 0 16,0 0-16,13-14 0,-12 14 15,-1 0-15,0 0 0,0 0 0,14 0 16,-14-13-16</inkml:trace>
  <inkml:trace contextRef="#ctx0" brushRef="#br0" timeOffset="72736.34">2222 9816 0,'-13'-13'0,"-26"26"31,25-13-31,1 13 0,0-13 16,13 13-16,-13-13 0,13 14 15,13-1 1,-13 0-16,13-13 16,14 0-16,-14-13 15,0 13-15,0 0 16,0-13-16,1 13 16,-14-14-16,13 1 15,0 0 1,0 26 15,-26 0-15,13 1-16,0-1 0,0 0 15,0 0-15,0 1 16,0-1-16,13 0 16</inkml:trace>
  <inkml:trace contextRef="#ctx0" brushRef="#br0" timeOffset="73172.31">2474 9737 0,'0'-14'32,"-13"41"-17,13-14-15,0 0 0,-14 14 16,14-14-16,0 0 0,0 14 0,0-14 15,0 13-15,0 1 0,-13-14 0,13 14 16,0-14-16,0 0 16,0 13-16,0-12 0,0-1 0,0 0 15,-13 0-15,13 1 0,0-1 0,0 0 16,0-39 31,0 12-47,0 1 0,13-13 0,-13 12 15,0-12-15,13 13 0,1 0 16,-14-14-16,13 14 0,0 0 16,-13-1-16,13 14 0,-13-13 0,14 13 15,-1 0 1,0 0-16,-13 13 16,0 1-16,0-1 15,0 0-15,-13 0 0,13 1 16,0-1-16,-13-13 0,13 13 15,-14 0-15,1 0 0,13 1 16</inkml:trace>
  <inkml:trace contextRef="#ctx0" brushRef="#br0" timeOffset="73499.58">2712 9723 0,'0'14'16,"13"-14"-16,-13 26 15,-13-26-15,13 13 0,0 1 16,-13-1-16,0 0 0,-1 0 0,14 0 16,-13 1-16,0-14 0,0 13 0,13 0 15,-14 0-15,1 1 16,0-1-1,26 0 17,0-13-32,-13 13 0,14-13 15,-1 0-15,0 0 16,0 0-16,1 0 0,-1 0 16,0-13-16,0 13 0,0 0 15,1 0-15,-1 0 0</inkml:trace>
  <inkml:trace contextRef="#ctx0" brushRef="#br0" timeOffset="74096.97">4128 9737 0,'0'-14'15,"-14"41"1,1-14-16,13 0 15,0 1-15,-13-1 0,13 0 16,0 13-16,0-12 0,-13-1 16,13 0-16,0 0 0,0 1 0,0-1 0,0 0 15,0 0-15,0 1 16,13-1 0</inkml:trace>
  <inkml:trace contextRef="#ctx0" brushRef="#br0" timeOffset="74374.2">4114 9723 0,'0'-13'16,"0"26"-16,14-39 0,-1 26 15,13 0 1,1 0-1,-27 13-15,13 0 0,-13 1 16,0-1-16,0 0 16,0 0-16,-13 1 0,13-1 15,-14 0-15,1-13 0,13 13 16,-13-13-16,13 13 0,-13-13 0,0 0 16,13 14-16</inkml:trace>
  <inkml:trace contextRef="#ctx0" brushRef="#br0" timeOffset="74646.89">4299 9776 0,'14'14'0,"-28"-28"0,28 41 16,-1-27-16,-13 13 0,0 13 15,0-12 1,0-1-1,0 0-15,-13-13 16,13-26 15,13 26-15,-13-14-16,13 1 16,-13 0-16,13 13 0,-13-13 15,14 13-15,-1-13 0,0 13 0,0-14 16,1 14-16,-1 0 0,0-13 15</inkml:trace>
  <inkml:trace contextRef="#ctx0" brushRef="#br0" timeOffset="74927.73">4551 9750 0,'-13'26'16,"26"-52"-16,-40 66 0,27-27 16,0 0-1,0 0-15,14-13 16,-14 13-16,13-13 0,0 14 15,0-14-15,1 0 16,12 0-16,-13-14 16,0 14-16,-13-13 0,14 0 15,-14 0 1,-14 0-16,14-1 16,-13 1-16,13 0 31,-13 13-31,39 0 31,-12 0-15</inkml:trace>
  <inkml:trace contextRef="#ctx0" brushRef="#br0" timeOffset="75099.2">4802 9723 0,'-13'0'0,"26"0"0,-13 14 0,0-1 15,-13 0-15,0 0 16,13 1-16,0-1 15,-14 0-15,14 0 16,0 0-16,14 1 0,-1-1 31,0-13-31,0 0 16,1 0-16,-1-13 16,0 13-16</inkml:trace>
  <inkml:trace contextRef="#ctx0" brushRef="#br0" timeOffset="76464.2">1812 11152 0,'0'-13'31,"-13"39"1,13-12-32,0-1 0,-13 13 15,13-12-15,0-1 16,-13-13-16,13 13 0,0 0 16,0 0-1,0 1-15,13-1 0,-13 0 16,13-13-16,0 13 15,1-13 1,12 0 0,-13 0-16,1 0 0,-1 0 15,0 0-15,0-13 0,0 13 16,1 0-16</inkml:trace>
  <inkml:trace contextRef="#ctx0" brushRef="#br0" timeOffset="76812.13">2143 11192 0,'0'0'0,"-13"-13"0,0 13 16,-1 0 0,1 0-16,0 13 0,0-13 15,0 13-15,-1 0 16,1-13-16,13 14 15,0-1 1,13-13 0,1-13-1,-1 13-15,-13-14 0,13 14 16,0-13-16,0 13 31,-13 13 0,0 1-15,0-1-16,14-13 16,-14 13-16</inkml:trace>
  <inkml:trace contextRef="#ctx0" brushRef="#br0" timeOffset="77234.9">2289 11086 0,'0'0'0,"-14"13"16,1 0-1,13 1-15,0-1 0,-13 0 16,13 14-16,-13-1 0,-1 1 0,1-1 16,13 0-16,0 1 0,-13-1 0,13 1 15,-13-14-15,13 14 16,0-14-16,0 0 0,0 0 0,0 0 0,-13 1 15,13-1-15,0 0 16,0-53 15,0 27-31,13 0 0,-13-13 16,0 12-16,13-12 0,0-1 16,-13 14-16,13 0 0,1 0 0,-14-14 15,13 27-15,0-13 0,-13 0 0,13 13 16,1-13-16,-1 26 15,-13 0 1,0 0 0,-13 0-16,13 1 0,0-1 15,-14-13-15,14 26 16,-13-26-16,13 14 0,0-1 16</inkml:trace>
  <inkml:trace contextRef="#ctx0" brushRef="#br0" timeOffset="77580.2">2474 11139 0,'13'-13'15,"0"-1"1,1 14-16,-1-13 16,0 13-16,-13-13 15,13 13-15,0-13 16,1 26 15,-14 0-15,0 0-16,0 1 15,-14-1-15,14 0 0,0 0 16,0 1-16,-13-1 0,13 0 0,0 0 0,-13 1 16,13-1-16,-13 0 0,13 0 15,0 0 1</inkml:trace>
  <inkml:trace contextRef="#ctx0" brushRef="#br0" timeOffset="77738.22">2500 11351 0,'14'-27'16,"-14"14"0,13 13-16,0-13 15,0 13-15,0 0 0,1 0 16,-1-14-16,0 14 0,0 0 0,1 0 16,-1-13-16,0 13 0,0 0 0</inkml:trace>
  <inkml:trace contextRef="#ctx0" brushRef="#br0" timeOffset="78518.1">1693 11946 0,'-26'13'0,"26"0"0,-13-13 0,13 14 0,-14-14 16,14 13-16,-13-13 0,13 13 0,-13 0 15,13 1-15,-13-14 16,13 13-16,0 0 0,-13-13 0,13 13 15,0 0 1,0 1 0,13-14-16,0 13 15,0-13-15,0 0 16,1 0-16,-1 0 0,0 0 16,0 0-16,1 0 0,-1 0 0,0 0 15,0-13-15,0 13 0,1 0 0,-1 0 16,0 0-16,-13-14 0,13 14 15</inkml:trace>
  <inkml:trace contextRef="#ctx0" brushRef="#br0" timeOffset="79288.14">1931 11999 0,'-39'0'31,"26"0"-15,-1 13-1,14 0 1,14 1 0,-1-14 15,0 0-16,0-14-15,0 14 32,1 0-1,-1 0-15,0 0-1,0 0-15,1 0 0,-1-13 16,0 13-1,-13-13-15,13 13 0,-13-13 0,14 13 16,-14-14-16,0 1 0,13 0 16,-13 0-1,0-1-15,0 41 47,0-14-47,-13 14 0,13-14 16,0 0-16,-14 14 0,14-1 15,0 0-15,-13 1 0,13-1 0,0 1 16,-13-1-16,13 1 0,0-14 16,0 13-16,0-12 0,-13-1 0,13 0 15,0 0-15,0 1 16,0-54 15,13 27-31,-13-14 16,13 14-16,-13-13 0,13 12 0,1 1 15,-14-13-15,13 12 0,0 1 0,0 0 16,-13 0-16,13 13 16,1-14-16,-1 28 31,-26-1-31,13 0 16,-14 0-16,14 1 0,-13-1 15,0 0-15,0 0 16,13 1-16,-13-14 15</inkml:trace>
  <inkml:trace contextRef="#ctx0" brushRef="#br0" timeOffset="79643.3">2527 11853 0,'13'0'0,"13"27"31,-26-14-31,0 0 16,-13-13-16,13 13 0,0 1 0,-13-1 15,0 0-15,13 0 0,-13 1 0,-1-1 16,1 0-16,13 0 15,-13-13-15,13 14 16,-13-14 0,13 13-16,13 0 31,13-13-15,-12-13-16,-1 13 15,0 0-15,0 0 16,0 0-16,1-13 0,-1 13 0,0 0 15</inkml:trace>
  <inkml:trace contextRef="#ctx0" brushRef="#br0" timeOffset="80207.07">3625 11734 0,'0'27'31,"-13"-14"-31,13 0 0,0 0 0,0 1 16,-14 12-16,14-13 0,0 1 0,0 12 16,-13-13-16,13 0 0,0 1 15,0-1-15,0 0 0,0 0 0</inkml:trace>
  <inkml:trace contextRef="#ctx0" brushRef="#br0" timeOffset="80410.63">3784 11721 0,'13'-26'31,"-13"65"-15,0-12-16,0-14 0,0 0 15,0 0-15,0 1 0,0 12 16,0-13-16,0 1 0,0-1 0,0 26 15,0-25-15,0-1 16,-13-13-16</inkml:trace>
  <inkml:trace contextRef="#ctx0" brushRef="#br0" timeOffset="80609.06">3678 11906 0,'-14'0'32,"41"0"-32,-14 0 15,0 0-15,1-13 0,-1 13 16,13 0-16,-12 0 0,12-13 0,-13 13 16,14 0-16,-1-13 0</inkml:trace>
  <inkml:trace contextRef="#ctx0" brushRef="#br0" timeOffset="80784.08">4035 11800 0,'26'-26'0,"-12"26"15,-54 26-15,80-65 0,-27 39 16,-40 13 15,27 0-31,0 0 16,-13-13-16,13 14 0,0-1 0,-13 0 16,13 0-16,-13 14 0,13-14 15,0 0-15,0 0 0,-14 1 16,14-1-16,0 0 0,0 0 15,0 1-15</inkml:trace>
  <inkml:trace contextRef="#ctx0" brushRef="#br0" timeOffset="81067.53">4075 11774 0,'13'0'0,"13"0"31,-12 13-31,-1 0 0,-13 1 16,0-1-16,0 0 0,0 0 15,0 1-15,-13-1 16,13 0-16,-14 0 0,1 0 0,0 1 15,13-1-15,-13-13 16,-1 13-16,1 0 0,0-13 16,13 14-1</inkml:trace>
  <inkml:trace contextRef="#ctx0" brushRef="#br0" timeOffset="81522.43">4247 11774 0,'0'26'31,"0"-12"-31,0-1 16,-14 0-16,14 0 0,0 1 16,0-1-16,0 0 15,0 0-15,-13 0 0,13 1 16,0-1-16,13-40 47,-13 14-32,14 0-15,-14 0 0,0 0 0,0-1 16,13 1-16,-13 0 0,0 0 0,13 13 16,-13-14-16,13 14 0,-13-13 0,13 13 15,1 0 1,-1 0-16,0 13 15,0 1-15,-13-1 16,0 0 0,0 0-16,0 14 15,0-14-15,-13 0 16,13 0-16,-13-13 0,0 27 16,-1-14-16,1-13 15,0 13-15,0-13 16,0 0-1</inkml:trace>
  <inkml:trace contextRef="#ctx0" brushRef="#br0" timeOffset="81667.7">4379 11919 0</inkml:trace>
  <inkml:trace contextRef="#ctx0" brushRef="#br0" timeOffset="82867.85">5305 8956 0,'53'-26'15,"-40"26"1,0 0-16,1 0 0,-1 0 0,0 0 16,0 0-16,0 0 15</inkml:trace>
  <inkml:trace contextRef="#ctx0" brushRef="#br0" timeOffset="83040.97">5305 9062 0,'26'-13'31,"-12"13"-15,-1 0-16,0 0 0,14-13 15,-14 13-15,0 0 0,0 0 16,0-14-16</inkml:trace>
  <inkml:trace contextRef="#ctx0" brushRef="#br0" timeOffset="83827.23">5900 8771 0,'13'0'0,"-26"0"0,40-13 15,-14 13-15,0 13 0,0-13 16,1 0-16,-1 13 0,0 0 15,-13 1 1,-13-1-16,13 0 0,-13 0 16,13 1-16,-14-1 0,1 0 0,0-13 15,13 13-15,-13 0 0,-1-13 16,14 14-16,-13-14 0,0 13 16,0 0-1,39-13 16,-13 0-31,1 0 0,-1 0 16,0 0-16,0 0 0,1 0 16,12 0-16,-13 0 0,0 0 0,14-13 15,-14 13-15,0 0 0,14-13 0</inkml:trace>
  <inkml:trace contextRef="#ctx0" brushRef="#br0" timeOffset="84168.14">6310 8758 0,'-13'0'0,"26"0"0,-39 0 15,13 13-15,-1 0 16,1 0-16,13 1 0,-13-1 16,13 0-16,13 0 15,-13 1-15,13-1 16,1-13-16,-1 13 0,0-13 15,0 0-15,1 0 0,-1 0 0,0 0 16,0-13-16,0 13 16,1 0-16,-14-13 0,13 13 0,-13-14 0,13 1 15,-13 0-15,0-14 16,-13 27-16,13-13 16,-13 0-16,-1 0 15,1 13-15,0 0 0,0-14 16,0 14-16,-1 14 15</inkml:trace>
  <inkml:trace contextRef="#ctx0" brushRef="#br0" timeOffset="84458.97">6522 8771 0,'-13'13'0,"13"0"15,0 1 1,0-1-16,13 0 16,0-13-16,-13 13 0,13-13 15,1 0-15,-1 0 16,0-13-16,0 13 16,-13-13-16,14 13 0,-14-13 15,0-1-15,0 1 0,0 0 0,0 0 16,0-1-16,-14 1 15,14 0-15,-13 13 0,0 0 0,0-13 16,-1 13-16,-12 0 0,13 13 16,-27-13-16,14 13 0,-14 0 0,0 1 15,1-1-15,12 13 0,-13-12 16,14 12-16</inkml:trace>
  <inkml:trace contextRef="#ctx0" brushRef="#br0" timeOffset="84928.08">5252 9710 0,'13'0'31,"0"-13"-31,1 13 16,-1 0-16,0 0 15,14 0-15,-27 13 0,13-13 0,0 0 16,0 0-16,-13 13 16</inkml:trace>
  <inkml:trace contextRef="#ctx0" brushRef="#br0" timeOffset="85080.05">5239 9842 0,'-13'0'16,"26"0"-16,-13 14 31,13-14-31,0 0 16,0 0-16,1-14 15,-1 14-15,13 0 0,-12 0 0</inkml:trace>
  <inkml:trace contextRef="#ctx0" brushRef="#br0" timeOffset="86748.14">5953 9618 0,'40'-14'31,"-27"14"-15,0 14-16,0-1 0,1 0 16,-14 0-16,0 1 15,-14-1-15,1 0 16,13 0-16,-13 0 0,0 1 0,0-14 16,-1 13-16,1 0 0,0 0 0,0-13 15,13 14-15,-14-14 16,1 13-16,0-13 0,13 13 15,-13-13-15,39 0 32,-13 0-32,1 0 15,-1 0-15,0 0 0,0 0 0,1 0 16,-1 0-16,0 0 0,0 0 16,0-13-16,1 13 0,-1 0 0,0 0 15,0-13-15</inkml:trace>
  <inkml:trace contextRef="#ctx0" brushRef="#br0" timeOffset="87842.36">6284 9631 0,'13'0'0,"0"0"16,1 0 0,-1 0-16,-26 13 47,-1 0-47,1-13 15,0 14-15,0-14 0,-1 13 16,1-13-16,0 0 0,0 13 15,-1-13 1,14 13-16,14-13 31,-14 13-31,13-13 0,0 14 16,0-14-16,-13 13 0,14-13 16,-14 13-16,13 0 15,-26 1 1,13-1-16,-14 0 0,1 0 15,0 0-15,0-13 0,13 14 16,-14-14-16,1 0 0,0 13 16,0-13-16,0 0 0,13 13 15</inkml:trace>
  <inkml:trace contextRef="#ctx0" brushRef="#br0" timeOffset="88188.04">6522 9684 0,'-13'26'31,"13"-13"-31,0 1 16,0-1-16,0 0 0,0 0 15,13-13-15,-13 14 16,26-14-16,-12 0 16,-1 0-16,0 0 15,0-14-15,1 14 16,-1-13-16,0 0 16,-13 0-16,0-1 0,0 1 15,-13 13-15,13-13 16,-13 0-16,-1 13 0,1 0 15,0-13-15,0 13 0,-1 0 16,1 0-16,0 13 0,0-13 16,-14 13-16,14-13 0,-13 13 0</inkml:trace>
  <inkml:trace contextRef="#ctx0" brushRef="#br0" timeOffset="95079.32">5292 11020 0,'26'-13'16,"-13"13"0,1 0-16,-1 0 0,0 0 0,0 0 15,1 0-15,-1 0 0</inkml:trace>
  <inkml:trace contextRef="#ctx0" brushRef="#br0" timeOffset="95287.18">5226 11139 0,'26'13'31,"-13"-13"-31,0 0 0,1-13 16,12 13-16,-13 0 0,1 0 0,-1 0 15,0-13-15,0 13 0,14 0 16,-14 0-16</inkml:trace>
  <inkml:trace contextRef="#ctx0" brushRef="#br0" timeOffset="97438.07">6376 10874 0,'0'-13'47,"14"13"-47,-14-13 15,-14 13 17,-12 0-17,13 13-15,0-13 16,13 13-16,-14 1 16,28-1-1,-14 0-15,13-13 16,-13 13-16,13 1 0,0-14 15,-13 13-15,13 0 0,1-13 0,-14 13 16,13 0-16,0 1 0,-13-1 16,0 0-16,0 0 15,-13 1-15,0-1 16,-1-13-16,14 13 0,-13-13 16,0 0-16,0 0 15,-14 0 1,27-13-16,0 0 15,0-1-15,0 1 16,14 13-16,-14-13 0,13 0 16,0 13-16,-13-14 0,13 1 0,0 0 15,1 0-15,-14 0 16,13-1-16,-13 1 16,0 0-16,-13 0 15,-1 13-15,14-14 16,-13 14-16,0 0 15,-13 0-15,12 0 16,1 0 0,0 14-16,0-1 15</inkml:trace>
  <inkml:trace contextRef="#ctx0" brushRef="#br0" timeOffset="98118.24">5080 11893 0,'26'-13'31,"-12"13"-31,-1 0 16,0 0-16,0 0 0,1 0 16,12 0-16,1 0 15</inkml:trace>
  <inkml:trace contextRef="#ctx0" brushRef="#br0" timeOffset="98316.35">5106 12012 0,'0'13'0,"0"-26"0,27 26 0,-14-13 16,0 0-16,1 0 16,-1 0-16,0 0 0,0 0 0</inkml:trace>
  <inkml:trace contextRef="#ctx0" brushRef="#br0" timeOffset="100820.24">6310 11761 0,'0'0'0,"-26"13"15,26 0-15,-13-13 0,13 13 0,0 1 16,-14-1-16,14 0 0,-13 14 15,13-14-15,0 0 0,0 0 0,-13 0 16,13 1-16,0-1 0,0 0 0,0 0 16,13 1-16,-13-1 0,0 0 15,13-13-15,1 13 0,-1-13 16,0 14-16,0-14 16,1 0-16,-1-14 15,-26 1 16,-1 0-31,1 13 16,-13 0-16,12 0 16,1 13-16,0-13 0,0 0 15</inkml:trace>
  <inkml:trace contextRef="#ctx0" brushRef="#br0" timeOffset="106027.42">9247 8652 0,'0'0'15,"-13"26"-15,13-12 0,-13-1 0,13 13 16,-13-13-16,13 1 0,0-1 0,-14 0 16,14 0-16,0 1 0,-13-1 0,13 0 15,0 0-15,0 1 0,-13-14 16,13 13-16,0 0 31,13-39-15,-13 12-1,0 1-15,13 0 0,-13-14 0,14 1 16,-1 13-16,0-27 0,0 14 0,0-14 16,1 13-16,-1 1 0,0-1 0,0 1 15,1 13-15,-1 0 16,0-1-16,0 1 0,0 13 0,-13-13 15,14 13-15,-1 0 0,0 13 0,0-13 16,1 13-16,-14 1 16,13-1-16,-13 0 0,13 0 0,-13 14 15,0-14-15,0 13 0,0-12 0,0-1 16,0 13-16,0-12 0,0-1 0,0 13 16,0-13-16,0 1 0,0-1 15,-13 0-15,13 0 0,0 1 0,0-1 16,0 0-16,-13-13 0,13 13 0,0 1 15</inkml:trace>
  <inkml:trace contextRef="#ctx0" brushRef="#br0" timeOffset="106237.18">9168 8797 0,'13'-13'16,"0"13"-16,1 0 16,12 0-16,-13-13 0,0 13 15,14 0-15,-14 0 0,14 0 0,-14 0 16,0-13-16,13 13 0,1 0 16,-14 0-16,14 0 0,-14-14 0</inkml:trace>
  <inkml:trace contextRef="#ctx0" brushRef="#br0" timeOffset="106863.3">9776 8784 0,'-13'0'31,"26"-13"-15,-13 0-1,0-1 1,14 1-16,-14 0 16,0 0-16,13 13 15,-13-13-15,0-1 0,13 14 16,-13-13-16,0 0 0,13 0 16,-13-1-1,13 14-15,-13-13 16,14 40 15,-14-14-15,13-13-16,-13 13 15,13-13-15,14 0 16,-14 0-16,-13-13 16,13 13-16,0 0 0,1 0 15,-1-13-15,0 13 0,0 0 16,0 0-16,1 0 15,-1 0-15,-13 13 0,13-13 16,-13 13-16,0 0 0,13-13 16,-13 14-16,0-1 0,0 0 15,0 0-15,0 0 16,0 1-16,0-1 16</inkml:trace>
  <inkml:trace contextRef="#ctx0" brushRef="#br0" timeOffset="108594.34">2474 9313 0,'40'0'15,"-27"0"-15,0 0 0,0 0 16,14-13-16,-14 13 0,13 0 0,1 0 16,-14 0-16,14 0 0,-1 0 15,-13 0-15,0 0 0,1 0 16,-1 0-16,0 0 0,0 0 0</inkml:trace>
  <inkml:trace contextRef="#ctx0" brushRef="#br0" timeOffset="108779.16">2474 9406 0,'-13'0'15,"-1"0"17,41 0-32,-14 0 0,0-13 15,1 13-15,12 0 0,-13 0 0,0 0 16,14 0-16,-14-14 0,14 14 0,-1 0 15,-13 0-15,14 0 0</inkml:trace>
  <inkml:trace contextRef="#ctx0" brushRef="#br1" timeOffset="118055.18">6800 8824 0,'26'-13'31,"-13"-1"-31,14 1 16,-14 0-16,0 0 0,1 13 16,-1-14-16,0 1 0,14 13 15,-14-13-15,0 0 0,0 13 0,0-13 16,1 13-16,-14-14 0,13 14 0,0 0 16,-13-13-16,13 13 0,1-13 15,-1 13 1,-26 26 31</inkml:trace>
  <inkml:trace contextRef="#ctx0" brushRef="#br1" timeOffset="118828.43">6601 10927 0,'14'-13'16,"-1"13"-16,-13-13 0,13 13 15,-13-13-15,13 13 0,1-14 0,-1 14 16,0-13-16,0 0 0,0 0 16,1 13-16,-1-14 0,0 1 15,0 0 1,1 13-1,-1-13 1,-13 0 15</inkml:trace>
  <inkml:trace contextRef="#ctx0" brushRef="#br1" timeOffset="119615.19">9075 9247 0,'27'0'15,"-14"13"1,0-13-16,-13 14 16,0-1-16,0 13 15,-13-26-15,13 27 0,-13-27 0,13 26 16,-14-26-16,1 27 0,-13-14 16,26 0-16,-13 0 15,-1 1-15,1-1 0,0 0 16,13 0-1,-13-13-15,26 14 16,0-14 0,0-14-16,1 14 15,-1 0-15,0 0 0,0 0 16,0-13-16,1 13 0,-1 0 0,13-13 16,-12 0-16,-1 13 0,0-14 15</inkml:trace>
  <inkml:trace contextRef="#ctx0" brushRef="#br1" timeOffset="120230.48">9353 9247 0,'-13'0'15,"0"0"1,-1 13 0,1-13-16,13 14 0,-13-1 15,13 0-15,0 0 0,0 1 16,0-1-1,0 0-15,13-13 0,-13 13 16,13-13-16,1 13 0,-1-13 16,0-13-16,0 13 15,0 0-15,1-13 16,-1 0-16,-13 0 16,0-1-16,0 1 15,0 0-15,-13 0 16,13-1-16,-14 1 15,41 26 79,-14-13-78,-13 14-1,13-1 1,-13 0-16,14-13 0,-14 13 16,13-13-16,-13 14 15,13-14-15,-13 13 0,13-13 0,1 0 16,-1 0 0,0 0-16,0 0 15,0-13-15,1 13 16,-14-14-16,13 1 0,-13 0 15,0 0 1,0-1-16,-13 14 16,-1-13-16,1 13 15,0 0-15,0 0 16,0 13-16,-1-13 16</inkml:trace>
  <inkml:trace contextRef="#ctx0" brushRef="#br1" timeOffset="120467.13">9750 9194 0,'13'-13'31,"0"26"-31,1 1 16,-14-1-16,13-13 0,-13 13 0,0 0 15,13 0-15,-13 1 0,0-1 16,0 0-16,13 0 0,-13 1 16,0-1-16,0 0 0,0 0 0,0 0 15,13 1-15,-13-1 16</inkml:trace>
  <inkml:trace contextRef="#ctx0" brushRef="#br1" timeOffset="120662.13">9710 9327 0,'0'-14'0,"0"1"16,13 13 0,1 0-16,-1-13 0,0 13 15,0 0-15,1 0 16,-1 0-16,0 0 0,0-13 15,0 13-15,1 0 0</inkml:trace>
  <inkml:trace contextRef="#ctx0" brushRef="#br1" timeOffset="121275.07">10107 9168 0,'-40'0'16,"27"0"-16,0-13 0,0 13 15,-1 13 1,1-13 0,13 13-16,0 0 15,13 1 1,-13-1-16,0 0 15,0 0-15,0 0 0,-13 1 16,0-1 0,13 0-16,-13-13 0,0 13 15,-1-13-15,14 14 0,-13-14 16,26-14 15,1 1-15,-1 13-16,0-13 0,0 13 0,0-13 15,1-1-15,-1 14 0,0-13 16,0 0-16,-13 0 0,14 13 0,-14-13 16,13-1-16,-13 1 0,0 0 15,0 0 1,-13 13-16,13-14 0,-14 14 16,1 0-16,0 0 0,0 0 15,-1 14 1,1-14-16,0 13 0,0 0 15,0-13-15</inkml:trace>
  <inkml:trace contextRef="#ctx0" brushRef="#br1" timeOffset="121667.39">9022 9697 0,'106'-26'31,"-79"26"-31,12-14 0,1 14 0,0 0 0,-1-13 16,-12 13-16,12 0 0,1-13 0,-13 13 15,-1 0-15,14-13 0,-14 13 16,1-14-16,-1 14 0,1 0 16,-14 0-16,13-13 0,-12 13 0,-1 0 15,0 0-15,0-13 0,0 13 0,1 0 16,-1 0-16,-13 13 31</inkml:trace>
  <inkml:trace contextRef="#ctx0" brushRef="#br1" timeOffset="122075.19">9432 9803 0,'40'-13'31,"-27"13"-31,1 13 0,-1-13 16,0 0-16,-13 13 0,13 0 15,-13 0-15,0 1 16,-13-1-16,13 0 15,-13 0-15,0 1 16,13-1-16,-14-13 0,14 13 0,-13-13 16,13 13-16,-13 1 15,26-1 17,0-13-32,1 0 15,12 0 1,-13 0-16,14-13 15,-14 13-15,0 0 16,0 0 0</inkml:trace>
  <inkml:trace contextRef="#ctx0" brushRef="#br1" timeOffset="123550.74">9194 11112 0,'0'-13'0,"14"13"16,-1 0-16,0 0 15,0 0-15,0 13 0,1-13 16,-1 14-16,-13-1 0,13-13 0,-13 13 16,0 0-16,0 1 0,0-1 15,-13 0-15,0 0 0,13 1 0,-14-1 16,1 0-16,0 0 0,0 0 0,0 1 15,-1-14-15,1 13 16,13 0-16,-13-13 0,0 13 16,-1-13-16,14 14 15,-13-14-15,40 0 32,-1 0-32,-13 0 15,1 0-15,-1-14 16,0 14-16,0 0 0,0 0 0,1-13 15,-1 13-15,0-13 0,0 13 16,1-13-16</inkml:trace>
  <inkml:trace contextRef="#ctx0" brushRef="#br1" timeOffset="123927.8">9538 11126 0,'0'-14'0,"-13"28"47,-13-14-47,26 13 0,-14-13 0,1 13 16,0-13-1,13 13-15,-13-13 16,13 14 0,13-1-16,-13 0 31,13-13-31,-13 13 16,0 1-16,-13-1 15,0 0-15,-1 0 16,1-13-16,13 13 0,-13-13 15,13 14-15,-13-14 0,-1 13 16</inkml:trace>
  <inkml:trace contextRef="#ctx0" brushRef="#br1" timeOffset="124229.33">9578 11165 0,'13'27'32,"-13"-14"-17,13-13 1,-13 13-16,14-13 16,-1 0-16,0 0 15,0-13-15,1 13 16,-1-13-16,-13 0 15,0-14 1,-13 27-16,-1-13 16,1 13-16,13-13 15,-26 13-15,26 13 16,-14-13-16,1 0 16</inkml:trace>
  <inkml:trace contextRef="#ctx0" brushRef="#br1" timeOffset="124442.69">9882 11033 0,'13'13'15,"-13"14"1,-13-14-1,13 0-15,0 0 0,0 1 16,0-1-16,0 0 0,-13 0 0,13 1 16,0-1-16,0 0 0,0 0 15,0 1-15</inkml:trace>
  <inkml:trace contextRef="#ctx0" brushRef="#br1" timeOffset="124631.29">9776 11165 0,'14'-13'31,"-1"13"-31,-13-13 0,13 13 16,0 0-16,0 0 0,1 0 0,-1 0 15,0 0-15,0-13 16,1 13-16</inkml:trace>
  <inkml:trace contextRef="#ctx0" brushRef="#br1" timeOffset="125431.35">10173 11020 0,'-13'0'32,"0"0"-17,0 0 1,-1 0 0,1 0-1,26 13 16,-13 0-31,0 1 0,0-1 16,14-13-16,-14 13 0,0 0 0,0 0 16,0 1-16,0-1 15,-14 0-15,14 0 0,0 1 0,-13-1 16,0 0-16,13 0 0,-13-13 16,13 14-16,-14-14 0,14-27 46,14 27-30,-1-13-16,0 0 0,0-1 16,1 1-16,-1 0 0,0 0 15,0-1-15,-13 1 0,13 0 16,-13 0-16,0 0 0,14 13 0,-14-14 16,0 1-16,0 0 0,0 0 15,0-1-15,-14 14 16,14-13-16,-13 13 0,0 0 15,0 13-15,0-13 16,-1 14-16,1-1 16,0-13-16,0 13 0</inkml:trace>
  <inkml:trace contextRef="#ctx0" brushRef="#br1" timeOffset="125927.77">8996 11708 0,'0'0'0,"40"0"16,-27 0-1,26-13-15,1 13 0,0-14 16,13 14-16,0-13 0,0 13 0,-1-13 16,1 13-16,0-13 0,0-1 0,13 14 15,-13-13-15,0 0 0,0 0 16,-13 0-16,13 13 0,-14-14 0,-12 1 16,-1 13-16,-12 0 0,12-13 0,-13 13 15,0 0-15,1-13 16,-1 13-16,-40 26 31,14-26-15,0 13-16</inkml:trace>
  <inkml:trace contextRef="#ctx0" brushRef="#br1" timeOffset="126574.29">9419 11999 0,'0'0'15,"13"-13"-15,1 13 0,-1-14 16,0 14-16,0 0 16,1 0-16,-1 0 15,0 14 1,-13-1-16,0 0 15,-13 0 1,13 1-16,-40 25 16,27-39-16,13 13 15,-27 1-15,14-1 16,0 0 0,26 0 15,0-13-31,1 0 0,-1-13 15,0 13-15,0 0 0,1 0 16,-1-13-16,0 13 0,0-13 16,14-1-16,-14 14 0,0-13 0,0 0 15,14 0-15,-14-14 0</inkml:trace>
  <inkml:trace contextRef="#ctx0" brushRef="#br1" timeOffset="127294.11">10398 9472 0,'27'0'0,"-14"0"0,27-13 15,-27 13-15,0 0 16,0 0-16</inkml:trace>
  <inkml:trace contextRef="#ctx0" brushRef="#br1" timeOffset="127454.54">10372 9657 0,'79'-26'16,"-39"13"-1,-27 13-15,13 0 16</inkml:trace>
  <inkml:trace contextRef="#ctx0" brushRef="#br1" timeOffset="128114.23">10464 11351 0,'0'0'0,"14"0"15,-1 0-15,0-14 0,0 14 16,0 0 0,1 0-16,-1 0 15</inkml:trace>
  <inkml:trace contextRef="#ctx0" brushRef="#br1" timeOffset="128322.29">10451 11470 0,'27'0'46,"-14"-14"-30,0 14-16,0-13 16,0 13-16,-13-13 15,14 0-15</inkml:trace>
  <inkml:trace contextRef="#ctx0" brushRef="#br1" timeOffset="129838.13">10993 9313 0,'-13'66'16,"13"-52"-1,0 12-15,0-13 0,0 1 16,-13-1-16,13 0 0,0 0 0,0 1 16,0-1-16,0 0 0,-13 0 15,13 0-15</inkml:trace>
  <inkml:trace contextRef="#ctx0" brushRef="#br1" timeOffset="130158.4">11099 9366 0,'-13'40'16,"13"-14"0,13-12-16,-13-1 0,13 0 15,-13 0-15,14-13 16,-14 14-16,13-14 0,0 0 0,0 13 15,1-13-15,-1 0 0,0 0 0,0-13 16,1 13-16,-1-14 16,0 14-16,-13-13 15,0 0-15,0 0 0,0-1 0,0 1 16,0 0 0,-13 13-16,0-13 0,-1 13 15,1-14-15,-13 14 16,12 14-16,1-14 15,13 13 1</inkml:trace>
  <inkml:trace contextRef="#ctx0" brushRef="#br1" timeOffset="130491.11">11602 9313 0,'0'0'0,"-13"27"32,0-14-32,-1 0 0,1 0 15,0 1-15,0-1 0,-1 0 0,1 0 16,0 1-16,0-1 16,13 0-16,-14-13 0,1 13 0,0 1 15,26-1 16,0-13-15,14 0-16,-14 0 16,0 0-16,1 0 15,-1 0-15,0 0 0,0 0 16,14 0-16,-14-13 16,0 13-1</inkml:trace>
  <inkml:trace contextRef="#ctx0" brushRef="#br1" timeOffset="130687.02">11589 9313 0,'-27'14'16,"27"-1"-16,-13 0 15,13 0-15,-13 0 0,13 14 16,-13-1-16,13 1 0,-14-14 0,1 27 15,0-14-15,13 1 0,-13-14 0,13 13 16,-14 1-16,14-14 0,-13 14 16,13-14-16,-13 0 0,13 0 0</inkml:trace>
  <inkml:trace contextRef="#ctx0" brushRef="#br1" timeOffset="131952.22">11020 11086 0,'0'-13'0,"-13"26"94,13 0-94,0 0 0,-14 1 16,14-1-16,0 0 0,-13 14 15,13-14-15,-13 0 0,13 0 16,-13 14-16,13-14 0,0 0 0,-13 0 15,13 1-15,0-1 0,-14 0 0,14 0 16,0 1-16,0-1 16,-13-13-16,13 13 15</inkml:trace>
  <inkml:trace contextRef="#ctx0" brushRef="#br1" timeOffset="133148.65">11218 11205 0,'40'-13'15,"-40"0"-15,13 13 16,0 0-16,1 13 16,-1-13-1,-13 13-15,-13 0 16,13 1-16,-14-1 0,14 0 16,-13-13-16,0 13 0,13 0 0,-13-13 15,0 14-15,-1-1 16,1 0-16,0 0 15,13 1 1,13-1 15,0-13-15,1 0-16,-1-13 16,0 13-16,0 0 0,0 0 0,1 0 15,-1 0-15,0 0 0,0-14 16,1 14-16,-1 0 15,0-13-15</inkml:trace>
  <inkml:trace contextRef="#ctx0" brushRef="#br1" timeOffset="133875.9">11681 11152 0,'-13'0'31,"0"-13"-31,0 26 31,-1-13-15,14 13-1,0 1 1,0-1 0,0 0-1,14 0-15,-14 1 16,0-1-16,-14-13 0,14 13 0,0 0 15,-13 0-15,13 1 16,-13-14-16,0 13 16,0 0-1,39-39 17,-13 26-32,-13-14 15,13 14-15,1-13 16,-1 13-16,-13-13 0,13 0 0,0 0 15,1-1-15,-14 1 0,0 0 16,13 13-16,-13-13 0,0-1 16,-13 1-16,13 0 15,-14 13-15,1-13 0,0 13 16,-14 0 0,14 0-1,0 13-15,0-13 0</inkml:trace>
  <inkml:trace contextRef="#ctx0" brushRef="#br1" timeOffset="138735.31">10993 11615 0,'27'-13'31,"-14"13"-31,0 0 16,1 0-16,12 0 0,-13 0 15,14 0-15,-1 0 0,1 0 0,-1 0 16,1 0-16,-1-13 0,0 13 0,1 0 15,-1 0-15,-12 0 0,12 0 16,-13 0-16,1 0 0,-1 0 0,0 0 16,0 0-16,0 13 0,1-13 31,-28 13-31,1-13 16,0 0-16,0 13 0,-14-13 0</inkml:trace>
  <inkml:trace contextRef="#ctx0" brushRef="#br1" timeOffset="138957.31">10967 11734 0,'-26'0'16,"52"14"-1,-13-14-15,0 0 16,1 0-16,-1 0 0,13 0 16,1 0-16,-1-14 0,-13 14 0,14 0 15,-1 0-15,1 0 0,-1 0 0,1 0 16,-1 0-16,-13 0 0,14 0 15,-14 0-15,0-13 0,1 13 16,-1 0-16,13 0 16</inkml:trace>
  <inkml:trace contextRef="#ctx0" brushRef="#br1" timeOffset="140695.23">11734 10861 0,'53'0'31,"-40"0"-31,1 0 16,-1 0-16,0 0 0,0 13 15,1-13-15,-1 0 16,-13 14-16,13-14 0,-13 13 15,13 0-15,-13 0 0,13 1 16,-13-1-16,0 13 0,0-13 0,14 14 16,-14-1-16,0 1 0,0-1 15,0 14-15,0-14 0,0 1 0,0-1 16,0 1-16,0-1 0,0 1 0,0-1 16,0 1-16,-14-1 0,14 1 15,0-14-15,-13 0 0,13 13 0,-13-12 16,13-1-16,-13 0 0,0 0 15,13 1-15,-14-1 0,1 0 0,0-13 16,0 13-16,-1-13 0,1 0 0,0 0 16,0 0-16,0-13 15,-1 13-15</inkml:trace>
  <inkml:trace contextRef="#ctx0" brushRef="#br1" timeOffset="141442.38">11615 9009 0,'13'-13'31,"1"13"-15,-1 0-16,0 0 0,0-13 16,1 13-16,-1 0 0,0 0 0,0 0 15,1 0-15,-1 13 0,0-13 16,0 0-16,0 0 0,1 13 15,-1 0-15,0 1 0,-13-1 16,0 0-16,13 0 0,-13 0 0,0 1 16,0-1-16,0 0 0,0 14 15,14-14-15,-14 13 0,0 1 0,0-1 16,0-13-16,0 27 0,0-13 0,0-1 16,13-13-16,-13 14 0,0-1 15,0 1-15,0-1 0,0-13 0,0 14 16,0-14-16,0 0 0,0 14 0,0-14 15,-13 0-15,13 0 0,-14 1 16,1-1-16,0 0 0,0-13 16,-1 13-16,1-13 0,0 14 0,0-14 0,0 0 15</inkml:trace>
  <inkml:trace contextRef="#ctx0" brushRef="#br1" timeOffset="142098.24">9618 8903 0,'-14'0'16,"41"13"15,-14-13-31,0 0 15,1 0-15,-1-13 16,0 13-16,0 0 0,0 0 0,14 0 16,-14-13-16,14 13 0,-14 0 0,13 0 15,-13-13-15,1 13 16,-1 0-16,0 0 16</inkml:trace>
  <inkml:trace contextRef="#ctx0" brushRef="#br1" timeOffset="142299.19">9551 8969 0,'67'-13'15,"-54"13"-15,0-13 16,14 13-16,-1 0 0,0 0 15,-12-13-15,12 13 0,1 0 0,-14-14 16,13 14-16,1 0 0,-14 0 0</inkml:trace>
  <inkml:trace contextRef="#ctx0" brushRef="#br2" timeOffset="147288.57">15055 8109 0,'-40'0'0,"-26"67"31,53-41-31,-14 1 0,14-1 0,0 0 0,0-12 16,-1 12-16,1 1 16,13-14-16,0 0 0,0 0 0,0 1 15,13-14-15,1 0 0,-1 13 16,0-26-16,0 13 0,14 0 0,-1-14 15,14 1-15,-14 0 0,1 0 0,-1-1 16,-13 1-16,14 13 0,-14-13 16,0 13-16,1 0 0,-1 0 0,0 0 15,0 0-15,1 13 16,-14 0-16,0 1 0,0-1 16,0 0-16,0 0 0,0 1 15,0-1-15,0 0 0,0 0 16,0 0-16,13 1 15,0-14 1</inkml:trace>
  <inkml:trace contextRef="#ctx0" brushRef="#br2" timeOffset="147802.93">15452 8348 0,'-14'-14'31,"28"1"-31,-14 0 0,0 0 16,13-1-16,-13 1 0,0 0 15,13 0-15,-13 0 0,0-1 16,13 1-16,1 0 16,-14 0-16,13 26 31,-13 0-16,0 0-15,0 1 16,13-14-16,0 0 16,14 0-16,-14 0 15,0-14-15,0 14 0,1-13 0,-1 13 16,0 0-16,0 0 0,1 0 0,-1 0 16,-13 13-16,13-13 15,-13 14-15,0-1 0,13 0 16,-13 0-16,0 0 15,0 1-15,0-1 0,0 0 0,0 0 16,0 1-16,0-1 0,0 0 16,-13-13-16</inkml:trace>
  <inkml:trace contextRef="#ctx0" brushRef="#br2" timeOffset="149506.67">14856 9287 0,'27'-13'0,"26"13"15,-40 0 1,0 0-16,0 0 0,-13 13 0,14-13 16,-14 13-16,13-13 0,-13 13 0,-13 1 15,13-1-15,-14 0 0,1 0 16,13 0-16,-13 1 16,-14-1-16,14 0 0,0-13 0,0 13 15,0 1-15,-1-14 0,14 13 0,-13-13 16,0 13-16,0-13 15,52 0 17,-25 0-32,-14-13 0,26 13 15,-13 0-15,0 0 0,1 0 16,-1-13-16,13 13 0,-12 0 0,12-14 16,-13 14-16,14 0 0,-1-13 0,-13 0 15,14 13-15,-1-13 0,-12-1 16,12 14-16</inkml:trace>
  <inkml:trace contextRef="#ctx0" brushRef="#br2" timeOffset="149818.51">15319 9260 0,'-26'-13'31,"13"13"-31,-1 0 16,14 13-16,-13-13 0,0 14 15,13-1-15,0 0 16,0 0-16,0 1 0,13-14 15,-13 13-15,13 0 0,-13 0 0,14-13 16,-1 13-16,0-13 0,0 0 0,1 0 16,-14 14-16,13-28 0,13 14 15,-12 0-15,-14-13 16,0 0-16,13 13 16,-26-26-16,13 12 0,-14 14 15,14-13-15,-13 13 16,13-13-16,-13 13 0,13-13 0,-13 13 15,-1 0-15,1 0 16</inkml:trace>
  <inkml:trace contextRef="#ctx0" brushRef="#br2" timeOffset="150252.65">15558 9208 0,'0'26'32,"0"-13"-32,-14-13 15,14 13-15,0 1 0,-13-1 16,13 0-16,0 0 0,-13 1 16,13-1-16,0 0 0,0 0 15,0 0 1,0 1-16,13-1 15,0-13 17,1 0-32,-1 0 15,0 0-15,0-13 16,0 13-16,1 0 0,-1-14 16,0 1-1,0 0 1,-13 0-16,0 0 15,0-1-15,-13 1 16,0 0-16,13 0 16,-13 13-16,13-14 0,-14 14 0,1-13 15,0 13-15,0 0 16,0 0-16,-1 0 16,14 13-1</inkml:trace>
  <inkml:trace contextRef="#ctx0" brushRef="#br2" timeOffset="150475.28">15928 9221 0,'0'0'15,"13"0"-15,-26 26 31,0-13-31,13 1 16,-14-14-16,1 26 0,0-13 16,0 1-16,0 12 0,-1-13 0,14 0 15,-13 1-15,0-1 0,13 13 16,-13-12-16,-1-1 0,14 0 16</inkml:trace>
  <inkml:trace contextRef="#ctx0" brushRef="#br2" timeOffset="150691.38">15796 9313 0,'26'14'31,"-26"-1"-15,13 0-16,-13 0 0,14-13 15,-14 13-15,13-13 16,-13 14-16,13-14 0,0 0 0,0 0 16,1 13-16,-1-13 0</inkml:trace>
  <inkml:trace contextRef="#ctx0" brushRef="#br2" timeOffset="151432.46">16391 9234 0,'-13'-13'32,"-1"13"-32,1-13 15,0 13 1,0 0-16,0 0 16,-1 0-16,1 0 15,0 0 1,13 13-1,13 0 1,-13 0-16,0 0 16,0 1-16,13-1 0,-13 0 15,-13 0-15,13 1 16,-13-1-16,13 0 0,-13-13 16,-1 13-16,14 0 0,-13-13 0,0 0 15,13 14-15,-13-14 0,-1 13 31,41-40-15,-14 27-16,-13-13 16,13 13-16,1-13 0,-1 13 15,0-13-15,0 0 0,-13-1 0,14 1 16,-1 0-16,0 0 0,-13-1 16,13 1-16,-13 0 0,0 0 15,0 0-15,0-1 0,-13 1 16,13 0-16,-13 13 0,13-13 15,-13 13-15,-1 0 0,1 0 0,-13 0 0,12 0 16,-12 0-16,13 0 0,-27 13 16,14-13-16</inkml:trace>
  <inkml:trace contextRef="#ctx0" brushRef="#br2" timeOffset="152226.24">14393 9485 0,'14'27'0,"12"12"31,-26-25-31,13-1 0,-13 0 0,13 0 16,1 1-16,-1-1 15,0-13-15,0 13 16,1-13 0,-1-13-16,0 0 0,-13-1 15,13-12-15,-13 13 0,0-14 16,0 14-16,0-13 0,-13-14 0,13 13 16,-13-12-16,13-1 0,-13 0 0,13 1 15,-14-1-15,14 14 0,0-1 16,0 1-16,0 12 0,14-12 0,-14-1 15,13 14-15,13-13 0,1-1 0,12 14 16,1 0-16,0 0 0,26-1 0,0 1 16,0 0-16,14 13 0,-1-13 15,0 13-15,14 0 0,0-14 0,12 14 16,1 0-16,13-13 0,-13 13 16,0 0-16,-13-13 0,12 13 15,-12 0-15,0-13 0,-1 13 0,-26 0 16,1 0-16,-15-13 0,1 13 0,-26 0 15,-1 0-15,1 0 0,-14 0 16,0-14-16,0 14 0,-39 0 31,0 0-31,-14 0 16,0 0-16,-13 14 0,0-14 0,0 13 16,-13-13-16</inkml:trace>
  <inkml:trace contextRef="#ctx0" brushRef="#br2" timeOffset="153019.21">14221 9168 0,'40'13'32,"-40"0"-17,0 1 1,0-1-16,0 0 15,-13-13-15,13 13 0,-13 0 16,13 1-16,-14-1 16,14 0-1,14-13 1,12-13-16,-13 13 16,1 0-16,-1-13 0,0 13 0,13 0 15,1-14-15,-1 14 0,1 0 16,-1-13-16,1 13 0,-1 0 0,1 0 15</inkml:trace>
  <inkml:trace contextRef="#ctx0" brushRef="#br2" timeOffset="154675.07">14393 11523 0,'0'0'15,"14"13"17,-14 0-32,13 0 0,-13 1 0,13-1 15,-13 0-15,13 13 0,0-12 0,1-1 16,-14 13-16,13-12 0,0-1 16,0 0-16,1 0 0,-1-13 0,0 14 15,0-1-15,1-13 0,12-13 16,-26-1-1,13 1-15,0 0 0,1 0 0,-14-14 16,13-13-16,-13 1 0,0-1 16,13 0-16,-13-13 0,-13 14 0,13-14 15,0 0-15,-13 13 0,13-13 16,0 14-16,0-1 0,0 13 0,0 1 16,0 0-16,13-1 0,-13 14 15,13 0-15,14-14 0,-14 14 0,27 0 16,-14 13-16,27-13 0,-13-1 0,26 14 15,0-13-15,13 13 0,1-13 0,-1 13 16,0-13-16,14-1 0,0 14 16,-14-13-16,14 0 0,-1 0 0,-12-1 15,12 1-15,-12 0 0,12 0 0,-13 0 16,1 13-16,-1-14 16,1 1-16,-27 0 0,-1 0 0,-12-1 15,-13 14-15,-1-13 0,1 13 0,-14 0 16,0-13-16,-66 26 31,13 0-31,1 1 0,-14-14 16</inkml:trace>
  <inkml:trace contextRef="#ctx0" brushRef="#br2" timeOffset="155519.34">14975 11404 0,'27'-14'15,"26"28"17,-40-1-32,-13 0 0,0 0 15,-13 0-15,0 1 16,-1 12-16,1-13 0,0 1 0,0-1 16,-1 0-16,1 0 0,0 1 0,0-1 15,-1-13-15,1 13 0,0 0 16,0 0-1,39-13 17,-13 0-32,1 0 15,-1 0-15,0-13 0,0 13 0,1 0 16,-1 0-16,0-13 0,0 13 16,1 0-16,-1 0 15,0-13-15,0 13 16,0 0-16</inkml:trace>
  <inkml:trace contextRef="#ctx0" brushRef="#br2" timeOffset="155971.56">15505 11417 0,'0'-13'0,"-14"13"47,-12 0-32,13 13 1,-1-13-16,1 0 0,0 13 15,0-13-15,0 0 16,13 13 0,0 0-1,13-13-15,-13 14 0,13-14 16,-13 13-16,13-13 0,-13 13 16,13-13-16,-13 13 15,14 1-15,-14-1 16,-14 0-16,1 0 15,0 1-15,0-1 0,-14-13 16,14 13-16,0-13 16,0 0-16,-14 13 0,14-13 0,0 13 15,-1-13-15</inkml:trace>
  <inkml:trace contextRef="#ctx0" brushRef="#br2" timeOffset="156262.91">15571 11430 0,'0'0'0,"0"26"16,-13-12 0,13-1-16,0 0 0,0 0 15,0 1-15,0-1 0,0 0 16,13 0-16,-13 1 0,13-14 15,0 13-15,0-13 16,1 0-16,12 0 0,-13-13 16,1 13-16,-1-14 0,-13 1 15,13 0-15,-13 0 16,-13-1-16,13 1 0,-13-13 0,-14 12 16,1-12-16,-14 0 0,0-1 0,-26 14 15,13 0-15,-13-14 0,0 14 16,-13 0-16</inkml:trace>
  <inkml:trace contextRef="#ctx0" brushRef="#br2" timeOffset="157840.19">10147 11073 0,'-13'-13'0,"13"-1"15,0 1 1,13 13-16,-13-13 16,13 0-16,-13-1 0,13 14 15,-13-13-15,13 0 0,1 0 16,-1 0-16,-13-1 0,13 1 16,0 0-16,-13 0 0,14 13 0,-14-14 15,13 1-15,0 0 16,-39 26 15,12 0-15,14 1-16,-13-14 0,0 13 15,0 13-15,13-12 0,-14-1 0,-12 13 16,13 1-16,13-1 0,-13-13 16,-1 14-16,1-1 0,0 1 0,13-1 15,-13 1-15,13-14 0,0 0 16,0 0-16,0 1 0,0-1 0,0 0 15,13 0-15,-13 0 0,13 1 0,0-14 16,1 13-16,-1-13 0,0 0 16,0 0-16,0-13 0,1 13 15,-1-14-15,0 1 0,14 13 0,-14-13 16,0 0-16,-13 0 0,13-1 0,1 14 16,-14-13-16,0 0 0,0 0 15,0-1-15,-14 1 16,14 0-16,-13 13 0,0-13 0,0 13 15,-1-14-15,1 14 0,0 0 16,0 0-16,-1 0 0,1 0 16,0 0-16,0 0 0,13 14 0,-13-14 15,13 13-15,-14-13 0,14 13 16,-13-13-16</inkml:trace>
  <inkml:trace contextRef="#ctx0" brushRef="#br2" timeOffset="158371.19">10186 11139 0,'14'-13'16,"-1"26"0,0-13-1,-13 13-15,13-13 16,-13 13-16,14 1 0,-14-1 15,0 0-15,13 0 0,-13 1 16,0-1-16,-13 0 0,13 0 16,0 0-16,-14 1 0,14-1 0,-13 0 15,13 0-15,-13 1 0,0-14 0,-1 13 16,1-13-16,0 13 16,0-13-16,0-13 15,-1 0-15,14-1 16,-13 1-16,13 0 0,0 0 15,-13-14-15,13 14 0,0-13 0,13 12 16,-13-12-16,0-1 0,13 1 0,-13 13 16,14-14-16,-1 1 0,0 13 15,-13-14-15,13 14 0,0-14 0,1 14 16,-1 0-16,0-13 0,0 12 0,1 1 16,-1 0-16,0 0 0,0 13 15,1-14-15,-14 1 0</inkml:trace>
  <inkml:trace contextRef="#ctx0" brushRef="#br2" timeOffset="163402.43">16219 11258 0,'0'-13'0,"0"52"15,-13-25 1,13-1-16,-14 0 0,1 14 0,13-14 16,-13 13-16,13-12 0,-13 12 0,0-13 15,13 14-15,-14-14 0,1 13 16,13-12-16,-13-1 0,0 0 0,13 0 15,-14-13-15,14 14 0</inkml:trace>
  <inkml:trace contextRef="#ctx0" brushRef="#br2" timeOffset="163638.87">16021 11417 0,'0'0'0,"0"-13"0,13 13 15,0 0 1,0 0-16,0 0 16,1 13-16,-1-13 0,0 13 15,0-13-15,1 0 0,-1 13 16,0-13-16,0 13 0,0-13 16,1 14-16,-1-1 15,0-13-15,0 13 16,1-13-16</inkml:trace>
  <inkml:trace contextRef="#ctx0" brushRef="#br2" timeOffset="164052">16603 11218 0,'-27'14'0,"1"12"31,26-13-31,-14 0 0,1 14 0,13-14 15,-13 14-15,13-14 0,0 0 0,0 14 16,-13-14-16,26 0 0,-13 0 16,0 0-16,13 1 15,0-14-15,1 0 0,-14 13 16,26-26-16,-13 13 16,1-14-16,-14 1 15,0 0 1,-14 0-16,1 0 0,0 13 15,-14 0-15,14-14 0,-13 14 16,-1 0-16,14 0 0,-27 0 0,1 14 16</inkml:trace>
  <inkml:trace contextRef="#ctx0" brushRef="#br2" timeOffset="164785.17">14288 11139 0,'13'0'16,"-26"0"-16,39 13 15,-13 0 1,-26 1-16,0-1 0,13 0 15,-13 0-15,13 1 0,-14-1 0,1 0 16,0 0-16,13 0 0,-13-13 16,-1 14-16,14-1 0,-13-13 15,13 13-15,13-13 32,1 0-17,-1 0-15,0 0 0,-13-13 0,27 13 16,-14 0-16,0-13 15,0 13-15,14-14 0,-14 14 16</inkml:trace>
  <inkml:trace contextRef="#ctx0" brushRef="#br2" timeOffset="165371.13">17171 9260 0,'40'-13'16,"-27"13"-16,54 0 31,-54 0-31</inkml:trace>
  <inkml:trace contextRef="#ctx0" brushRef="#br2" timeOffset="165511.14">17224 9340 0,'14'0'32,"12"0"-32,-13 0 0,1 0 0,-1 0 15,0 0-15,0 0 0,0 0 0,14 0 16,-14 13-16</inkml:trace>
  <inkml:trace contextRef="#ctx0" brushRef="#br2" timeOffset="166008.29">17145 11284 0,'79'0'16,"-65"0"-1,-1 0-15</inkml:trace>
  <inkml:trace contextRef="#ctx0" brushRef="#br2" timeOffset="166152.79">17224 11404 0,'53'-14'15</inkml:trace>
  <inkml:trace contextRef="#ctx0" brushRef="#br2" timeOffset="188464.3">18455 9049 0,'-27'0'15,"14"13"1,0-13-16,0 13 0,-1-13 0,1 13 15,0 1-15,-14-1 0,14-13 16,0 13-16,0 0 0,-1-13 0,1 14 16,0-14-16,0 13 0,0 0 0,-1 0 15,14 1 1,0-1 0,14 0-16,-1 0 15,0-13-15,13 0 0,-12 0 0,12 13 16,-13-13-16,14 0 0,-1 0 15,1 0-15,-14 0 0,13 0 16,1 0-16,-14 0 0,14 0 0,-14 0 16,0 0-16,0-13 0,1 13 0,-1 0 15,0-13-15</inkml:trace>
  <inkml:trace contextRef="#ctx0" brushRef="#br2" timeOffset="188703.13">18534 9075 0,'0'0'0,"-13"13"32,0 1-32,13-1 15,-14 0-15,14 0 0,-13 1 16,13-1-16,-13 13 0,0-12 15,13-1-15,-14 0 0,1 13 0,13-12 16,-13-1-16,0 0 0,13 0 0,-13 1 16,13-1-16,-14 0 0</inkml:trace>
  <inkml:trace contextRef="#ctx0" brushRef="#br2" timeOffset="189067.19">18719 9102 0,'-13'0'16,"-13"26"15,12-13-31,14 1 0,-13 12 0,13-13 16,0 1-16,0-1 0,0 0 15,0 0-15,13 0 0,-13 1 16,14-14-16,-1 13 0,0-13 16,0 0-16,0 0 0,1 0 0,-1 0 15,0-13-15,14 13 0,-14 0 16,0-14-16,0 1 0,1 0 0,-14 0 16,13 0-16,-13-1 0,13 1 0,-13 0 15,0 0-15,0-1 0,-13 1 16,13 0-16,-13 0 0,-1 13 15,1-14-15,0 14 0,0-13 0,-14 13 16,14 0-16,-14 0 0,14 0 0,-13 0 16,-1 13-16,1-13 15,13 0-15</inkml:trace>
  <inkml:trace contextRef="#ctx0" brushRef="#br2" timeOffset="208195.99">17859 11827 0,'14'-13'0,"-1"-1"16,13 14 0,-12 0-16,-1 0 15,-13 14-15,13-14 0,0 13 16,-13 0-16,0 0 16,0 1-16,-13-1 15,13 0-15,0 0 16,-13-13-16,13 13 15,13 1 1,0-14-16,-13 13 16,13-13-16,1 0 0,-1 13 0,0 0 15,0-13-15,-13 14 0,14-1 16,-14 0 0,0 0-16,-14-13 15,14 14-15,-13-14 0,13 13 0,-13 0 16,0-13-16,-1 0 0,1 13 0,0-13 15,0 13-15,0-13 0,-1 0 16,1 0-16,0 0 0</inkml:trace>
  <inkml:trace contextRef="#ctx0" brushRef="#br2" timeOffset="209081.2">18362 11800 0,'0'-13'31,"-26"13"-15,12 0-1,1 0 1,0 0-16,0 13 16,-1-13-16,1 0 15,13 14-15,-13-14 16,13 13-16,13 0 15,-13 0-15,0 1 16,13-1-16,-13 0 0,0 0 16,14 0-16,-14 1 0,0-1 15,0 0-15,0 0 0,0 1 0,-14 12 16,14-13-16,-13-13 0,13 14 16,-13-1-16,0 0 0,0-13 15,13 13-15,-14-13 0,1 0 16,13 13-16,-13-13 0,0 0 15,39-26 17,-13 13-32,1 0 0,12-1 15,-13 1-15,0 0 0,1 0 0,-1-1 16,0 1-16,-13 0 0,13-14 16,1 14-16,-14 0 0,0 0 0,0 0 15,0-1-15,0 1 0,0 0 16,0 0-16,-14-1 0,1 1 15,13 0-15,-13 13 16,0-13-16,-1 13 16,1 13-1</inkml:trace>
  <inkml:trace contextRef="#ctx0" brushRef="#br2" timeOffset="209238.27">18521 11867 0,'0'13'0,"13"-13"31</inkml:trace>
  <inkml:trace contextRef="#ctx0" brushRef="#br2" timeOffset="209590.34">18627 11748 0,'13'-14'31,"13"14"-31,-12 14 16,-1-14-16,0 0 16,0 13-16,0 0 0,1-13 15,-14 13-15,0 0 0,13 1 16,-13-1-16,0 0 0,0 0 0,13 1 15,-13-1-15,0 0 0,0 0 0,0 0 16,0 1-16,0-1 0,0 0 16,-13 0-16,13 1 0,0-1 15,0 0-15,-13-13 0,13 13 16</inkml:trace>
  <inkml:trace contextRef="#ctx0" brushRef="#br2" timeOffset="209796.11">18521 12012 0,'26'-13'31,"-12"13"-31,-1 0 16,0-13-16,13 13 0,-12 0 0,12 0 0,1-14 15,-14 14-15,13 0 16,1 0-16,-14 0 0,13 0 0,-12 0 15,-1 0-15,0 0 0,0 0 0,1 14 16</inkml:trace>
  <inkml:trace contextRef="#ctx0" brushRef="#br2" timeOffset="210064.1">17754 12290 0,'0'0'0,"39"0"15,-12 0 1,-1-13-16,27 13 0,-13 0 0,13-14 16,13 14-16,-13 0 0,13-13 0,0 13 15,-13-13-15,13 13 0,-13 0 16,-13-13-16,13 13 0,-14 0 0,-12 0 15,-1-13-15,1 13 0,-14 0 0,13 0 16,-12 0-16,-1 0 16,0 0-16</inkml:trace>
  <inkml:trace contextRef="#ctx0" brushRef="#br2" timeOffset="210321.37">17965 12356 0,'106'0'31,"-79"-13"-31,25 13 0,-12-13 16,13 13-16,0 0 0,0-14 0,0 14 16,0-13-16,-14 0 0,1 13 15,0 0-15,-14-13 0,1 13 0,12 0 16,-25-14-16,12 14 0,-13 0 15,0-13-15,1 13 0,-1 0 0,0 0 16,0-13-16,1 13 16,-1 0-16,-13-13 0,13 0 15</inkml:trace>
  <inkml:trace contextRef="#ctx0" brushRef="#br2" timeOffset="-209596.75">4035 9221 0,'40'0'31,"-27"0"-15,0 0-16,0 0 0,14 0 0,-1 13 16,1-26-16,12 13 0,-12 0 15,12 0-15,-12 0 0,-1 0 0,1 0 16,-1-13-16,-12 13 0,-1 0 0,0 0 16,0 0-16,0 0 0,1 0 15,-54 13 1,27-13-1,0 13-15</inkml:trace>
  <inkml:trace contextRef="#ctx0" brushRef="#br2" timeOffset="-209364.79">4154 9300 0,'-93'27'15,"54"-27"1,171-27-16,-278 54 0,133-27 0,53 0 31,-14 0-31,1 0 0,-1-14 16,1 14-16,26 0 15,-14 0-15,1-13 0,13 13 0,-13 0 16,-1-13-16,-12 13 0,12 0 0,-12 0 16,-1 0-16,-12 0 0,12 0 0,-13 0 15,1-13-15,12 13 0,-13 0 16,0 0-16,1 0 0,-14 13 31</inkml:trace>
  <inkml:trace contextRef="#ctx0" brushRef="#br2" timeOffset="-208861.65">4313 10107 0,'26'0'16,"-13"0"0,14 0-16,-14 0 15,14 0-15,12-13 0,-12 13 0,-1 0 16,1 0-16,12-13 0,-12 13 0,-14 0 16,13-14-16,-12 14 0,-1 0 15,0 0-15,0 0 0,1 0 0,-1 0 16</inkml:trace>
  <inkml:trace contextRef="#ctx0" brushRef="#br2" timeOffset="-208629.56">4313 10200 0,'0'13'16,"0"-26"-16,13 26 15,0-13 1,0 0-16,14 0 0,-14 0 0,14-13 15,-1 13-15,14 0 0,-14 0 0,1 0 16,12-14-16,-12 14 0,-1 0 16,1 0-16,-1 0 0,1 0 0,-14 0 15,0 0-15,0 0 0,0-13 0,1 13 16,-14 13-16,13-13 16</inkml:trace>
  <inkml:trace contextRef="#ctx0" brushRef="#br2" timeOffset="-207857.67">3678 11337 0,'13'0'0,"0"0"16,0 0-16,1-13 0,12 13 15,146-13 1,-132 13-16,-14 0 16,1 0-16,-1-13 0,1 13 0,-14 0 15,13 0-15,-12 0 0,-1 0 16,0 0-16,0 0 0</inkml:trace>
  <inkml:trace contextRef="#ctx0" brushRef="#br2" timeOffset="-207623.73">3744 11443 0,'40'-13'31,"-27"13"-31,13 0 0,1-13 0,-1 13 16,1-13-16,-1 13 0,1 0 16,-1-14-16,0 14 0,14 0 0,-27-13 15,14 13-15,-14 0 0,14-13 16,-14 13-16,0 0 0,0 0 0,0 0 16,1 0-1,-14 13-15</inkml:trace>
  <inkml:trace contextRef="#ctx0" brushRef="#br2" timeOffset="-207180.47">3810 12330 0,'40'-14'32,"-27"14"-32,0 0 0,14 0 15,-14-13-15,13 13 0,1 0 0,-1-13 16,1 13-16,-1-13 0,1 13 15,-1 0-15,-13-14 0,14 14 0,-14 0 16,0-13-16,0 13 0,1 0 16,-1 0-16</inkml:trace>
  <inkml:trace contextRef="#ctx0" brushRef="#br2" timeOffset="-206571.57">3717 12528 0,'0'0'0,"14"13"16,-1-13-16,13 0 15,-12-13-15,12 13 0,0 0 16,-12-13-16,12 13 0,1 0 0,-1-13 16,1-1-16,-1 14 0,0-13 15,1 13-15,-1-13 0,1 13 0,-14-13 16,14 13-16,-14-14 0,0 14 0,0 0 15,0-13-15,1 13 16,-1 0-16,0 0 0,-13-13 16,13 13-16,1 0 15,-1 0 17,-13-13-17,13 13 1,0 13 46,-39-26 157</inkml:trace>
  <inkml:trace contextRef="#ctx0" brushRef="#br2" timeOffset="-205002.42">6284 9102 0,'26'0'31,"-12"0"-31,-1 0 15,0 0-15,13 0 0,-12 0 16,12 0-16,-13 0 0,14 0 0,-1 0 16,-12 0-16,12-14 0,-13 14 0,0 0 15,1 0-15,-1 0 0,0-13 16,-39 26 0,12 1-1,1-14-15,-13 13 0,-1-13 16,1 13-16,13-13 0,-14 13 15,1-13-15,12 14 0,1-14 0,0 0 0,0 0 16,0 0-16,13 13 16,-14-13-16,54 0 15,-27 0 1,0 0-16,1 0 0,12 0 16,1 0-16,-14 0 0,13 0 0,1 0 15,-14 13-15,0-13 0</inkml:trace>
  <inkml:trace contextRef="#ctx0" brushRef="#br2" timeOffset="-204639.33">6099 10253 0,'26'0'16,"-13"0"-1,1-14-15,12 14 0,-13 0 0,0 0 16,14-13-16,-14 13 0,0-13 16,1 13-16,-1 0 0</inkml:trace>
  <inkml:trace contextRef="#ctx0" brushRef="#br2" timeOffset="-204506.62">6112 10319 0,'-13'0'0,"26"0"0,0 0 16,0 0 0,1 0-16,12-13 0,-13 13 15</inkml:trace>
  <inkml:trace contextRef="#ctx0" brushRef="#br2" timeOffset="-204113.15">6337 11456 0,'13'-13'0,"0"13"16,0 0-16,1-13 0,39 0 15,-40 13-15,0 0 16,0-13-16</inkml:trace>
  <inkml:trace contextRef="#ctx0" brushRef="#br2" timeOffset="-203938.58">6350 11536 0,'26'0'15,"-12"0"-15,-1 0 16,-13-13-16,13 13 0,0 13 16,1-13-16</inkml:trace>
  <inkml:trace contextRef="#ctx0" brushRef="#br2" timeOffset="-203678.53">6165 12330 0,'-13'0'0,"52"-14"46,-26 14-46,1 0 16,-14-13-16,13 13 0,0 0 16,0 0-16,-13-13 0,14 13 15</inkml:trace>
  <inkml:trace contextRef="#ctx0" brushRef="#br2" timeOffset="-203507.37">6138 12502 0,'0'0'0,"27"-14"47,-14 14-47,0-13 16,0 13-16,1 0 15</inkml:trace>
  <inkml:trace contextRef="#ctx0" brushRef="#br2" timeOffset="-201758.18">6191 8586 0,'-13'13'15,"39"-40"32,1 14-47,-1 0 16,14-13-16,0-1 0,-1 1 0,14-14 16,14 14-16,-15-1 0,15-13 15,-1 14-15,26-14 0,14 1 16,0-1-16,0 13 0,0 1 0,13-14 0,0 14 15,13-14-15,-13 14 0,13-1 16,1 1-16,12-1 0,1 1 16,-1-1-16,1 1 0,13 13 0,-1-14 0,1 14 15,0 0-15,0 0 16,-1 13-16,1-14 0,0 14 0,0-13 16,-1 13-16,1 13 0,0-13 0,0 0 15,-1 14-15,-12-14 0,13 13 16,-14 0-16,14 0 0,-14 0 0,1 14 15,-1-14-15,-12 0 0,-1 14 0,14-14 16,-14 14-16,0-14 0,-13 13 16,0-13-16,14 14 0,-28-14 15,-12 0-15,0 1 0,-14 12 0,0-13 16,1 0-16,-1 1 0,-13-1 0,0 0 16,-13 0-16,0 1 0,-13-1 15,0-13-15,-14 13 0,0-13 0,1 13 16,-14-13-16,0 0 0,1 14 0,-1-14 15,0 0 1</inkml:trace>
  <inkml:trace contextRef="#ctx0" brushRef="#br2" timeOffset="-201317.68">13838 8057 0,'0'13'0,"0"13"16,13-26-1,-13 13-15,13-13 0,0 14 16,1-1-16,-1 0 0,0-13 0,14 13 15,-14 1-15,0-1 0,0-13 0,0 13 16,1 0-16,-1 1 0,0-14 16,0 13-16,1 0 0,-1-13 0,-13 13 15,13-13-15,-13 13 0,13-13 16,-13 14-16,0-1 16,-13 0-16,13 0 15,-26 1-15,-1-1 0,1 0 0,-14 14 16,0-14-16,1 0 0,-14 13 0,13 1 15,-13-1-15,0 1 0,0-1 16,-13 1-16,13-1 0,0 1 0,0-1 16,0 14-16</inkml:trace>
  <inkml:trace contextRef="#ctx0" brushRef="#br2" timeOffset="-198578.54">8890 9247 0,'-13'66'0,"26"-132"0,-26 146 0,13-67 15,0 13-15,13-13 0,0 14 16,0-14-16,1 0 0,-1 14 0,13-1 15,14-12-15,-13 12 0,-1-13 16,14-13-16</inkml:trace>
  <inkml:trace contextRef="#ctx0" brushRef="#br2" timeOffset="-198292.02">9710 9155 0,'66'39'0,"-52"-25"16,-14-1-16,13 0 0,-13 13 0,0-12 16,13 12-16,-13-13 0,0 14 0,0-14 15,0 13-15,0-12 0</inkml:trace>
  <inkml:trace contextRef="#ctx0" brushRef="#br2" timeOffset="-198009.53">10028 9287 0,'0'40'16,"0"52"0,0-79-1</inkml:trace>
  <inkml:trace contextRef="#ctx0" brushRef="#br2" timeOffset="-197753.63">10319 9168 0,'0'132'32,"0"-105"-32,0-1 15,-13 0-15,-1 1 0</inkml:trace>
  <inkml:trace contextRef="#ctx0" brushRef="#br2" timeOffset="-197068.2">8983 11245 0,'-27'26'0,"27"-13"0,0 1 0,-13-1 15,13 13-15,-13-12 0,13-1 0,0 13 16,0-12-16,0 12 0,0-13 15,0 0-15,13 14 0,0-14 16,-13 0-16,13 1 0,14-1 0,-14 0 16</inkml:trace>
  <inkml:trace contextRef="#ctx0" brushRef="#br2" timeOffset="-196713.27">9644 11099 0,'27'40'0,"-14"-27"16,-13 0-16,0 1 0,13 25 15,-13-12-15,0-14 0,-13 13 16,13 1-16,-13 13 0,-40 105 31</inkml:trace>
  <inkml:trace contextRef="#ctx0" brushRef="#br2" timeOffset="-196256.85">10120 11086 0,'-39'198'31,"39"-171"-31,13-1 0,-13 1 0,0-14 16,13 14-16,0-14 0,1 0 15</inkml:trace>
  <inkml:trace contextRef="#ctx0" brushRef="#br2" timeOffset="-195877.37">10398 10861 0,'27'27'0,"-14"-14"0,-13 13 15,26 1-15,-26-1 0,27 133 32,-27-119-32,-13-1 0,-1 14 0,-12 0 15,-1 0-15,1 0 0</inkml:trace>
  <inkml:trace contextRef="#ctx0" brushRef="#br2" timeOffset="-172516.46">20876 873 0,'0'27'31,"0"-14"-31,0 13 0,0-13 16,13 14-16,-13-14 15,0 14-15,0-1 0,0-13 0,0 14 16,13-14-16,-13 13 0,0-12 0,0-1 16,0 0-16,0 0 0,0 1 15,0-1-15,0 0 16,0-39-1,0-1-15,0 1 16,0-1-16,0-12 0,0-1 16,0-13-16,13 26 0,-13-25 0,0 12 15,14 0-15,-14 1 0,13 12 0,-13 14 16,13-14-16,-13 14 0,13 0 0,0 0 16,1 13-16,-1 13 15,0 0-15,0 0 0,1 1 16,-1 12-16,0 1 0,0-1 0,1 14 15,-14-14-15,13-13 0,-13 14 16,13-1-16,-13-13 0,13 1 0,-13-1 16,0 13-16,13-12 0,-13-1 15,0 0-15,0 0 0,14 1 0,-14-1 16,0 0-16,0 0 16</inkml:trace>
  <inkml:trace contextRef="#ctx0" brushRef="#br2" timeOffset="-172326.57">20889 1151 0,'0'0'0,"-13"0"0,13-13 15,13-1 1,0 1-16,0 0 16,1 0-16,12 0 0,0-1 15,1 1-15,13 0 0,-14 0 0,1-1 16,-1 1-16,0 13 0,1-13 0,-14 13 15,14-13-15,-14 13 0,0 0 16,0 0-16,0 0 0,1 0 0</inkml:trace>
  <inkml:trace contextRef="#ctx0" brushRef="#br2" timeOffset="-171876.67">21444 1019 0,'-26'-14'31,"26"1"-15,0 0-16,-13 0 0,13-1 15,0 1-15,0 0 0,0 0 16,0 0-16,0-1 15,0 1-15,0 0 16,13 26 15,0-13-31,-13 13 16,13-13-16,1 14 16,12-14-16,-13-14 15,1 14-15,-1-13 16,0 13-16,0-13 0,1 0 15,-1 13-15,-13-14 16,13 14-16,0 0 16,0 14-16,1-1 15,-14 0 1,13-13-16,-13 13 0,13 1 16,0-1-16,1-13 15,-1 13-15</inkml:trace>
  <inkml:trace contextRef="#ctx0" brushRef="#br2" timeOffset="-171672.67">22013 833 0,'0'0'0,"0"-13"0,14 0 15,-1 13-15,0-13 16,0 13-16,0 0 16</inkml:trace>
  <inkml:trace contextRef="#ctx0" brushRef="#br2" timeOffset="-171537.36">21987 926 0,'-13'0'0,"39"0"47,-13-13-47,1 13 0,-1 0 15,0-13-15,0 13 0,0-14 0,1 14 16,-1 0-16</inkml:trace>
  <inkml:trace contextRef="#ctx0" brushRef="#br2" timeOffset="-171280.46">22635 489 0,'0'-13'0,"13"26"32,-13 1-17,14-1-15,-14 0 0,13 14 16,-13-14-16,0 0 0,13 14 0,-13-14 15,0 0-15,13 13 0,-13-12 0,0-1 16,13 0-16,-13 0 0,0 1 16,0-1-16,14 0 0,-14 0 0,0 1 15,13-1-15,-13 0 16</inkml:trace>
  <inkml:trace contextRef="#ctx0" brushRef="#br2" timeOffset="-171027.44">22490 741 0,'0'0'0,"39"-27"16,-26 27-16,14-13 0,-14 13 16,14-13-16,-1 13 0,14-13 15,-14-1-15,14 1 0,-14 13 0,1-13 16,-1 13-16,1-13 0,-14 13 0,13 0 15,-12-13-15,-1 13 0,0 0 16,0-14-16,1 14 0,-1 0 16,-26 14 15,13-1-31,-14-13 0</inkml:trace>
  <inkml:trace contextRef="#ctx0" brushRef="#br2" timeOffset="-170000.38">21140 2064 0,'0'-13'16,"0"26"-16,-13-26 0,0 13 15,0 13-15,-1 0 16,14 0-16,-26 0 0,13 1 16,-1 12-16,1-13 0,0 14 0,13-14 15,-13 13-15,-1-12 0,14-1 0,0 0 16,-13 0-16,13 1 0,13-14 16,14 0-1,-14-14-15,14 14 0,-14-13 0,0 13 16,14-13-16,-14 13 0,0-13 15,0 13-15,14-14 0,-14 14 0,0 0 16,0 0-16,1 0 0,-1 14 16,0-14-16,0 13 15,0-13-15,1 13 0,-14 0 0,13-13 16,-13 14-16,13-14 0,0 13 0,-13 0 16,14-13-16,-1 13 0,0 1 15,0-14-15</inkml:trace>
  <inkml:trace contextRef="#ctx0" brushRef="#br2" timeOffset="-169368.6">21497 2222 0,'0'-13'31,"0"0"-31,0 0 16,0 0-16,0-1 0,-13 1 15,26 0-15,-13 0 0,0-1 16,0 1-16,0 0 0,0 0 15,0 0 1,14 13 0,-1 13-1,0 0-15,0 0 16,1-13-16,-1 0 16,0 0-1,0 0-15,0 0 0,-13-13 16,14 13-16,-1 0 0,-13-13 0,13 13 15,0 0 1,1 0-16,-1 0 16,0 0-16,-13 13 0,13-13 0,1 13 15,-1 0 1,0-13-16,-13 14 16,13-14-16,-13 13 0,13-13 0,1 0 15,-1 0-15</inkml:trace>
  <inkml:trace contextRef="#ctx0" brushRef="#br2" timeOffset="-169163.43">22146 1984 0,'-14'-13'0,"41"0"16,-14 0 0,0 13-16,1 0 0,-1-14 0,0 14 15,0 0-15</inkml:trace>
  <inkml:trace contextRef="#ctx0" brushRef="#br2" timeOffset="-168973.37">22132 2103 0,'-13'0'0,"40"-13"31,12 0-15,-25 13-16,-1-13 15,26 0-15,1-1 16,-27 1-16,1 13 15,-1-13-15</inkml:trace>
  <inkml:trace contextRef="#ctx0" brushRef="#br2" timeOffset="-168637.38">23164 1640 0,'-13'14'31,"13"-1"-31,-13 0 0,13 0 16,-13 14-16,-1 12 15,1-25-15,0 12 0,0 14 16,-14 0-16,27-27 16,-13 13-16,13-13 15</inkml:trace>
  <inkml:trace contextRef="#ctx0" brushRef="#br2" timeOffset="-168400.57">22953 1773 0,'0'0'0,"13"0"15,0 0-15,0 13 0,1-13 16,12 0-16,-13 0 0,14 13 16,-14-13-16,13 13 0,1 1 0,-1-14 15,1 13-15,-14 0 0,13-13 16,-12 13-16,-1-13 0,0 14 0,0-14 16</inkml:trace>
  <inkml:trace contextRef="#ctx0" brushRef="#br2" timeOffset="-167320.52">22662 1998 0,'13'13'62,"0"0"-62,0-26 31,-13 0-31,13 13 16,-13-14-16,0 1 0,0-13 16,0 12-16,0-12 0,0 13 15,-13-14-15,13-12 0,-13-1 0,0 13 16,13 1-16,-13 0 0,13-1 0,-14 14 16,14-14-16,-13 14 0,13-13 15,0 13-15,-13-1 0,13 1 16,13 0-16,-13 0 0,0-1 0,13 1 15,1 0-15,-1 0 0,53-40 16,-26 26-16,13 1 0,-14 13 16,14-14-16,0 14 0,0-14 0,-13 14 15,-1 0-15,1 13 0,-13-13 0,12 0 16,-26-1-16,14 14 0,-14 0 16,0-13-16,1 13 0,-1 0 0,0-13 15,0 13-15,0 0 16,1-13-1,-1 13 1,0 0 203,-13 13-204,-13 0 17</inkml:trace>
  <inkml:trace contextRef="#ctx0" brushRef="#br2" timeOffset="-165636.49">21153 3479 0,'14'-26'0,"-28"52"0,41-52 0,-14 13 16,0 26-1,1 0-15,-14 0 16,13 0-16,-13 14 0,13-1 16,0 1-16,-13 13 0,0-1 0,13-12 0,-13-1 15,0 1-15,0 12 0,0-12 16,0-1-16,0 1 0,0-14 16,0 13-16,0-12 0,0-1 0,0 13 15,0-12-15,0-1 0,14-13 16,-1-13-1,0 13-15,0-14 0,1-12 16,-1-1-16,0 1 0,0-1 0,14-12 16,-14 12-16,0-12 0,0-14 0,1 13 15,-1 0-15,0 14 0,-13-14 16,13 14-16,-13-1 0,14 14 0,-14 0 16,0 0-16,0-1 0,13 14 15,0 27 1,-13-14-16,0 0 0,0 14 15,13-14-15,-13 13 0,0 1 16,14-14-16,-14 14 0,13-1 16,-13-13-16,13 14 0,-13-14 0,0 0 15,13 14-15,-13-14 0,13 0 16,-13 0-16,0 1 0</inkml:trace>
  <inkml:trace contextRef="#ctx0" brushRef="#br2" timeOffset="-165458.25">21180 3757 0,'-13'-13'16,"52"0"0,-25-1-16,12 14 0,0-13 15,14 0-15,-13 0 0,12 13 16,1-14-16,-14 1 0,1 13 15,-1-13-15,1 13 0,-1-13 0,1 13 0,-1 0 16</inkml:trace>
  <inkml:trace contextRef="#ctx0" brushRef="#br2" timeOffset="-165001.78">21868 3678 0,'-13'-14'15,"-1"-12"1,14 13-16,0 0 0,0-1 16,-13-12-16,13 13 0,0-1 15,0-12-15,0 13 0,0-1 16,0 1-16,0 0 0,0 0 0,0 0 15,0-1-15,13 28 32,-13-1-17,14 0-15,12 27 16,-13-40-16,1 13 16,-1-13-16,0 0 0,0 0 0,0-13 0,14 13 15,-14 0-15,0-14 0,1 14 16,-14-13-16,13 13 0,0 0 0,-13-13 15,13 13-15,0 0 0,1 0 16,-1 0 0,-13 13-16,13-13 0,0 13 15,1 1-15,-1-1 16,0-13-16,-13 13 0,13-13 16,1 13-16,-1-13 15</inkml:trace>
  <inkml:trace contextRef="#ctx0" brushRef="#br2" timeOffset="-164828.33">22397 3387 0,'13'-14'0,"-13"1"16,13 13-16,1-13 0,65-13 31,-66 26-16,0 0-15,-13 13 16</inkml:trace>
  <inkml:trace contextRef="#ctx0" brushRef="#br2" timeOffset="-164704.47">22423 3532 0,'53'-13'31,"-26"0"-31,-14-1 16</inkml:trace>
  <inkml:trace contextRef="#ctx0" brushRef="#br2" timeOffset="-164390.45">23072 3149 0,'0'0'0,"13"-14"0,0 14 0,0-13 16,1 13-16,-1 0 0,0 0 0,0 0 15,1 13-15,-1-13 0,-13 14 16,13-1-16,0 0 0,0 0 16,-13 0-16,14 1 0,-14 12 15,0-13-15,0 1 0,0-1 0,0 13 16,0-12-16,0 12 16,0-13-16,-14 14 0,14-14 0</inkml:trace>
  <inkml:trace contextRef="#ctx0" brushRef="#br2" timeOffset="-164221.74">23217 3784 0,'0'0'0,"-13"-14"47,0 1-47,13 0 15,0 0-15</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1:49.622"/>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29.804"/>
    </inkml:context>
    <inkml:brush xml:id="br0">
      <inkml:brushProperty name="width" value="0.025" units="cm"/>
      <inkml:brushProperty name="height" value="0.025" units="cm"/>
      <inkml:brushProperty name="ignorePressure" value="1"/>
    </inkml:brush>
  </inkml:definitions>
  <inkml:trace contextRef="#ctx0" brushRef="#br0">1 261,'289'-13,"-255"10,496-39,346-18,-462 32,103-2,-262 19,-92 2,91-9,105-2,-320 18,43-6,36-2,-16 11,-95-2,-11-2,-5-1</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088"/>
    </inkml:context>
    <inkml:brush xml:id="br0">
      <inkml:brushProperty name="width" value="0.025" units="cm"/>
      <inkml:brushProperty name="height" value="0.025" units="cm"/>
      <inkml:brushProperty name="ignorePressure" value="1"/>
    </inkml:brush>
  </inkml:definitions>
  <inkml:trace contextRef="#ctx0" brushRef="#br0">52 0,'0'3,"0"5,-4 0,0 3,-1 2,2 3,1 2,-3-3,0 0,0 1,2 0,-2 2,-1 0,1-2</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652"/>
    </inkml:context>
    <inkml:brush xml:id="br0">
      <inkml:brushProperty name="width" value="0.025" units="cm"/>
      <inkml:brushProperty name="height" value="0.025" units="cm"/>
      <inkml:brushProperty name="ignorePressure" value="1"/>
    </inkml:brush>
  </inkml:definitions>
  <inkml:trace contextRef="#ctx0" brushRef="#br0">1 1,'11'4,"0"1,0-2,1 1,-1-1,1-1,0 0,0-1,21-1,11-2,46-8,-7 0,101 7,-168 4</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3.536"/>
    </inkml:context>
    <inkml:brush xml:id="br0">
      <inkml:brushProperty name="width" value="0.025" units="cm"/>
      <inkml:brushProperty name="height" value="0.025" units="cm"/>
      <inkml:brushProperty name="ignorePressure" value="1"/>
    </inkml:brush>
  </inkml:definitions>
  <inkml:trace contextRef="#ctx0" brushRef="#br0">87 1,'15'0,"-5"-1,1 1,0 0,-1 1,1 0,17 5,-27-5,1-1,-1 1,1-1,-1 1,0 0,1 0,-1 0,0 0,1 0,-1 0,0 0,0 0,0 0,0 1,0-1,0 0,1 3,-1-1,-1-1,0 0,1 1,-1-1,0 0,0 1,0-1,-1 0,1 1,0-1,-1 0,0 0,1 0,-1 1,0-1,-1 2,-5 8,-1-1,1-1,-2 0,1 0,-1 0,-1-1,0 0,0-1,-1 0,-12 7,7-5,1 1,0 1,-22 24,36-36,1 1,-1-1,1 0,0 1,-1-1,1 0,0 1,0-1,-1 0,1 1,0-1,0 1,-1-1,1 1,0-1,0 1,0-1,0 1,0-1,0 0,0 1,0-1,0 1,0-1,0 1,0-1,0 1,0-1,0 1,0-1,1 1,-1-1,0 1,1 0,17 5,23-7,167-29,-187 27</inkml:trace>
</inkml:ink>
</file>

<file path=ppt/ink/ink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02:28.020"/>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C00000"/>
    </inkml:brush>
  </inkml:definitions>
  <inkml:trace contextRef="#ctx0" brushRef="#br0">17833 516 0,'0'-13'0,"0"-1"0,-13 14 47,13 14-16,0-1-15,0 0-16,0 0 0,0 1 0,0-1 15,0 13-15,13 1 0,-13-1 0,0 1 16,0-1-16,0 1 15,0-14-15,0 13 0,0 1 0,0-14 0,0 13 16,0-12-16,-13 12 0,26-13 16,-26 1-16,13-1 0,0 0 15,0 0-15,0 0 0,13 1 32,0-28-1,-13 1-16</inkml:trace>
  <inkml:trace contextRef="#ctx0" brushRef="#br0" timeOffset="545.97">17780 503 0,'-13'0'16,"13"13"-1,-13 0-15,13 0 16,-14-13-16,14 14 0,-13-1 16,13 0-16,-13-13 0,13 13 0,-13 1 15,-1-14-15,14 13 0,-13 0 0,0 0 16,13 0-1,-13-13-15,13 14 0,-14-14 0,14 13 16,-13 0 0</inkml:trace>
  <inkml:trace contextRef="#ctx0" brushRef="#br0" timeOffset="1050.31">17820 503 0,'13'0'0,"0"0"15,0 0-15,1 13 16,-1-13-16,0 0 0,0 0 15,1 0-15,-1 13 0,0-13 16,0 0-16,0 0 16,-13 13-16,14-13 15,-1 0-15,-13 14 0</inkml:trace>
  <inkml:trace contextRef="#ctx0" brushRef="#br0" timeOffset="1592.02">18309 503 0,'-13'26'31,"13"-13"-31,0 1 0,0 12 16,0-13-16,0 14 0,0-1 15,0-13-15,0 14 0,0-1 0,0 1 16,0-14-16,0 14 0,0-14 0,0 0 16,0 0-16,0 0 0,0 1 15,0-1-15,0 0 0,13 0 16,-13 1-16</inkml:trace>
  <inkml:trace contextRef="#ctx0" brushRef="#br0" timeOffset="2461.84">18309 476 0,'0'-13'16,"-26"26"-1,12 0 1,14 1 0,-13-14-16,13 13 0,-13 0 0,0-13 15,13 13-15,-13 1 0,13-1 16,-14 0-16,1-13 0,13 13 0,-13-13 16,13 14-16,-13-1 0</inkml:trace>
  <inkml:trace contextRef="#ctx0" brushRef="#br0" timeOffset="2720.95">18283 437 0,'13'-14'0,"0"14"16,0 0-16,1 0 16,-1 0-16,-13 14 0,13-14 0,0 13 15,1-13-15,-1 13 0,0-13 0,0 13 16,0-13-16,1 13 0,-1-13 0,0 14 16,0-1-16,1-13 15,-1 0-15</inkml:trace>
  <inkml:trace contextRef="#ctx0" brushRef="#br0" timeOffset="3371.16">17489 331 0,'0'0'0,"-13"0"16,13 13-16,-14 0 15,1 0 1,13 1-16,0-1 0,0 0 16,0 0-16,-13-13 0,26 14 15,-13-1-15,0 0 16,13-13-16,1 0 16,-1 0-16,0-13 0,-13 0 15,13 13-15,-13-14 16,0 1-16,0 0 15,0 0-15,14-1 0,-14 1 16,0 0-16,-14 0 16,28 13-16,-14 26 47,13-13-47,-13 1 15,13-14-15,-13 13 0,13-13 0,1 13 16,-1 0-16,0-13 0,0 14 15,0-14-15</inkml:trace>
  <inkml:trace contextRef="#ctx0" brushRef="#br0" timeOffset="3804.08">18058 93 0,'0'26'32,"0"-13"-32,0 1 15,0 12-15,0-13 0,0 0 0,0 1 16,13-1-16,-13 0 0,0 0 15,0 1-15,0-1 0,0 0 16,0 0-16,0 1 16,13-28 15,1 1-31,-1 13 0,0 0 16,0-13-16,0 13 15,-13 13-15,14-13 16,-14 13-1,0 1-15,-14-14 16,14 13-16,-13 0 0,0 0 16,0 0-16,0-13 0,-1 14 0,14-1 15,-13-13-15,0 13 0,13 0 16</inkml:trace>
  <inkml:trace contextRef="#ctx0" brushRef="#br0" timeOffset="4261.96">17740 1151 0,'27'-13'15,"39"-27"1,-40 40-16,1-13 0,-1-14 16,14 14-16,-14 0 0,14 0 0,-13-1 15,-1 14-15,1-13 0,-14 13 0,13-13 16,-13 13-16,1 0 0,-1-13 15,0 13-15,0 0 0</inkml:trace>
  <inkml:trace contextRef="#ctx0" brushRef="#br0" timeOffset="4693.95">17727 1244 0,'66'-27'31,"-39"14"-31,-1 13 0,-13-13 0,14-1 16,13 1-16,-14 13 0,0-13 0,-12 0 15,12 13-15,1-14 0,-14 14 16,13-13-16,-12 13 0,-1 0 0,0-13 15,0 13-15,0 0 0,1-13 0,-1 13 16,0-13 0,0 13-16,1 0 15,-1 0 1,-13-14 0,13 14 15,0 0-16,0-13 17,-13 0-1,0 0-15</inkml:trace>
  <inkml:trace contextRef="#ctx0" brushRef="#br0" timeOffset="12105.71">19434 529 0,'0'-13'0,"0"53"31,0-27-16,0 0-15,0 0 0,13 14 16,-13-14-16,0 13 0,0-12 0,0 12 16,0 1-16,0-14 0,0 0 0,0 14 15,0-14-15,0 0 0,0 0 16,0 0-16,0 1 0,0-1 0,0 0 16,0 0-16,-13 1 15,13-1 1</inkml:trace>
  <inkml:trace contextRef="#ctx0" brushRef="#br0" timeOffset="12501.64">19460 556 0,'0'0'0,"0"-14"16,-13 41-1,13-14 1,-13 0-16,-1 1 0,14 12 16,-13-13-16,13 0 0,-13 1 0,13-1 15,0 0-15,-13 0 0,13 1 16,-13-1-16,13 0 15</inkml:trace>
  <inkml:trace contextRef="#ctx0" brushRef="#br0" timeOffset="12739.89">19407 595 0,'40'0'31,"-27"0"-15,0 14-16,1-14 0,-1 13 15,0-13-15,0 13 0,0-13 16,1 13-16,-1-13 15,0 0-15</inkml:trace>
  <inkml:trace contextRef="#ctx0" brushRef="#br0" timeOffset="13185.54">19831 542 0,'0'-13'0,"0"53"31,0-27-31,0 0 0,0 14 0,0-14 16,0 13-16,-14 1 0,14-14 16,0 14-16,0-1 0,0-13 0,0 14 15,0-14-15,0 0 0,0 0 0,0 1 16,0-1-16</inkml:trace>
  <inkml:trace contextRef="#ctx0" brushRef="#br0" timeOffset="13601.09">19738 820 0,'13'13'32,"0"1"-32,-13-1 15,0 0-15,14-13 0,-14 13 0,13 1 16,0-1-1,0 0 1,1-13 0,-1 0-16,0 0 0,0-13 15,0 13-15,1-13 16,-1-1-16,0 14 0,0-13 16,-13 0-16,14 0 0,-1-1 0,0 1 15,-13 0-15,13 0 0,-13 0 16,0-1-16</inkml:trace>
  <inkml:trace contextRef="#ctx0" brushRef="#br0" timeOffset="14172.09">19288 251 0,'-40'27'16,"27"-27"0,0 13-16,13 0 0,-13 1 0,13-1 15,-13 0-15,13 0 0,0 0 16,0 1-16,0-1 0,13 0 15,0 0-15,0-13 16,0 0-16,1 0 0,-1-13 16,0 13-16,0-13 0,1 0 15,-1-1-15,0 14 0,-13-26 0,13 13 0,-13 0 16,14 13-16,-14-14 0,0 1 16,0 0-16,13 0 15,-13 39 1,0-13-1,0 1-15,0-1 16,0 0-16,0 0 0,13 0 0,0 1 16,-13-1-16,13-13 0,1 13 15,-1-13-15,0 0 0</inkml:trace>
  <inkml:trace contextRef="#ctx0" brushRef="#br0" timeOffset="14584.95">19764 53 0,'-13'26'15,"13"-12"-15,0 12 16,0-13-16,0 1 0,-13-1 0,13 13 15,0-13-15,0 1 0,0-1 16,0 13-16,0-12 0,0-1 16,0 0-16,13-13 0,-13 13 15,27-13 17,-27-13-32,13 13 0,0 0 15,0-13-15,1 13 0,-1 0 16,0 0-16,0 0 15,0 0-15,1 0 0,-14 13 16,0 0 0,-14-13-16,1 14 15,13-1-15,-26-13 0,13 13 0,-1-13 16,-12 13-16,13 0 0,-1-13 16,1 14-16,-13-14 0,12 13 0,1-13 15,13 13-15</inkml:trace>
  <inkml:trace contextRef="#ctx0" brushRef="#br0" timeOffset="16868.48">21299 529 0,'0'40'32,"0"-27"-32,13 0 0,-13 1 0,0 12 15,0-13-15,0 14 0,0-14 0,0 13 16,0-12-16,0 12 0,0-13 16,13 14-16,-13-14 0,0 0 0,0 0 15,0 1-15,0-1 0,0 0 16,0 0-16</inkml:trace>
  <inkml:trace contextRef="#ctx0" brushRef="#br0" timeOffset="17270.93">21206 794 0,'-13'0'16,"26"26"-1,1-26 1,-14 13-16,0 1 0,13-1 0,0 0 15,-13 0-15,0 1 16,13-14-16,-13 13 0,13-13 0,-13 13 16,14 0-16,-1-13 15,0-13 1,0 0 0,1 0-16,-14-1 15,13 1-15,0 0 16,-13 0-16,13-1 15,-13 1-15,14 13 0,-1-13 16,0 0-16,0 13 16</inkml:trace>
  <inkml:trace contextRef="#ctx0" brushRef="#br0" timeOffset="17720.96">21802 503 0,'0'0'0,"0"26"47,0-13-47,0 1 16,0-1-16,0 13 0,0-12 0,0 12 15,0-13-15,0 14 0,0-14 16,0 13-16,0-12 0,0-1 0,0 0 16,0 0-16,0 1 0,0-1 0,0 0 15,0 0-15,0 0 0</inkml:trace>
  <inkml:trace contextRef="#ctx0" brushRef="#br0" timeOffset="18112.91">21696 781 0,'13'13'32,"0"0"-17,1 0-15,-14 0 0,13 1 16,0-1-1,0 0-15,0-13 16,-13 13-16,14-13 0,-1 0 0,13 0 16,-12-13-1,-1 13-15,0 0 0,-13-13 0,13 13 16,1-13-16,-1-1 0,0 14 16,0-13-16,-13 0 0,13 0 15,1 13-15,-14-13 0,13-1 0,-13 1 16,13 0-16,-13 0 0</inkml:trace>
  <inkml:trace contextRef="#ctx0" brushRef="#br0" timeOffset="18974.93">21008 265 0,'0'0'0,"-27"13"0,27 0 0,-13-13 0,13 13 0,0 1 31,-13-14-31,13 13 0,0 0 16,13 0-16,0-13 31,1 0-31,-1-13 16,0 0-16,-13 0 15,13 13-15,-13-14 16,0 1-16,0 0 15,14 0-15,-1 26 47,-13 0-47,0 0 16,0 1-16,13-14 16,-13 13-16,13 0 0,1 0 15,-1-13-15,0 13 0</inkml:trace>
  <inkml:trace contextRef="#ctx0" brushRef="#br0" timeOffset="19401.3">21590 53 0,'-13'40'31,"13"-27"-31,0 0 0,0 14 0,0-14 0,0 13 16,-13-13-16,13 14 0,0-14 0,0 0 15,0 1-15,0-1 0,-14-13 16,14 13-16,0 0 0,0 1 15,27-14 32,-14 0-47,0-14 16,-13 28-16,13-14 16,1 0-16,-14 13 15,-14 0 1,1 0-16,13 0 15,-13-13-15,0 0 16,13 14-16,-13-1 0,-1 0 16,14 0-16</inkml:trace>
  <inkml:trace contextRef="#ctx0" brushRef="#br0" timeOffset="19813.05">21339 1151 0,'119'-40'16,"-80"27"-1,1 0-15,13 0 0,-13-1 16,13 1-16,0 13 0,-14-13 0,14 0 16,-13-1-16,0 1 0,-14 13 0,0-13 15,-12 13-15,-1 0 0,0-13 16,0 13-16</inkml:trace>
  <inkml:trace contextRef="#ctx0" brushRef="#br0" timeOffset="20020.38">21259 1204 0,'0'0'0,"40"-13"32,-27 13-32,14-14 0,12 14 0,-12-13 15,12 0-15,1 0 0,0 13 0,0-14 16,-14 1-16,0 13 0,1-13 15,-1 13-15,1-13 0,-1 13 0,-12-13 16,-1 13-16,0 0 0</inkml:trace>
  <inkml:trace contextRef="#ctx0" brushRef="#br0" timeOffset="20539.66">19487 1177 0,'238'-79'31,"-199"66"-31,1 13 16,0-13-16,-14-1 0,1 14 16,-14-13-16,13 13 0,-12 0 0</inkml:trace>
  <inkml:trace contextRef="#ctx0" brushRef="#br0" timeOffset="20781.71">19460 1349 0,'40'-26'16,"-27"26"-16,0-13 16,14-1-16,-1 14 0,1-13 0,-14 0 15,27 0-15,-14 0 0,0 13 0,1-14 16,-1 14-16,-12-13 15,12 13-15,-13-13 0,14 13 0,-14-13 16,0 13-16,0 0 0,1-14 16,-1 14-16,0 0 0</inkml:trace>
  <inkml:trace contextRef="#ctx0" brushRef="#br0" timeOffset="26692.62">13189 2924 0,'27'0'0,"-1"0"0,-12 0 15,12 0-15,14-14 0,-1 14 0,14 0 16,0-13-16,0 13 0,27-13 16,-14 13-16,13-13 0,14 13 0,-1-13 15,1-1-15,0 14 0,12-13 0,14 13 16,-13-13-16,-13 13 0,13-13 16,13 13-16,-27-14 0,1 14 15,13-13-15,-27 13 0,14-13 0,-14 13 16,1 0-16,-1-13 0,-26 13 0,0 0 15,0 0-15,-14 0 0,1 0 16,-14 0-16,1 0 0,-14 0 0,14 0 16,-14 0-16,0 0 0,-39 0 31,-1 0-15</inkml:trace>
  <inkml:trace contextRef="#ctx0" brushRef="#br0" timeOffset="28063.15">14063 3043 0,'26'-14'0,"1"14"0,237-52 31,-171 38-31,-1 1 0,27-13 0,0 12 0,0 1 16,-13 0-16,-13 13 0,13-13 16,-14 0-16,1 13 0,0-14 15,-14 14-15,0 0 0,1-13 0,-14 13 16,0 0-16,-13 0 0,-13 0 0,-1-13 16,-12 13-16,-1 0 0,1 0 0,-14 0 15,0 0-15,0 0 0,1 0 16,-1 0-16,0 0 0,0 0 15,0 0-15,1 0 16,-1 0 15,0 0 1,0 0-17,1 0 110,-1 0 172</inkml:trace>
  <inkml:trace contextRef="#ctx0" brushRef="#br0" timeOffset="37601.07">9591 6906 0,'0'39'16,"0"-12"-16,0 12 15,0 14-15,0-13 0,0 13 16,0 0-16,0 0 0,0 0 0,0-14 16,0 14-16,0-13 0,0 13 0,0-13 15,0-14-15,0 1 0,0-1 16,0-13-16,0 0 0,0 1 16,0-1-16,0 0 0,0 0 0</inkml:trace>
  <inkml:trace contextRef="#ctx0" brushRef="#br0" timeOffset="38853.68">9631 6866 0,'172'-13'32,"-133"-1"-32,14 14 0,27-13 0,-14 0 15,13 13-15,1-13 0,-1 13 16,14-13-16,-14-1 0,14 14 0,-1-13 15,-12 0-15,12 13 0,1-13 0,-14 13 16,1-14-16,-1 14 0,0-13 16,1 13-16,-14 0 0,-13 0 15,0-13-15,0 13 0,-14 0 0,1 0 16,-14 0-16,1 0 0,-1 0 0,-12 0 16,-1 0-16,13 0 0,-12 0 15,-1 0-15,0 0 0,0 0 16,0 0-16,1 13 15,-1 0-15,-13 1 16,0-1-16,13 0 0,-13 0 0,0 14 16,13-1-16,-13 1 0,0 12 0,14 1 15,-14 0-15,0-14 0,13 14 0,-13 0 16,0-1-16,13 1 16,-13 0-16,0-14 0,13 14 0,-13-1 15,0-12-15,13-1 0,-13-12 0,0 12 16,14 1-16,-14-1 0,0-13 15,0 0-15,0 1 0,13-1 0,-13 0 16,0 0-16,-13 1 0,13-1 0,0 0 16,-14 0-16,14 1 0,-13-14 15,0 13-15,0-13 0,0 13 16,-1-13-16,-12 0 0,13 13 0,-14-13 16,1 0-16,-1 13 0,1-13 0,-14 0 15,14 0-15,-14 0 0,0 14 16,1-14-16,-14 0 0,13 0 15,-13 0-15,13 0 0,1 0 0,-14 0 16,13 13-16,-13-13 0,13 0 0,-12 0 16,12 13-16,-13-13 0,0 0 15,0 0-15,0 13 0,14-13 0,-14 0 16,13 0-16,-13 0 0,27 0 0,-14 0 16,13 0-16,-12 0 0,12 0 15,1 0-15,-1 0 0,1 0 0,-1 0 16,1 0-16,0 0 0,12 0 0,-12 0 15,-1 0-15,1 0 0,-1 0 0,14 0 16,-13 0-16,-1 0 16,14 0-16,-13 0 0,-1 0 0,14 0 15,0 0-15,-14 0 0,14 0 0,0 0 16,0 0-16,-1 0 0,-12 0 16,13 0-1,-1 0-15,1 14 0,0-14 16,0 0-1,-1 0-15,1 0 16,0 13 0,0-13 15,0 0-15,-1 0 30,1 13-14,0-13-17,0 0 1,-1-13 62,1 13-15,0 0-48,0-13 1</inkml:trace>
  <inkml:trace contextRef="#ctx0" brushRef="#br0" timeOffset="39584.04">10160 7025 0,'0'26'31,"0"-13"-31,0 14 0,-13-14 16,13 14-16,0-1 0,-13 14 0,13-1 16,0-12-16,0-1 0,-14 1 0,14-1 15,0-13-15,0 14 0,0-14 16,0 0-16,0 1 0,0-1 0,14 0 15,-14 0-15,0 0 0,13-13 16,-13 14-16,13-14 0,0 0 16,14 0-16,-14 0 15,0-14-15,0 14 0,-13-13 16,14 13-16,-1-13 0,-13 0 16,13 13-16,-13-13 0,0-1 15</inkml:trace>
  <inkml:trace contextRef="#ctx0" brushRef="#br0" timeOffset="39768.78">9975 7316 0,'0'-14'16,"13"1"0,0 13-16,0 0 0,1-13 15,-1 13-15,13-13 0,-12 13 0,12-13 16,1 13-16,-14-14 0,13 14 15,-13 0-15,14-13 0,-1 13 0,-12 0 16,12 0-16,-13 0 0,1 0 16</inkml:trace>
  <inkml:trace contextRef="#ctx0" brushRef="#br0" timeOffset="40115.71">10491 7329 0,'0'0'0,"13"-13"0,-13-1 16,0 1-16,-13-13 16,13 13-1,-13 13-15,-14 0 31,27 13-31,-13 0 0,0 0 16,13 0-16,0 1 0,0-1 16,-14-13-16,14 13 0,14 0 15,-14 1-15,13-1 0,0 0 16,0-13-16,1 0 0,-1 13 16,0-13-16,0-13 0,14 13 15,-14 0-15,13 0 0,-12-13 16,-1 13-16,0-13 0,13 13 0,-12-14 15,-1 14-15</inkml:trace>
  <inkml:trace contextRef="#ctx0" brushRef="#br0" timeOffset="40632.14">10755 7236 0,'0'-26'16,"-13"39"30,13 0-46,0 1 16,-13-1-16,13 0 0,0 0 16,-13 0-16,13 1 15,0-1-15,0 0 16,13-26 31,-13 0-47,13-1 15,-13 1-15,13 0 0,1 13 16,-14-13-16,13 13 0,-13-13 16,13 13-16,0 0 15,0 13 1,-13 0 0,14 0-16,-14 0 0,0 1 15,13-28 32,0 14-47,-13-13 0,13 13 16,-13-13-16,14 13 15,-14-13-15,13 13 0,0 0 16,0 0 0,1 0-1,-1 13-15,0-13 16,-13 13-16,13-13 0,0 0 0,1 0 15,-1 0-15,0 0 0,0 0 16</inkml:trace>
  <inkml:trace contextRef="#ctx0" brushRef="#br0" timeOffset="41078.15">11245 7038 0,'-27'40'31,"27"-27"-31,0 13 0,14-12 16,-14 12-16,0 0 0,0 1 15,0-1-15,0 1 0,0-14 0,0 13 16,0 1-16,0-14 0,0 0 0,0 1 16,13 12-1,-13-13-15,0 1 0,0-1 16,-13-40 15,13 14-31,0-13 0,0 12 0,0-12 16,0-14-16,13 1 0,-13-1 15,0 0-15,13 1 0,0-1 16,-13 13-16,13 1 0,1-1 0,-1 14 16,-13 0-16,26 0 15,-12 0-15,-1 13 0,0 13 0,0-13 16,1 13-16,-14 0 15,0 0-15,0 1 0,0 12 16,0-13-16,-14 1 0,1-1 0,0 0 16,0 14-16,-14-14 0,14 0 15,-14 0-15,14-13 0,-13 13 16,13-13-16,-1 14 0,1-14 16,0 0-16</inkml:trace>
  <inkml:trace contextRef="#ctx0" brushRef="#br0" timeOffset="44351.93">9988 7779 0,'0'-13'31,"-13"13"-31,0 0 0,-1 13 16,1 0-16,-13 0 0,-14 0 0,13 14 15,-12 13-15,-1-1 0,-13-12 0,14 26 16,-14-14-16,-27 27 0,14-13 16,-13 14-16,13-1 0,-14-13 0,14 13 15,-13 0-15,-1-13 0,1 13 0,0-13 16,-14 13-16,14-13 0,-1 0 15,14-13-15,13-1 0,0 1 16,0 0-16,-185 92 31,225-119-31,0 0 16,-1-13-16,1 0 0,0 14 16,0-14-1,13-14 1</inkml:trace>
  <inkml:trace contextRef="#ctx0" brushRef="#br0" timeOffset="45028.96">8109 8916 0,'-39'40'31,"26"-27"-31,-1 1 0,1-1 0,0 0 16,-14 14-16,1-14 0,0 13 0,-1 1 15,1-1-15,12-13 16,-12 1-16,13-1 0,13 0 0,-14 0 16,1 1-16,0-1 0,13 0 0,-13 0 15,13 0-15,-13-13 0,13 14 16,-14-1-16,14 0 0,-13-13 15,13 13-15,-13 1 16,13-1 0,13 0-1,0-26 1,1 13-16,-1 0 0,0 0 16,0 0-16,14 0 0,-14 0 0,0-13 15,14 13-15,-14 0 0,13 0 0,-12 0 16,12-14-16,-13 14 0,14 0 15,-14 0-15,0 0 0,14 0 0,-14 0 16,0 0-16,0 0 0,14 0 0,-14-13 16,13 13-16,1 0 0</inkml:trace>
  <inkml:trace contextRef="#ctx0" brushRef="#br0" timeOffset="46952.21">9062 7686 0,'13'-26'32,"-13"12"-32,13 1 15,-13 0-15,0-13 0,0 12 16,14-12-16,-14-1 0,0 1 0,0-1 16,0 1-16,0 0 0,0-1 0,13 1 15,-13 12-15,0-12 0,0 13 16,0-1-16,0 1 0,0 0 0,0 0 15,0 0-15,0-1 0,0 1 16,0 0 0,-13 26 31</inkml:trace>
  <inkml:trace contextRef="#ctx0" brushRef="#br0" timeOffset="47164.18">9102 7210 0,'-40'26'0,"27"-12"0,13-1 16,-13-13-16,-1 13 0,1 0 15,13 0-15,-13 1 0,0 12 0,13-13 0,-14 1 16,1-1-16,13 0 0,-13-13 16,13 13-16,-13 1 0,-1-1 15</inkml:trace>
  <inkml:trace contextRef="#ctx0" brushRef="#br0" timeOffset="47408.78">9022 7236 0,'14'-13'0,"-1"26"16,0-13-16,0 14 16,0-14-16,1 0 15,-1 13-15,0-13 0,0 0 0,1 13 16,-1-13-16,0 0 0,0 0 0,1 13 15,-1-13-15,0 0 0,0 13 16,0-13-16,1 14 16,-1-14-16</inkml:trace>
  <inkml:trace contextRef="#ctx0" brushRef="#br0" timeOffset="48327.87">6019 9763 0,'0'106'31,"0"-66"-31,0 13 0,0 13 15,0 0-15,0 0 0,13 0 0,-13 0 16,0 0-16,0-13 0,0-13 0,0 13 16,14-13-16,-14-1 0,0 1 15,13 0-15,-13-27 0,0 13 0,0-12 16,0-1-16,13 0 0</inkml:trace>
  <inkml:trace contextRef="#ctx0" brushRef="#br0" timeOffset="50568.63">5940 9869 0,'13'0'0,"0"0"0,1 0 16,25-13 0,-26 13-16,14-14 0,-1 14 0,1-13 15,13 13-15,-1-13 0,1 0 16,0 13-16,13-13 0,-14-1 0,14 14 15,-13-13-15,13 0 0,0 0 0,0-1 16,13 1-16,-13 0 0,13 0 16,0 0-16,0-1 0,0 1 0,0 0 15,1 0-15,12-1 0,-26 14 0,0-13 16,13 0-16,-13 0 0,-14 13 16,14-14-16,0 1 0,-13 13 0,13-13 15,-13 0-15,13 13 0,-14-13 0,14 13 16,-13-14-16,0 14 0,-1 0 15,-12-13-15,-1 13 0,1-13 0,-1 13 16,0-13-16,1 13 0,-1 0 0,1-14 16,-14 14-16,14-13 15,-14 13-15,13 0 0,-13 0 0,14-13 16,-14 13-16,14 0 0,-14-13 0,0 13 16,14-14-16,-14 14 0,13 0 15,-13 0-15,1-13 0,12 13 0,-13 0 16,1-13-16,12 13 0,-13 0 0,0 0 15,1-13-15,-1 13 0,0 0 0,0 0 16,1-13-16,-1 13 0,0 0 16,0 0-16,1 0 0,-1 0 15,-13-14-15,13 14 16,0 0 0,0 14 30,-13-1-46,0 0 16,0 13 0,0-12-16,0 12 0,0-13 0,0 14 15,0-14-15,0 14 0,0-14 0,0 13 16,0 1-16,0-1 0,0-13 0,0 14 16,0-1-16,0 1 0,0-1 15,0-13-15,14 14 0,-14-1 16,0 1-16,13-14 0,-13 13 0,0-12 15,13 12-15,-13 1 0,0-14 0,13 13 16,-13-12-16,0 12 0,14-13 16,-14 14-16,13-14 0,-13 0 0,0 14 15,0-14-15,13 0 0,-13 14 0,0-14 16,13 0-16,-13 0 0,0 0 16,0 1-16,14-1 0,-14 0 0,0 0 15,0 1-15,13-1 0,-13 0 0,0 0 16,0 1-16,13-14 15,-13 13-15,0 0 0,0 0 16,0 0-16,0 1 16,13-14-1,-13 13-15,0 0 16,0 0 0,-13-13-1,13 14 1,-13-14 15,0 13-31,-1-13 16,1 0-1,0 0-15,13 13 0,-13-13 16,-1 0-16,1 0 0,0 0 16,0 13-16,-1-13 0,1 0 15,0 0-15,0 0 0,-14 14 0,14-14 16,0 0-16,0 0 0,-1 0 0,-12 13 15,13-13-15,-1 0 0,1 0 16,-13 0-16,13 13 0,-1-13 0,1 0 16,-13 0-16,12 13 0,1-13 0,-13 0 15,13 0-15,-14 13 0,14-13 0,-14 0 16,14 14-16,-13-14 16,12 0-16,-12 13 0,13-13 0,-14 0 15,14 13-15,-13-13 0,12 0 0,-12 13 16,-14-13-16,14 0 15,-1 14-15,14-14 0,-13 0 0,-1 0 16,1 13-16,13-13 0,-14 0 0,1 0 16,-1 13-16,1-13 0,-1 0 0,1 13 15,-1-13-15,1 13 0,-1-13 16,14 0-16,-13 14 0,-1-14 0,1 13 16,-1-13-16,1 0 0,-1 13 0,14-13 15,-13 0-15,-1 0 0,1 13 16,-1-13-16,14 0 0,-13 0 15,-1 0-15,1 14 0,12-14 0,-12 0 16,0 0-16,-14 13 0,13-13 16,14 0-16,-13 0 0,13 0 15,-14 13-15,14-13 0,0 0 0,-1 0 16,-12 0-16,13 0 0,-1 0 0,1 0 16,0 0-16,0 0 15,-14 13-15,14-13 0,0 0 0,0 0 16,-1 0-16,1 0 0,0 0 0,0 0 15,-1 0-15,1 0 0,0 0 16,0 0-16,0 0 0,-1 14 0,1-14 16,0 0-16,0 0 15,-1 0-15,1 0 0,0 0 0,0 0 16,0 0 0,-1 0-16,1 0 0,0 0 15,0 0-15,-1 0 0,1 0 16,0 0-16,0 13 15,-1-13-15,1 0 0,0 0 16,0 13-16,0-13 0,-1 0 16,1 0-16,0 13 0,0-13 15,-1 0 1,-12 0-16,26 13 0,-13-13 16,-1 0-16,1 0 15,0 14 1,0-14-16,0 0 15,-1 0-15,1 0 16,0 13 0,0-13-16,-1 0 15,1 0 1,0 0-16,0 0 16,-1 0-1,-12 0 1,13 0-1,0 0 1,-1 13 0,1-13-1,0 0-15,0 0 16,13-13 0,-14 0-1,28 13 1,-28-14-16,14 1 15,0 0-15,0 0 0,0 0 16,0-1-16,0 1 16,0 0-16,0 0 0,-13 13 15,13-14-15,0 1 0,0 0 16,-13 0-16,13-1 16</inkml:trace>
  <inkml:trace contextRef="#ctx0" brushRef="#br0" timeOffset="50879.18">6284 10226 0,'-13'27'16,"13"-14"0,0 0-16,0 0 15,0 1-15,0-1 0,0 0 16,13 0-16,-13 0 15</inkml:trace>
  <inkml:trace contextRef="#ctx0" brushRef="#br0" timeOffset="51068.63">6218 10067 0,'-14'-13'15,"28"26"-15</inkml:trace>
  <inkml:trace contextRef="#ctx0" brushRef="#br0" timeOffset="51551.74">6482 10107 0,'-13'0'16,"-13"13"-16,26 1 15,-14-14-15,14 13 16,0 0-16,-13 0 0,13 0 0,0 1 16,-13-1-16,13 0 0,0 14 0,0-14 15,0 0 1,13 0-16,-13 1 0,13-14 0,-13 13 16,14 0-16,-1-13 0,0 0 0,0 0 15,1 0-15,-1-13 0,0 13 16,0 0-16,0-13 0,1 13 0,-1-14 15,0 1-15,0 0 0,-13 0 16,14 13-16,-14-14 0,0 1 16,0 0-16,0 0 15,0-1-15,-14 14 32,1 14-17,0-1-15,13 0 16,0 0-1,0 1-15,13-14 0,-13 13 16,13-13-16,1 13 16,12-26-16,-13 13 15,1 0-15,-1 0 16</inkml:trace>
  <inkml:trace contextRef="#ctx0" brushRef="#br0" timeOffset="52186.9">7117 9856 0,'-39'26'16,"25"-13"-1,1 1-15,13-1 0,-13 13 16,13 14-16,-13-27 0,13 14 0,0-1 16,0-13-16,0 1 0,0-1 15,0 0-15,13 0 0,-13 1 0,0-1 16,13-13-16,-13 13 0,13-13 15,-13 13-15,14-13 0,-1-13 16,0 13 0,-13-13-16,13 13 0,-13-13 0,14-1 15,-14 1-15,13 0 0,-13 0 16,13-1-16,0 1 16,-13 0-16,13 13 0,-13-13 0,14 13 15,-14-14-15,13 14 0,0 0 16,0 14-16,1-1 15,-14 0-15,13 0 16,-13 1-16,0-1 0,13 13 16,-13-12-16,0-1 0,0 0 15,13-13-15,-13 13 16,13-26 15,-13 0-15,14 0-16,-14-1 0,0-12 0,13 13 15,0-14-15,-13 1 0,13 12 16,1 1-16,-14 0 0,13 13 16,0-13-16,0 0 0,1 13 15,-1 0 1</inkml:trace>
  <inkml:trace contextRef="#ctx0" brushRef="#br0" timeOffset="52941.18">7567 10014 0,'0'-13'15,"0"0"-15,-13 13 16,0 0-1,13 13 1,-14 0-16,14 1 16,0-1-16,0 0 15,0 0-15,0 1 16,14-14-16,-14 13 0,13-13 16,0 0-16,0 0 0,1 0 15,-1 0-15,0-13 16,0 13-16,0-14 0,1 1 15,-1 13-15,-13-13 0,13 13 16,-13-13-16,13 13 0,-13-14 0,14 14 16,-14-13-16,0 0 15,0 0 1,-14 26 15,1 0-15,13 0-16,0 1 15,0-1 1,13-13 15,1 0-15,-1-13 0,0 13-1,0-14 1,1 28-1,-1-14 1,-13 13-16,13-13 16,0 13-1,0-13 17,1-13-32,-1 13 15,0-13 1,0 13-16,1-14 15,-1 1-15,0 13 16,0 0-16,-13-13 16,14 13-16,-14-13 15,13 13-15</inkml:trace>
  <inkml:trace contextRef="#ctx0" brushRef="#br0" timeOffset="53556.39">6681 10557 0,'-27'13'15,"14"-13"-15,0 13 0,13 1 32,0-1-32,13-13 15,0 0-15,1 13 0,-1-13 0,0 0 16,0 13-16,0-13 16,1 0-16,-1 0 0,-13 13 0,13-13 15,-13 14-15,13-14 0,-13 13 16,-13 13-1,0-12-15,0-1 16,-1-13-16,14 13 0,-13-13 16,0 0-16,0 13 0,0-13 15,-1 0 1</inkml:trace>
  <inkml:trace contextRef="#ctx0" brushRef="#br0" timeOffset="54301.03">6919 10570 0,'-27'0'32,"27"13"-17,-13 1 1,0-14-16,13 13 16,0 0-16,0 0 31,13-13-16,0-13 1,1 13 0,-1-13 15,0 13-15,0 0-16,-13-13 15,14 13-15,-14-14 0,13 14 16,-13-13-16,0 0 0,13 13 0,-13-13 15,13-1-15,-13 1 0,0 0 16,0 0-16,0-14 0,0 14 16,0 0-16,0 0 0,0-1 0,0 1 15,0 0-15,0 0 16,0-1-16,0 41 31,0-14-15,0 0-16,13 1 0,-13-1 15,0 0-15,14-13 0,-14 13 0,13 1 16,0-14-16,-13 13 0,13 0 0,1-13 16,-1 13-16,0-13 15,0 0 1,1-13 0,-1 26 15,0 0 0,0-13-15,0 0-16,14 0 15,-14 0 1</inkml:trace>
  <inkml:trace contextRef="#ctx0" brushRef="#br0" timeOffset="54845.21">7302 10425 0,'-13'0'0,"0"0"0,13 13 15,0 0-15,0 0 16,13-13-16,-13 14 15,13-1-15,-13 0 16,14-13-16,-14 13 0,0 0 16,0 1-16,0-1 15,-14 0-15,1 0 16,0-13 0</inkml:trace>
  <inkml:trace contextRef="#ctx0" brushRef="#br0" timeOffset="55484.93">7607 10319 0,'-13'0'15,"-1"13"-15,1-13 16,13 13-16,-13-13 16,13 13-16,-13-13 0,13 14 15,0-1-15,13-13 16,-13 13 0,13-13-16,-13 13 0,13-13 0,1 14 15,-14-1-15,13-13 0,-13 13 0,13-13 16,-13 13-16,0 1 0,0-1 15,0 0-15,0 0 0,0 0 16,0 1-16,-13-1 0,13 0 16,-13 0-16,-1 1 15,28-54 17,-1 27-17,-13-1-15,13 1 16,0 0-16,-13 0 0,13 0 0,-13-1 15,14 14-15,-14-13 0,13 0 16,0 13 0,0 0 15,-13 13-31,14-13 16,-14 13-16,13-13 15,0-13-15,0 13 16,1-13-16,-1 13 15,-13-13-15,0-1 0,0 1 16,0 0-16,0 0 16,-13 13-1,13-14-15,-14 14 16,1 0 0,13 14-1,27-14 1</inkml:trace>
  <inkml:trace contextRef="#ctx0" brushRef="#br0" timeOffset="56285.04">8043 10239 0,'-13'0'15,"26"0"-15,-26 14 0,0-14 0,13 13 16,-13 0-1,13 0-15,13 1 16,0-14 0,0 13-16,1-26 15,-1 13-15,0 0 16,0 0-16,-13-14 0,13 14 0,1 0 16,-1-13-16,0 13 15,0 0 1,1 0-16,-1 0 15,0 0-15,0 0 16,1 0-16,-1-13 16,0 0-16,0-1 15,0 1-15,-13 0 0,14 0 16,-14-1-16,13-12 0,-13 13 16,0 0-16,13-1 0,-13 1 15,0 0-15,0 0 0,13 13 16,-13 13-1,0 0-15,0 0 16,0 1-16,14 12 0,-14 0 16,0 1-16,0-1 0,0 14 0,0 0 15,0-14-15,0 1 0,13-1 16,-13 1-16,0-14 0,0 13 0,0-12 16,0-1-16,0 0 0,-13-39 31,13 12-16,0-12-15,0 13 0,13-14 0,-13-13 16,0 14-16,13-14 0,0 14 0,-13 13 16,14-14-16,-1 14 0,-13 0 15,13 13-15,-13-14 0,13 14 0,0 0 32,-13 14-32,0-1 15,-13 0-15,13 0 0,-13 1 16,0-1-16,13 0 15,-13 0-15,-1-13 0,14 14 0,-13-14 16,0 13-16,-14-26 31</inkml:trace>
  <inkml:trace contextRef="#ctx0" brushRef="#br0" timeOffset="73384.75">10702 9260 0,'14'14'16,"-14"-1"-16,0 0 0,13 14 0,-13 12 15,13 14-15,0 53 0,-13-40 16,0 0-16,0 0 0,0 1 16,0-15-16,0 15 0,0-1 0,0-13 15,-13-14-15,13 14 0,0-13 0,0-14 16,0 1-16,0-1 0,0 14 16,0-27-16,0 1 0,0-1 15,0 0-15,0-39 47,0 12-47</inkml:trace>
  <inkml:trace contextRef="#ctx0" brushRef="#br0" timeOffset="75320.67">10755 9247 0,'-13'0'0,"40"13"31,-14-13-31,0 0 0,0 0 16,0 0-16,14 0 0,-1-13 15,1 13-15,13 0 0,-1-13 0,1 13 16,13-13-16,-14 13 0,14 0 16,0-13-16,0 13 0,0-14 0,13 14 15,0-13-15,1 13 0,12-13 0,-13 13 16,14-13-16,-14-1 0,13 14 16,0-13-16,-12 13 0,78-13 15,-66 0-15,67-1 16,-80 1-16,0 13 0,14-13 15,-14 13-15,0-13 0,-13 13 0,13-13 16,-13 13-16,0-14 0,0 14 0,0-13 16,0 13-16,-1-13 0,1 13 0,-13-13 15,13 13-15,-13-14 0,-1 14 16,28-13-16,-41 13 0,0-13 16,1 13-16,-1-13 0,-12 13 0,12-14 15,-13 14-15,14 0 0,-14-13 16,13 13-16,-12-13 0,-1 13 15,13-13-15,-12 13 0,-1 0 16,-13-13-16,13 13 16,0 0-16,0-14 0,1 14 15,-1 0 1,0-13 0,0 26 15,1 1-16,-14-1-15,0 0 16,0 0-16,13 0 0,-13 14 16,0-1-16,0-12 0,0 12 15,0-13-15,0 14 0,0-14 0,0 40 16,13-27-16,-13 14 16,0 13-16,13-27 15,-13 1-15,0-1 0,14 14 16,-14 13-16,0-27 0,13 14 15,-13-27-15,0 14 0,0-1 0,13 1 16,-13-1-16,0 1 0,13-1 16,-13 1-16,0-1 0,13-13 0,-13 14 15,0-14-15,14 27 0,-14-27 16,0 0-16,13 13 16,-13 1-16,0-14 0,13 0 15,-13 1 1,0-1-16,-13 0 15,13 0 1,-13-13-16,-1 14 0,1-14 16,0 0-16,0 13 0,0-13 0,-40 13 15,26 0 1,-13 0-16,27-13 0,-53 14 16,40-1-16,-67 0 31,-211 14 0,211-27-15,-92 13-1,145 0-15,-79-13 16,13 13 0,53-13-16,-13 0 0,-13 14 15,-14-14-15,1 13 16,12 0-16,27-13 15,-39 13-15,-1-13 16,54 0-16,-1 0 16,-53 13-16,14-13 0,13 0 15,0 0-15,-1 14 16,41-14 0,-14 0-16,14 0 0,-14 0 0,-26 13 15,13-13-15,0 13 16,13-13-16,1 13 15,12-13-15,1 0 16,-1 14-16,14-14 16,0 0-16,-14 0 15,14 13-15,-13-13 16,13 0-16,-14 0 16,14 13-1,-14-13-15,14 0 16,0 13-1,0-13-15,0 0 16,-1 0-16,1 0 16,0 14-1,0-14 1,-1 0-16,1 13 16,0-13-1,0 0 1,-1 0-1,1 0 17,0 0-32,0 0 31,0 0-15,-1 0 15,1 0-16,0 0 17,13-13-1,13-1-15</inkml:trace>
  <inkml:trace contextRef="#ctx0" brushRef="#br0" timeOffset="76093.9">11245 9723 0,'-40'0'0,"27"0"15,0 0-15,-14 0 0,14 14 0,-14-1 16,-12 0-16,12 0 0,1 1 15,-27 12-15,40-13 16,0 0-16,-1-13 0,14 14 16,-13-14-16,13 13 0,13 0 15,14 0-15,-14 1 16,27-14-16,-27 13 0,0-13 16,80 26 15,-80-26-31,0 27 0,0-14 15,-26 13 1,-13 1 0,12-1-16,-12-12 15,13-1-15,-14-13 16,14 13-16,0-13 16,0-40-1</inkml:trace>
  <inkml:trace contextRef="#ctx0" brushRef="#br0" timeOffset="76786.77">11271 9671 0,'13'-14'16,"-13"41"15,0-1-31,0-13 0,0 1 16,14 12-16,-28-13 0,14 14 15,0-1-15,14 14 0,-14-27 16,0 0-16,0 1 0,0-1 16,0 0-16,0 0 0,0 1 15,26-28 1,-26 1 0,13 13-16,-13-13 0,14 0 15,-1-1-15,0 14 16,0-13-16,1 13 0,-1 0 15,0 0-15,0 0 0,0 13 16,1-13-16,-1 14 16,0-1-16,0-13 0,1 13 15,-1-13-15,13 0 16,-12-13-16,-1 13 0,0-13 16,0-1-16,0 14 15,-13-13-15,14 13 0,-14-13 16,0 0-16,0-1 15,-14 1 1,1 13-16,13-13 0,-13 13 16,0 0-16,0 0 31,39 13-15,-26 0-1,13-13-15,0 0 0,-13 14 0,14-14 16,-1 13-16,0-13 15,-13 13-15,13-13 0,-13 13 16,0 1 0,0-1-1,0-40 17,0 14-32,0 0 0,14 0 15,-1-1 1,-13 1-16,13 0 0,0 13 15,-13-13-15,14 13 0,-14-13 0,13 13 16,-13-14-16,13 14 16,0-13-16,0 0 15,-13 0-15</inkml:trace>
  <inkml:trace contextRef="#ctx0" brushRef="#br0" timeOffset="76982.08">11946 9551 0,'13'27'47,"-13"-14"-47,0 0 15,0 14-15,0-14 0,0 14 0,-13-1 16,0 80 0,-1-80-16,14-13 15,0 1-15,14-1 16,-1 0-16</inkml:trace>
  <inkml:trace contextRef="#ctx0" brushRef="#br0" timeOffset="77224.88">12158 9631 0,'0'-13'0,"-14"13"16,-78 53-1,79-40 1,-14 13-16,14-13 0,0 27 15,-1-27-15,14 27 16,0-27 0,14-13-16,-14 13 0,13-13 15,0 0-15,0 0 0,1 0 16,12 0-16,0 0 16,-12 0-16,-1-13 0,0 13 15,14-13-15,-14 13 0,13-13 16</inkml:trace>
  <inkml:trace contextRef="#ctx0" brushRef="#br0" timeOffset="78226.5">12713 9551 0,'-13'-13'0,"26"26"16,-52-13-16,25 0 0,1 14 15,0-1-15,0-13 0,13 13 0,-14 0 16,1 1-16,13 12 16,0-13-16,-13 14 0,13-14 15,0 0-15,13-13 0,-13 13 16,13-13-16,1 0 16,-1 0-16,13 0 0,-12-13 15,-1 0-15,0 13 0,0-13 0,0 0 16,1 13-16,-14-14 0,13 14 15,0 0-15,-13 14 32,13-1-32,-13 0 15,14-13-15,-14 13 0,13 0 16,0-13-16,0 0 0,1 0 16,-1-13-16,0 13 0,0-13 15,0 0-15,1 0 0,-1-1 0,-13 1 16,13-13-16,0-1 0,-13 1 15,14-1-15,-14-12 0,0-14 16,0 26-16,0 14 0,13-14 16,-13 14-16,0 0 0,0 0 15,-27 52 1,27-12 0,-13-1-16,0 41 0,13-41 15,0 27-15,0-40 0,0 0 16,13 14-16,-13-14 0,13 0 15,1 1-15,-1-14 0,0 13 16,0-13-16,14-13 16,-14 13-16,0-14 0,14-12 15,-1-1-15,-13-12 0,1 12 0,-1-39 16,-13 40-16,13-1 16,-13 1-16,0-27 0,0 13 15,0 27 1,-40 185 31,40-119-47,0-27 15,27 27 1,-14-26-16,13-14 16,1 0-16,-14-13 15,0 0 1</inkml:trace>
  <inkml:trace contextRef="#ctx0" brushRef="#br0" timeOffset="78432.23">12753 9538 0,'0'0'15,"40"-13"1,-27 0-1,13 13-15,-12-13 0,25 13 0,-12 0 16,26-14-16,-27 1 0,14 13 16,-14 0-16,1 0 0,-1 0 15,27 0-15,-40 0 0,14 0 16,-14 0-16</inkml:trace>
  <inkml:trace contextRef="#ctx0" brushRef="#br0" timeOffset="79194.57">13401 9459 0,'-13'-13'16,"0"13"-16,-1 0 16,1 13-16,0-13 0,0 13 15,0 0-15,-1 1 16,14-1-16,-13 0 15,13 0-15,0 0 0,13-13 16,1 14 0,-1-14-16,13 0 15,-13-14-15,1 14 16,-1-13-16,0 0 0,0 13 16,-13-13-16,14 13 15,-14 13 16,0 0-31,0 0 16,13 1 0,0-14-16,14 0 15,-27-14-15,13 14 16,0-13-16,0 0 0,0 0 16,1 0-16,-14-14 0,13 14 15,-13 0-15,0-1 0,13 1 16,-13-13-16,0 12 0,0 1 0,0 0 15,0 0-15,0 0 0,-13-1 0,13 1 16,0 0-16,-27 26 31,14 0-15,13 1 15,27-28-15,-14 14-1,-13-13-15,13 13 0,0 0 16,1 0-16,-1 0 16,-13 13-1,0 1 1,-13-1-16,-1 0 16,14 0-16,-13 0 0,0 1 15,13-1-15,-13 0 0,13 0 16,0 1-16,0-1 15,0 0-15,13-13 16,-13 13-16,13-13 0,0 0 16,1 0-16,-1 0 15,0 0-15,-13 14 16,13-14-16,0 0 16</inkml:trace>
  <inkml:trace contextRef="#ctx0" brushRef="#br0" timeOffset="82492.73">12277 9975 0,'-27'0'31,"27"13"-31,-13-13 0,0 13 16,0 0-16,-1 1 15,14-1-15,-13-13 16,13 13-16,0 0 0,27-13 31,-14-13-15,0 13-16,0 0 15,0 0-15,1 0 16,-1 0-16,0 13 0,0 1 16,-13-1-16,14-13 0,-14 13 15,0 0-15,0 1 0,0-1 16,-14-13-16,14 26 0,-13-13 0,13 1 15,-13-1-15,0-13 0,-1 13 0,14 0 16,-13-13-16,0 0 0,13 14 0,-13-14 16,0 0-16,-1-14 15,14 1 1,14 0-16,-14 0 16,13 13-16,-13-14 0,13 1 15,0 0-15,0 0 0,1 13 16,-1-13-16,0-1 0,0 1 0,1 13 15,-14-13-15,13 13 0,0-13 16,0 13-16,-13-14 16,13 14-16,-13 14 31,14-1-31,-1 0 16,0-13-1,14 0 1,-14 0-16,0 0 0,0-13 15,1 13-15,-14-13 0,13 13 16,-13-14-16,0 1 0,0-13 16,-13 26-1,13-14-15,-14 14 0,14-13 0,-13 13 16,0-13-16,0 26 16,-1-13-1,14 13-15,0 1 16,14-14-16,-1 0 15</inkml:trace>
  <inkml:trace contextRef="#ctx0" brushRef="#br0" timeOffset="83936.79">12753 9975 0,'-13'26'47,"26"-13"-31,-13 1-16,13-14 15,0 13 1,1-13-16,12 0 16,-26-13-16,13 13 15,1-14-15,-1 14 0,-13-13 16,13 13-16,-13-13 15,13 13-15,0 0 32,-13 13-17,14 0 1,-14 1-16,13-14 16,0 0-1,0 0-15,1-14 0,-14 1 16,13 13-16,-13-13 0,13 13 15,-13-13-15,0 0 0,13-1 16,-13 1-16,14 0 16,-14 0-16,13 26 47,-13 0-47,0 0 0,0 1 15,0-1-15,0 0 0,0 0 0,0 0 16,0 1-16,0-1 0,-13 13 15,13-12-15,0-1 0,0 13 16,0-12-16,0-1 0,0 0 0,-14 27 16,14-27-16,0 0 15,0 0-15,0 1 0,0-1 16,0 0-16,0-39 47,0 12-32,0-12-15,14 13 0,-14-1 0,0-12 16,0 0-16,13-1 0,-13 14 16,13-14-16,-13 14 0,13 0 0,-13 0 15,13-1-15,-13 1 0,14 13 0,-1-13 16,0 0-16,0 13 16,1 13-1,-1-13-15,-13 13 16,-13 0-1,-1 1 1,1-14-16,13 13 0,-13-13 16,0 0-16,13 13 0,-14-13 15,1 0-15,0 0 16</inkml:trace>
  <inkml:trace contextRef="#ctx0" brushRef="#br0" timeOffset="84973.74">14089 9327 0,'0'0'0,"13"0"0,1 13 31,-14 0-15,0 0-16,0 0 0,13 1 15,-13 12-15,0-13 0,0 1 16,13 12-16,-13-13 0,0 14 0,0-14 16,0 0-16,0 0 0,0 14 15,0-14-15,0 0 0,0 1 16,0-1-16,0 0 0,0 0 16,0 1-16,0-1 31</inkml:trace>
  <inkml:trace contextRef="#ctx0" brushRef="#br0" timeOffset="85211.76">14155 9327 0,'0'0'16,"-13"0"-16,0 13 16,0 0-1,13 0-15,-14 0 0,1 1 16,13-1-16,-13 0 0,0 14 16,13-14-16,-14 0 0,1 0 0,13 1 15,-13-1-15</inkml:trace>
  <inkml:trace contextRef="#ctx0" brushRef="#br0" timeOffset="85428.83">14129 9313 0,'26'53'31,"-13"-53"-31,1 13 0,-14 1 0,13-1 16,0 0-16,0 0 0,1 1 0,-1-1 15,0-13-15,-13 13 16,13 0-16</inkml:trace>
  <inkml:trace contextRef="#ctx0" brushRef="#br0" timeOffset="88468.92">7633 10941 0,'53'39'31,"-26"-12"-31,-1-1 0,1 14 0,12-1 0,-12 14 15,12-13-15,1 13 0,-13 0 16,12 0-16,-12 0 0,12 0 0,-12 13 16,-1-26-16,14 12 0,-14 1 15,1-13-15,13 0 0,-14 13 16,14-27-16,-1 14 0,41 26 16,-41-40-16,1-12 0,0 12 0,13-13 15,-14 14-15,1-14 0,0 0 16,-1-13-16,14 13 0,-13 1 0,0-14 15,13 0-15,-14 0 0,1 0 0,13 0 16,0 0-16,0-14 0,0 1 16,0 13-16,-14-13 0,14 0 0,-13 0 15,13-1-15,0-12 0,-14 13 0,14-1 16,0 1-16,-13-13 0,0 12 16,13 1-16,-14-13 0,1 13 15,0-1-15,-1-12 0,1 13 0,0-14 16,-1 14-16,1 0 0,-13-14 0,12 14 15,1-13-15,-14 12 0,14-12 16,0 13-16,-14-1 0,14-12 0,0 13 16,-14-14-16,14 14 0,-14 0 0,14-14 15,-14 14-15,14-13 0,-14 12 16,14-12-16,-13 0 0,-1 12 16,1-12-16,-1-1 0,0 14 0,1-13 15,-1-1-15,1 14 0,-1-13 0,1 12 16,-1-12-16,1-1 0,-1 14 0,1-13 15,-1-1-15,0 1 0,1 13 16,-1-14-16,1 1 0,-1 12 0,1-12 16,-1 0-16,1-1 0,-1 14 15,1-14-15,-14 1 0,13 13 0,-12-14 16,-1 14-16,0 0 0,0 0 0,0-1 16,14-12-16,-27 13 0,13 13 15,-13-14-15,13 1 0,1 0 16,-14 0-16,13-1 15,-13 1-15,13 13 0,-13-13 16,13 0 0,-13 0-1,14 13 17</inkml:trace>
  <inkml:trace contextRef="#ctx0" brushRef="#br0" timeOffset="88908.19">11404 10570 0,'26'13'31,"0"-26"-31,-12 13 16,-1 0-16,0 0 15,0 0-15,1-13 0,-1 13 16,0 0-16,0 0 16,1 0-16,-1 0 0,0 0 15,0 0-15,-13 13 0,13-13 16,-13 13-16,0 1 0,14-14 0,-14 13 16,0 0-16,0 13 0,0-12 15,0-1-15,0 0 0,0 14 0,0-14 16,0 13-16,0-12 0,0-1 0,0 0 15,0 0-15,0 0 16,0 1-16,0-1 16,13 0-16</inkml:trace>
  <inkml:trace contextRef="#ctx0" brushRef="#br0" timeOffset="89656.78">7594 10941 0,'-14'66'31,"14"-53"-31,0 0 0,0 0 16,0 27-16,-13-14 0,13-12 15,0-1-15,0 13 0,0-12 0,-13-1 16,13 0-16,0 0 0,0 1 15,0-1-15,-13 0 0,13 0 16</inkml:trace>
  <inkml:trace contextRef="#ctx0" brushRef="#br0" timeOffset="90038.87">7567 11020 0,'0'-13'0,"0"26"0,13-40 0,-13 14 16,14 13-1,-1-13 1,0 13-16,0 0 0,0 0 16,1 13-16,-1-13 0,0 0 0,0 13 15,14-13-15,-14 0 0,0 0 16,1 14-16,-1-14 0,0 0 15,0 13-15,14-13 0,-14 0 0,0 0 16,0 13-16,1-13 0,-1 0 16,0 0-16,0 0 15,1 0-15,-1 13 16,0-13 0,0 0-1,-13-13 16,0 0-15,0 0 0</inkml:trace>
  <inkml:trace contextRef="#ctx0" brushRef="#br0" timeOffset="93930.02">10530 9763 0,'-13'27'15,"0"-14"-15,0 93 31,0-80-31,13 1 0,0-14 16,0 13-16,0-13 0,0 14 0,-14-14 16,14 0-16,0 1 0,0-1 15,0 0-15,0 0 0</inkml:trace>
  <inkml:trace contextRef="#ctx0" brushRef="#br0" timeOffset="94136.67">10530 9829 0,'-13'0'0,"26"0"0,-39 0 0,26 13 15,-13 1-15,0-1 0,-1 0 16,1 0-16,0 1 0,0 12 0,13-13 15,-14 1-15,1-1 0,0 0 16,13 0-16,-13-13 0</inkml:trace>
  <inkml:trace contextRef="#ctx0" brushRef="#br0" timeOffset="94349.93">10438 9829 0,'0'0'0,"13"13"0,0-13 0,1 0 15,-1 14-15,0-14 0,0 13 16,0-13-16,1 0 0,-1 13 16,0-13-16,0 0 0,1 13 0,-1-13 15,0 0-15,0 0 0</inkml:trace>
  <inkml:trace contextRef="#ctx0" brushRef="#br0" timeOffset="96360.79">15703 8983 0,'0'119'15,"0"-80"-15,0 14 16,13 0-16,-13 13 0,13-13 16,-13 53-16,0-53 15,0-13-15,14 13 0,-14-14 0,0 1 0,13 0 16,-13-14-16,0 1 0,0-14 0,0 13 16,0-13-16,0 1 0,0-1 15,0 0-15</inkml:trace>
  <inkml:trace contextRef="#ctx0" brushRef="#br0" timeOffset="98488.9">15650 9075 0,'66'0'31,"-53"-13"-31,1 13 0,12 0 15,-13 0-15,14 0 0,-14 0 0,14 0 16,-1 0-16,0 0 0,14-13 0,-13 13 16,12 0-16,14-13 0,-13 13 15,13-14-15,-14 1 0,14 13 16,0-13-16,13 0 0,-13 13 0,0-14 16,0 14-16,13-13 0,1 0 15,-1 13-15,0-13 0,0 13 0,13-14 16,-13 14-16,1-13 0,-1 13 0,-13-13 15,13 13-15,0-13 0,0 13 16,0-13-16,-13 13 0,27 0 0,-28-14 16,1 14-16,14-13 0,-15 13 15,15 0-15,-14-13 0,-1 13 0,1-13 16,0 13-16,0-14 0,0 14 16,-13 0-16,13-13 0,0 13 0,-14 0 15,1-13-15,-14 13 0,1 0 0,-1 0 16,1 0-16,-1 0 0,-12-13 15,-1 13-15,13 0 0,-13 0 0,1 0 16,-1 0-16,0 0 0,0 0 16,1 0-1,-1 0-15,0 0 16,0 0 0,-13 13-1,13-13-15,-13 13 0,0 0 16,14 1-16,-14-1 0,0 0 15,13 14-15,-13-1 0,13-13 0,-13 27 16,13 0-16,-13-14 0,14 14 16,-1-1-16,-13-12 0,13 13 0,-13-1 15,0-12-15,13 12 0,-13 1 0,14-13 16,-14-1-16,0 0 0,13 1 16,-13-1-16,13-12 0,0 12 0,-13-13 15,13 14-15,1-14 0,-14 0 0,13 14 16,0-14-16,-13 0 0,13 14 15,1-27-15,-14 13 0,0 0 16,13 0-16,-13 1 16,13-14-16,-13 13 15,13 0-15,-26 0 32,0-13-32,13 13 0,-13-13 15,-1 0-15,14 14 0,-13-14 16,0 0-16,-14 13 0,14-13 0,-13 0 15,13 13-15,-14-13 0,1 0 0,-1 13 16,1-13-16,-14 14 0,0-1 0,1-13 16,-1 13-16,-13-13 0,13 13 15,1 0-15,-14-13 0,13 14 16,-13-1-16,0 0 0,14-13 0,-14 13 16,0 1-16,0-1 0,0-13 15,13 13-15,-13 0 0,0-13 0,14 14 16,-14-1-16,13-13 0,-13 13 0,13-13 15,1 13-15,12-13 0,-12 13 0,-1-13 16,13 14-16,1-14 0,0 13 16,-14-13-16,13 0 0,1 13 0,0-13 15,-1 0-15,1 13 0,-1-13 0,1 0 16,12 14-16,-12-14 0,0 0 16,-1 0-16,14 13 0,-14-13 0,14 0 15,-13 0-15,-1 13 0,14-13 16,-13 0-16,12 0 0,-12 13 0,13-13 15,-14 0-15,14 0 0,0 0 16,-14 0-16,14 0 0,-13 14 0,-1-14 16,14 0-16,-14 0 0,1 0 0,13 13 15,-14-13-15,1 0 0,-1 0 0,1 0 16,13 13-16,-14-13 0,1 0 16,13 0-16,-14 0 0,14 13 0,0-13 15,-14 0-15,14 0 0,0 0 0,-1 0 16,-12 0-16,13 0 0,0 0 15,-1 0-15,1 0 0,0 0 0,0 0 16,-1 0-16,1 0 16,0 0-16,0 0 15,-1 0-15,1 0 16,0-13-16,0 13 0,0 0 16,-1 0-16,1 0 15,0 0-15,0 0 16,-1 0-1,1 0-15,0-13 16,-13 13-16,12 0 16,1 0-16,0 0 15,0 0-15,-1 0 16,1 0 0,0 0-1,0 0 1,-1 0-16,1 0 47,0 0 15,0 0-31,13-13-15,-13-1 15,-1 14 47,14-13-31,14 0-31,-14 0-16,0-1 0,0-12 16,13 13-16,-13-14 0,0 1 0,13-1 15,-13-12-15,13 12 0,-13 1 16,13-1-16,1 14 0,-14-13 15,13-1-15</inkml:trace>
  <inkml:trace contextRef="#ctx0" brushRef="#br0" timeOffset="99041.87">16298 9313 0,'-39'14'16,"78"-28"-16,-92 28 0,40-1 0,-13-13 0,12 13 15,1 0-15,0-13 16,13 13-16,0 1 15,13-14-15,0 13 0,1-13 16,-1 0-16,0 13 16,14-13-16,-14 0 0,0 13 0,0-13 15,27 14-15,-27-14 0,0 13 16,1 0 0,-14 0-16,0 1 15,-14-14-15,14 13 0,-13 0 0,0-13 16,0 13-16,0 0 0,-14-13 15,14 14-15,0-14 0,-1 13 0,1-13 16,0 13-16,0-13 0,-1 0 0,1 0 16,0 13-1</inkml:trace>
  <inkml:trace contextRef="#ctx0" brushRef="#br0" timeOffset="99700.64">16470 9353 0,'0'-13'0,"0"0"16,-13 39 15,13-13-15,0 0-16,0 1 15,0-1-15,13 0 16,-13 0-16,0 1 16,14-14-1,-14 13-15,26-26 16,-26-1 0,13 14-1,-13-13-15,13 0 16,1 0-1,-1 13 17,0 0-17,0 0-15,-13 13 16,14 0 0,-14 0-16,13-13 15,-13 14-15,13-1 31,0-26-15,-13-1 0,14 1-1,-14 0 1,13 13 0,0 0-1,0 0 1,0 13-16,-13 0 15,14-13-15,-14 14 32</inkml:trace>
  <inkml:trace contextRef="#ctx0" brushRef="#br0" timeOffset="100162.02">16986 9128 0,'-26'27'16,"26"-14"-1,0 0-15,0 0 0,0 14 0,0-14 16,0 0-16,0 14 0,0-14 16,0 0-16,0 0 0,-13 1 0,13-1 15,0 0-15,13 0 16,0-26 15,0 13-31,-13-13 0,13 13 0,-13-13 16,14 13-16,-1 0 0,0-14 15,0 14-15,1 0 16,-14 14 0,0-1-1,0 0-15,-14 0 0,1-13 16,13 13-16,-13 1 0,0-1 15,-1-13-15,1 13 0,0-13 0,0 13 0,0-13 16,-1 0 0</inkml:trace>
  <inkml:trace contextRef="#ctx0" brushRef="#br0" timeOffset="100742.77">17185 9247 0,'-14'13'47,"1"1"-47,13-1 0,0 0 16,13 0-16,1 1 15,-1-14 1,13 13-1,-12-26-15,-1 13 16,0 0-16,-13-14 0,13 14 16,-13-13-16,14 13 0,-14-13 15,13 13-15,-13-13 0,13-1 16,-13 1-16,13 13 16,-13-13-1,13 26 1,-13 0-1,0 1-15,0-1 16,14 0 0,-14 0-1,13-26 17,0 0-17,-13 0-15,13 13 0,-13-14 16,14 14-16,-1 0 15,0-13 1,0 13 0,-13 13-1,13-13 1,-13 14 15</inkml:trace>
  <inkml:trace contextRef="#ctx0" brushRef="#br0" timeOffset="101069.87">17621 9168 0,'-13'13'16,"13"0"-1,-13-13-15,13 14 16,0-1-16,0 0 31,13-13-15,0-13-1,0 13 1,1-13 0,-1 13-1,0-14-15,0 14 16,-13-13-16,14 13 16</inkml:trace>
  <inkml:trace contextRef="#ctx0" brushRef="#br0" timeOffset="101242.72">17793 9115 0,'13'13'16,"-13"0"-1,14 1 1,-14-1-16,0 0 0,0 0 16,-14 1-1,1-1-15,0-13 16,0 13-16</inkml:trace>
  <inkml:trace contextRef="#ctx0" brushRef="#br0" timeOffset="102369.75">18150 9062 0,'-13'0'0,"26"0"0,-39-13 0,13 13 16,0 0-16,13 13 15,-14-13-15,1 13 16,0 0-1,26 1 1,-13-1-16,0 0 0,0 0 16,13-13-16,-13 14 0,0-1 15,0 0-15,0 0 16,-13 1-16,13-1 16,-13 0-16,0-13 15,-1 13-15,1-13 0,0 0 16,13-26 15,13 26-31,-13-13 0,13-1 16,1 1-16,-1 0 0,0 13 15,0-13-15,1-1 0,-1 14 0,13-13 16,-13 0-16,1 13 0,-1 0 16,13-13-1,-12 13 1,-1 0-16,0 0 0,0 0 15,0 0-15,1-14 0,-1 14 16,0 0-16,0-13 0,1 13 16,-1-13-16,-13 0 15,13 0-15,-13-1 0,-13 1 16,13 0-16,-13 13 16,-1 0-16,1 0 15,0 0-15,0 13 0,-1-13 16,14 13-16,-13 1 0,13-1 15</inkml:trace>
  <inkml:trace contextRef="#ctx0" brushRef="#br0" timeOffset="103490.78">16351 9803 0,'-13'0'0,"0"26"31,13-13-31,0 1 16,0-1-1,13 0-15,0-13 16,0 0-16,1 0 16,-1 0-1,-13-13-15,13 13 0,0-13 16,-13-1-16,14 14 0,-14-13 15,13 0 1,-13 26 31,26 27-16,-26-27-15,93-39 46,-80-1-46,0-79 15,-13 225-15,-13-52-16,13-41 15,-13 67-15,13-80 16,-13 13-16,13-12 0,0-1 16,0 0-16,0 0 0,0 1 0,-14-1 15,14 0-15,0-39 32,0 12-32,0 1 0,0-13 15,14-14-15,-14 0 0,13 14 16,0-14-16,0 14 0,-13 12 15,14-12-15,-1 13 0,0-14 16,0 27-16,-13-13 0,14 26 16,-14 14-1,-14-27-15,1 13 16,13 0-16,-13 0 0,0 1 0,-1-1 16,1 0-16,0-13 0,13 13 0,-13-13 15,13 14-15,-14-14 16</inkml:trace>
  <inkml:trace contextRef="#ctx0" brushRef="#br0" timeOffset="103782.78">17079 9776 0,'-13'27'16,"13"-14"-16,0 0 15,-14 0-15,14 1 16,0-1-16,0 0 16</inkml:trace>
  <inkml:trace contextRef="#ctx0" brushRef="#br0" timeOffset="103927.27">17013 9631 0,'-14'13'0,"14"0"16</inkml:trace>
  <inkml:trace contextRef="#ctx0" brushRef="#br0" timeOffset="104345.43">17185 9697 0,'-14'26'16,"1"-26"-16,13 14 15,0-1-15,-13-13 0,13 13 0,0 0 16,0 1-16,0-1 0,0 0 15,0 0-15,13 0 16,0-13-16,1 0 0,-1 0 16,13 0-16,-12-13 0,-1 13 15,0-13-15,0 13 0,1-13 16,-1 0-16,0-1 0,0 1 16,-13 0-16,13 0 0,-13-1 15,0 1 1,-13 13-16,0 13 15,0 1 1,0-1-16,13 0 16,0 0-1,13-13-15,-13 14 0,13-1 16,0-13-16,0 0 16,1 0-1,-1 0-15,0 0 16</inkml:trace>
  <inkml:trace contextRef="#ctx0" brushRef="#br0" timeOffset="105238.64">17701 9591 0,'0'-13'0,"0"26"0,-14-26 0,1 26 15,13 0-15,-13-13 16,13 14-16,-13-1 0,13 0 16,-14 0-16,14 1 0,-13-1 15,13 0-15,0 0 0,0 0 16,0 14-16,0-14 16,13-13-1,1 0-15,-14-13 16,13 13-16,0-13 15,0 13-15,-13-14 0,14 14 16,-1-13-16,0 13 0,-13-13 16,13 13-16,1 0 0,-1 0 31,0 13-31,-13 0 16,0 1-1,13-14-15,-13 13 16,13-13-1,-13-13 1,14 13 0,-14-14-16,13 1 15,0 0-15,0 0 0,-13 0 16,14 13-16,-14-14 0,13 14 0,0-13 16,0 0-1,1 26 1</inkml:trace>
  <inkml:trace contextRef="#ctx0" brushRef="#br0" timeOffset="105472.85">17992 9684 0,'0'-13'15,"0"-1"1,-14 28 31,1-14-47,13 13 15,0 0-15,13-13 32,1 0-32,12 0 15,-13 0-15,1 0 0,-1-13 16</inkml:trace>
  <inkml:trace contextRef="#ctx0" brushRef="#br0" timeOffset="105884.72">18389 9538 0,'0'0'0,"-14"-13"0,1 13 15,0 13-15,0 0 31,13 1-31,0-1 16,0 0-16,0 0 16,13-13-16,-13 14 0,0-1 15,0 0-15,13 0 16,-26 1-16,13-1 16,-13-13-16,-1 13 15,1-13-15,0 0 16,0 0-16</inkml:trace>
  <inkml:trace contextRef="#ctx0" brushRef="#br0" timeOffset="106642.04">18534 9578 0,'0'-13'31,"-26"26"-15,12 0 0,14 0-1,-13 1 1,13-1-16,13-13 31,1 0-15,-1 0-1,0-13 1,0 13-16,1-14 16,-1 14-16,-13-13 15,13 13-15,-13-13 0,13 0 16,0-1-16,-13 1 15,0 0-15,14 0 0,-14 0 0,0-1 16,13 1-16,-13 0 16,0 0-16,0-1 0,-27 28 47,27-1-47,0 0 15,-13 0-15,13 1 0,0-1 16,0 0-16,-13-13 0,13 13 0,0 0 15,0 1-15,13-14 16,-13 13-16,13-13 16,1 0-1,-1 0-15,0 0 16,0 0 0,1 13 30,-14 0-30,13-13 0,13-13-1,-13 13 1,1 0-16,-1 13 31,-26 1-15,-1-1-1,1 0-15,0-13 16,0 13-16,0 1 0,-14-14 0</inkml:trace>
  <inkml:trace contextRef="#ctx0" brushRef="#br0" timeOffset="107501.9">17079 10306 0,'-13'0'0,"26"0"16,-26-14-16,-14 28 0,14-14 15,0 13-15,-1-13 0,1 13 16,0-13-16,13 13 0,-13-13 16,13 13-16,-13-13 0,-1 14 15,41-14 1,-1 0-1,-13 13-15,1-13 16,-1 0-16,0 0 0,0 0 0,1 13 16,-1 0-16,-13 1 15,0-1-15,0 0 16,-13 0-16,13 1 16,0-1-16,-14-13 0,1 13 0,0 0 15,0-13 1,26-26-1,0 13 1,0-1-16,1 1 0,-1 0 16,0 0-16,0-1 0,1 1 0,-1 0 15,13 0-15,-26-1 0,13 14 16,1-13-16,-1 13 31,0 13-15,0-13-1,1 0-15,-1 0 16,0 0-16,0 0 16,1 0-16,-14-13 0,13 13 15,-13-13-15,0 0 16,0 0 0,-13 13-16,13-14 0,-14 14 15,1 14 1,13-1-1</inkml:trace>
  <inkml:trace contextRef="#ctx0" brushRef="#br0" timeOffset="108235.52">17820 10147 0,'-27'26'32,"14"-26"-32,13 13 15,0 1-15,13-1 31,0-13-31,1 0 16,-1-13-16,0-1 16,0 14-16,1-13 15,-1 13-15,-13-13 16,13 13-16,0 0 16,1 0-1,-1 0 1,0-13-16,0 13 15,-13-13 1,13-1-16,-13 1 16,14 13-16,-14-13 0,0 0 31,13 13-31,-13 26 31,0-13-31,0 1 16,0-1-16,0 13 0,0 1 0,0-1 15,0 1-15,0-1 0,0 1 0,0-1 16,0 0-16,0 1 0,0-14 0,0 14 16,0-14-16,0 0 0,0 14 15,0-14-15,0 0 16,-13-39 15,13 12-31,0-12 0,13 13 16,-13-14-16,13-52 0,0 52 15,-13 14-15,14-13 0,-1 12 0,-13 1 16,13 0-16,-13 0 0,13-1 16,-26 41 31,0-14-47,13 0 15,-13-13-15,13 14 0,-14-1 0,1-13 16</inkml:trace>
  <inkml:trace contextRef="#ctx0" brushRef="#br0" timeOffset="108364.87">18243 10147 0,'-13'-13'15,"0"13"-15,-1-14 31</inkml:trace>
  <inkml:trace contextRef="#ctx0" brushRef="#br0" timeOffset="111393.81">6985 10967 0,'13'40'0,"-26"-80"0,26 93 0,0-27 16,-13-12-16,14 12 0,-1 0 0,0 14 16,14-13-16,-14 12 0,0 1 15,14 13-15,-1-13 0,0-1 0,-12 14 16,12 0-16,1-13 0,-14 13 0,13 0 16,1-14-16,-14 14 0,13 0 15,-12-13-15,-1-14 0,13 14 16,-12 0-16,12 13 0,-13-27 0,0 14 15,14-1-15,-14 1 0,0-13 0,14 12 16,-14 1-16,14-14 0,-14 1 16,13 13-16,-13-14 0,1 0 0,12 1 15,1-1-15,-14 1 0,13-14 0,1 14 16,-14-1-16,13 0 0,-12-12 16,12 12-16,1-13 0,-14 1 0,13-1 15,-12 13-15,-1-12 0,13-1 16,-13 0-16,14 0 0,-14 0 15,14-13-15,-14 14 0,13-1 0,1 0 16,-14 0-16,13 1 0,1-14 0,-14 13 16,14-13-16,-1 13 0,14 0 15,-1-13-15,-12 0 0,13 14 0,-1-14 16,1 13-16,0-13 0,-1 0 0,1 0 16,0 0-16,-1 0 0,1 13 0,0-13 15,-1 0-15,-12-13 0,26 13 16,0 0-16,-14 0 0,14 0 15,0 0-15,0 0 0,-13 0 0,13 0 16,0 0-16,-14 0 0,1-13 16,13 13-16,-13 0 0,-1 0 0,1 0 15,0 0-15,13 0 0,-14 0 0,14 0 16,0 0-16,0 0 0,0 0 0,-13 0 16,13 0-16,-1 0 0,1-14 15,-13 14-15,13 0 0,0 0 0,13 0 16,-13 0-16,0-13 0,0 13 0,0 0 15,13-13-15,-13 13 0,0 0 16,13 0-16,-13 0 0,0-13 0,0 13 16,13 0-16,-13 0 0,13-14 0,0 14 15,-13 0-15,0-13 0,26 13 16,-13-13-16,0 13 0,1-13 0,12 13 16,-13-14-16,0 1 0,0 0 15,14 0-15,-14 0 0,0-1 0,13 1 16,-12 0-16,-1 0 0,13-1 15,-13 1-15,0-13 0,14 12 0,-14 1 16,0 0-16,0 0 0,14 0 0,-14-14 16,-13 14-16,13 0 0,0-1 15,0 1-15,0-13 0,-13 12 0,13 1 16,0 0-16,-13-13 0,14 12 0,-15 1 16,1-13-16,13 12 0,1-12 15,-14 13-15,-1 0 0,1-14 16,0 14-16,0 0 0,0-14 0,0 14 15,0 0-15,0-14 0,0 14 0,0-13 16,-14 12-16,14-12 0,0 13 16,-13-1-16,13-12 0,-13 13 0,12-14 15,-12 14-15,13-13 0,0 12 0,-13-12 16,-1 13-16,14-14 0,-13 14 16,0-13-16,-1 12 0,1 1 0,-14-13 15,14 12-15,0-12 0,0-1 0,-14 14 16,14-13-16,-14-1 0,1 14 15,12-13-15,-12 12 0,-1-12 0,1 13 16,-1-1-16,-13-12 0,1 13 0,-1 0 16,13-1-16,-12 1 0,-1 0 15,0 0-15,13-1 0,-12-12 16,-1 13-16,0-1 0,0 1 0,14 0 16,-14 0-16,0 0 0,14-14 0,-14 14 15,0 0-15,27-14 16,-27 14-16,0-14 0,1 14 15,-1 0-15,13 0 0,-13 0 0,1-14 16,-1 14-16,0 0 0,14-1 0,-14 1 16,0 0-16,0 0 0,1 0 0,-1-1 15,0 1-15,0 0 0,-13 0 16,13-1-16,1 1 0,-1 0 0,0 0 16,0-1-16,-13 1 0,14 0 15,12 0-15,-13 0 0,0-1 0,1 1 16,-1 0-16,-13 0 0,13-1 0,0 1 15,14-13-15,-14 26 16,0-27-16,1 14 0,-1 0 16,0 13-16,-13-13 0,13 13 15,0-27-15,1 27 0,-14-13 16,13 13-16,0-13 0,-13-1 16,13 14-16,1-13 15,-14 0-15,13 13 16,0-13-16,-13 0 15,13 13-15,1-14 16,-14 1 15,13 13 1,-13-13-1</inkml:trace>
  <inkml:trace contextRef="#ctx0" brushRef="#br0" timeOffset="111800.31">16298 10438 0,'27'0'46,"-14"0"-46,0 0 0,0 0 16,1 0-16,-1-13 0,0 13 16,0 0-16,1 0 0,-1-14 0,0 14 15,0 0-15,1-13 0,-1 13 0,0 0 16,0 0-16,0 0 0,1 0 16,-1 0-16,0 0 15,-13 13-15,13-13 0,-13 14 0,14-14 16,-14 13-16,0 0 0,0 0 0,0 1 15,13-1-15,-26 0 0,13 13 16,0-12-16,0 12 0,-14 1 0,14-14 16,-13 13-16,13 1 0,-13-1 0,0 14 15,-1-27-15,1 14 16</inkml:trace>
  <inkml:trace contextRef="#ctx0" brushRef="#br0" timeOffset="118948.34">5093 10213 0,'13'40'15,"-13"-27"1,0 13-16,0 1 0,0-1 0,14 1 16,-14 12-16,0 1 0,0 0 15,0-1-15,0-12 0,0 13 0,0-14 16,0 0-16,0 1 0,0-14 0,0 14 15,-14-14-15,14 0 0,0 0 16,0 1-16,0-1 0,0 0 0,0 0 16,0 0-16,0-39 47,0 13-47</inkml:trace>
  <inkml:trace contextRef="#ctx0" brushRef="#br0" timeOffset="119353.34">5093 10213 0,'0'-13'16,"-13"13"-16,0 13 16,13 0-1,-13-13-15,13 13 0,-14 1 16,1-1-16,13 0 0,-13 0 0,0 1 15,-1-1-15,14 13 0,-13-13 0,0 1 16,13-1-16,-13 0 0,-1 0 16,14 1-16,-13-1 0,13 0 0,-13 0 15,0 1-15,13-1 0,-13 0 16,13 0 0,-14-13-16,14 13 15</inkml:trace>
  <inkml:trace contextRef="#ctx0" brushRef="#br0" timeOffset="119817.87">4948 10213 0,'13'13'16,"0"-13"0,0 13-16,1-13 0,12 14 0,-13-1 15,1-13-15,12 13 0,0 0 16,1 1-16,-1-14 0,-12 13 0,12-13 16,1 13-16,-1-13 0,0 13 0,1-13 15,-14 0-15,0 13 0,1-13 16,-1 0-16,0 0 0,0 0 0,1 14 15,-1-14-15,0 0 16,0 0-16,0 0 16,1 0-1,-1 13 1,0-13 0</inkml:trace>
  <inkml:trace contextRef="#ctx0" brushRef="#br0" timeOffset="121152.84">10120 10253 0,'0'-27'47,"0"14"-31,14 0-16,-14-1 0,0 1 0,0-13 16,0-1-16,0 1 0,0-1 0,0-12 15,0-1-15,0-13 0,0 13 16,-14 1-16,14-14 0,-13 0 0,13 0 15,-13-13-15,0 26 0,-1 0 0,14 1 16,-13-1-16,0 0 0,13 1 16,-13 12-16,13 1 0,0-1 15,0 1-15,-14 13 0,14-1 0,0 1 16,0 0-16,0 0 0,0 0 0,0-1 16,0 1-1,14 0-15,-1 13 31,-13 26 94,-13-26-109</inkml:trace>
  <inkml:trace contextRef="#ctx0" brushRef="#br0" timeOffset="121927.72">10094 9141 0,'-13'-13'0,"-1"13"0,1 13 16,0-13-1,0 0-15,13 14 0,-14-1 0,1-13 16,0 13-16,13 0 0,-13 14 0,0-1 16,-1 1-16,1-1 0,0 1 15,-14 12-15,14-12 0,0-1 0,0 14 16,-1-14-16,1 1 0,0-1 15,0-13-15,0 14 0,-1-14 0,1 14 16,13-14-16,-13 13 0,-14 14 16,27-27-16,-13 0 0,13 1 15,-13-1-15,0 0 0,13 0 0,-13-13 16,13 14-16,0-1 0,-14-13 16,14 13-16,-13-13 0,13 13 15,0-39 16,0 13-15,13-1-16,-13 1 0,14 0 16,-14-14-16,13 1 0,0 0 15,0-1-15,0-13 0,14 14 16,-14-14-16,0 1 0,14 12 0,-14-13 0,0 1 16,0 12-16,14-12 0,-14 12 15,0-13-15,14 14 0,-14 0 16,0-1-16,1 14 0,-1-27 15,0 27-15,0 0 0,-13-1 16,0 1-16,13 13 0,-13-13 16,14 0-16,12 13 31,-26 13-15,13-13-16,1 13 0,-14 0 15,13 1-15,0-1 0,0 0 0,1 14 16,-1-14-16,13 0 0,-13 14 0,14-14 15,13 13-15,-14-13 0,1 14 16,12-14-16,-12 0 0,12 1 0,-12-1 16,-1 0-16,1-13 0,-1 13 15,-13-13-15,1 13 0,-1-13 0,0 0 16,0 14-16,14-14 0,-14 13 16,0-13-16,0 0 15,1 13 1,-1-13 15</inkml:trace>
  <inkml:trace contextRef="#ctx0" brushRef="#br0" timeOffset="123539.72">5543 10081 0,'0'0'15,"13"26"16,-13-13-31,0 14 16,0 12-16,13 1 0,-13 0 0,0 0 16,14 12-16,-14-12 0,0 13 0,0-13 15,0 13-15,0-14 0,0 1 16,0 13-16,13-27 0,-13 1 0,0-1 16,0 1-16,0-1 0,0-13 0,0 1 15,0 12-15,0-13 16,0 1-16,0-1 0,0-40 47,0 14-47,0 0 0,0 0 15,0-1-15</inkml:trace>
  <inkml:trace contextRef="#ctx0" brushRef="#br0" timeOffset="124452.58">5530 10067 0,'-13'14'31,"13"-1"-31,-14-13 0,14 13 16,-13 0-16,0 1 0,0 12 0,13-13 15,-14 0-15,1 14 0,0-14 0,0 0 16,0 14-16,13-14 0,-14 0 16,1 1-16,0 25 0,0-26 15,-1 1-15,14-1 0,0 0 16,-13-13-16,13 13 0,0 1 15,-13-14-15,13 13 16,-13 0-16,13 0 31,13-52 1,0 25-17,-13 1-15,13 0 0,-13 0 16,14-14-16,-1 14 0,0-13 0,0 12 15,-13-12-15,14-1 0,-1 14 16,-13-13-16,13 12 0,0-12 0,0 13 16,-13-27-16,14 27 15,-14 0-15,13 13 0,-13-14 0,0 1 16,13 0-16,-13 0 16,0-1-16,13 14 15,-13-13-15,14 13 31,-1 0-15,0 13 0,0-13-1,-13 14-15,13-14 16,-13 13-16,14-13 0,-14 13 16,13-13-16,-13 13 0,13 1 15,0-1-15,-13 0 0,14 0 0,12 1 16,-13-1-16,1 0 15,-14 0-15,13 0 0,0 1 0,0-14 16,0 13-16,1 0 0,-1 0 16,0-13-16,-13 14 0,13-14 0,1 13 15,-1-13-15,-13 13 0,13-13 16,0 13 0,1-13-1,-14 14-15,13-14 16,0-14 78,-13 1-94</inkml:trace>
  <inkml:trace contextRef="#ctx0" brushRef="#br0" timeOffset="125588.93">15478 10028 0,'-13'-14'0,"13"1"15,0 0-15,0 0 0,0 0 16,0-1-16,0 1 0,0 0 0,0-14 16,0 1-16,-13-1 15,13 1-15,-14-14 0,1 1 0,13-1 16,-13 0-16,0 1 0,0-1 0,-1 13 16,14-12-16,-13-1 0,13 14 0,-13 12 15,13-12-15,0 13 0,-13-1 16,13 1-16,0 0 0,0 0 0,0 0 15,-14-1-15,14 1 16,0 0 0,0 39 46</inkml:trace>
  <inkml:trace contextRef="#ctx0" brushRef="#br0" timeOffset="126256.63">15359 9287 0,'-13'-13'16,"0"26"-1,-1-13-15,1 13 0,0 0 16,0 1-16,-1-1 0,1 0 15,13 0-15,-13 0 0,0 14 16,0-14-16,-1 14 0,1-1 0,0 1 16,0-14-16,-1 13 0,1-13 0,13 14 15,-13-14-15,0 0 0,13 1 16,-14-1-16,14 0 0,-13 0 16,13 1-16,0-1 0,-13-13 15,13 13-15,13-53 47,-13 27-47,13 0 16,-13 0-16,14-14 0,-1 1 15,0-1-15,14 1 0,-14-1 0,0 1 16,0 13-16,1-14 0,-1 14 0,0-14 16,-13 14-16,13 0 0,0 0 15,1 0-15,-14-1 0,13 14 16,-13-13-16,13 13 0,-13-13 15,13 13-15,1-13 16,-1 13-16,0 0 16,0 13-16,1-13 0,-1 0 15,-13 13-15,13-13 0,0 13 16,0-13-16,1 14 0,-1-1 0,0-13 16,-13 13-16,13 0 0,1-13 15,-1 13-15,0-13 0,0 14 0,1-14 16,-14 13-16,13-13 0,0 13 15,0-13-15,-13 13 0,13-13 16,-13 14 0,14-14-16,-1 13 31,-26-26 47</inkml:trace>
  <inkml:trace contextRef="#ctx0" brushRef="#br0" timeOffset="131532.71">5503 10345 0,'-13'-13'0,"26"0"31,-13 0-31,0-1 32,0 1-32,0 0 15,0 0 1,0-1-16,0 1 16,0 0-16,14 0 15,-14-1-15,0 1 16,0 0-16,13 0 15,-13 0-15,13 39 32,0-13-32,-13 14 15,0-1-15,13 14 0,-13 0 16,0 12-16,0-12 0,14 13 0,-14 0 16,0 0-16,0-13 0,0-1 15,0 1-15,0 0 0,0-14 0,0 1 16,0-1-16,0-13 0,0 14 0,0-14 15,0 0-15,0 0 0,0 1 16</inkml:trace>
  <inkml:trace contextRef="#ctx0" brushRef="#br0" timeOffset="131856.01">5464 10213 0,'-27'40'0,"54"-80"0,-67 106 0,27-39 0,0-1 16,-1 0-16,-12 14 0,13-13 0,-1 12 16,-12-12-16,13-1 0,-1 1 15,1-14-15,0 0 0,13 0 0,-13 1 16,13-1-16</inkml:trace>
  <inkml:trace contextRef="#ctx0" brushRef="#br0" timeOffset="132084.64">5411 10213 0,'13'0'0,"0"0"16,-13 13-16,13-13 0,27 40 15,-27-14-15,14-12 16,-1 12-16,-13 0 0,14-12 0,-1 12 16,-12-13-16,-1 1 0,13-1 0,-12 13 15,-1-26-15,13 14 0,-13-1 16,1 0-16,-1 0 0,0-13 0,0 13 16,14-13-16,-14 0 0,0 14 15,1-14-15</inkml:trace>
  <inkml:trace contextRef="#ctx0" brushRef="#br0" timeOffset="133365.68">10054 9379 0,'13'-13'15,"-26"26"-15,26-39 16,1 39-1,-1 14 1,-13-14-16,13 27 0,-13-1 16,13 14-16,1-13 0,-14 13 0,13 13 15,-13-13-15,13-13 0,-13 12 0,13 28 16,0-40-16,-13-1 16,0-12-16,0-1 0,14 1 0,-14-14 15,0 0-15,0 14 0,0-14 16,0 0-16</inkml:trace>
  <inkml:trace contextRef="#ctx0" brushRef="#br0" timeOffset="133674.81">10081 9274 0,'-40'39'16,"13"14"-16,1-13 0,13 0 15,-14-1-15,-26 41 0,40-41 16,-13 1-16,12 0 0,1-14 0,-13 14 16,13-14-16,-1 1 0,1-1 0,0-13 15,0 14-15</inkml:trace>
  <inkml:trace contextRef="#ctx0" brushRef="#br0" timeOffset="133917.21">10054 9247 0,'53'0'0,"-26"13"0,-14-13 0,13 14 16,1-14-16,-1 13 0,1 0 15,12-13-15,-12 13 0,-1 1 0,-13-14 16,14 13-16,-14 0 0,0-13 16,14 13-16,-14-13 0,-13 13 15,13-13-15,1 14 0</inkml:trace>
  <inkml:trace contextRef="#ctx0" brushRef="#br0" timeOffset="136068.56">609 9790 0,'0'0'0,"13"26"31,-13-13-16,13 0-15,0 14 16,-13-14-16,13 0 0,-13 1 0,0-1 16,14 13-16,-14-12 0,13-1 15,-13 0-15,13 0 0,-13 0 16,0 1-16</inkml:trace>
  <inkml:trace contextRef="#ctx0" brushRef="#br0" timeOffset="136368.96">516 9644 0,'-13'0'0,"13"-13"15</inkml:trace>
  <inkml:trace contextRef="#ctx0" brushRef="#br0" timeOffset="136784.66">847 9618 0,'-27'13'15,"14"0"-15,-13 14 31,26-14-31,0 0 0,13 0 16,-13 0 0,13 1-16,0-14 0,0 13 15,1-13-15,-14 13 0,13-13 16,0 0-16,0 13 0,1-13 16,-14 14-16,13-14 0,-13 13 15,13-13-15,-13 13 0,0 13 16,-13-26-16,13 14 15,-13-14-15,-1 13 0,14 0 16,-13-13-16,0 13 0,0-13 16,13 14-16,-14-14 0,1 13 15</inkml:trace>
  <inkml:trace contextRef="#ctx0" brushRef="#br0" timeOffset="138263.87">1283 9313 0,'13'40'16,"1"-27"0,-14 0-16,13 1 0,-13-1 0,13 13 15,0-12-15,1-1 0,-14 0 0,13 0 16,-13 1-16,13-1 15,-13 0-15,0 0 0,13-13 0,-13 13 16,0 1-16</inkml:trace>
  <inkml:trace contextRef="#ctx0" brushRef="#br0" timeOffset="138426.15">1270 9260 0,'-13'0'31</inkml:trace>
  <inkml:trace contextRef="#ctx0" brushRef="#br0" timeOffset="138720.74">1402 9208 0,'-13'39'31,"13"-26"-31,13 1 0,-13-1 0,0 0 16,14 14-16,-14-14 0,13 0 15,0 0-15,0 0 0,0 1 16,1-14-16,-1 13 0,0-13 0,0 0 16,1 0-16,-1 0 15,0 0-15,0 0 0,1 0 0,-14-13 16,13 13-16,0-14 0,0 14 0,-13-13 16,13 13-16,1-13 0,-1 0 15,0 0 1</inkml:trace>
  <inkml:trace contextRef="#ctx0" brushRef="#br0" timeOffset="139282.24">1561 9168 0,'13'13'63,"1"-13"-16,-14-13 0,-14 0-32,14-1 1,0 1-16,-13 13 15,13 13 17,-13 1-32,13 12 15,13-13-15,-13 1 16,0-1-16,13-13 0,-13 13 16,14-13-16,-1 13 0,0-13 15,0 0-15,0 0 16,1 0-16,-1 0 15,0 0-15,-13-13 0,13 13 0,1 0 16,-1 0-16,0 0 0,0-13 16</inkml:trace>
  <inkml:trace contextRef="#ctx0" brushRef="#br0" timeOffset="139988.4">1892 8850 0,'-13'14'15,"-1"-1"1,14 0-16,0 0 16,0 0-16,14 1 0,-14-1 0,0 0 15,0 0-15,13 1 0,-13-1 16,13 0-16,-13 0 0,13-13 16,0 14-16,1-14 15,-1 0 1,0-14-16,-13 1 15,13 13-15,-13-13 16,0 0-16,14 13 0,-14-14 0,13 1 16,0 0-16,0 0 15,1 13-15,-1 0 16,13 0-16,-26 13 16,13-13-16,1 13 15,-1-13-15,0 13 16,0 1-1,-26-54 32,0 27-47,13-1 16,0 1-16,0 0 0,0 0 16,0 0-16,13-1 15,0 14-15,1 0 16,-1 0-1</inkml:trace>
  <inkml:trace contextRef="#ctx0" brushRef="#br0" timeOffset="140242.65">2275 8811 0,'0'-27'0,"0"54"0,-13-67 15,13 27-15,-13-1 16,13 28 15,-13-1-31,13 0 16,13 0-16,-13 1 0,0-1 15,0 0 1,13-13-16,0 13 0,1-13 16,-1 0-16,-13-13 15,13 13-15,0-13 16,1 13-16,-1-13 0,0-1 0,0 14 15</inkml:trace>
  <inkml:trace contextRef="#ctx0" brushRef="#br0" timeOffset="140966.97">2474 8625 0,'0'0'0,"-13"0"15,-1 0-15,1 0 16,0 14-1,0-1-15,-1 0 16,14 0-16,0 1 0,-13-1 16,13 0-16,0 0 0,0 0 15,0 1-15,13-14 16,-13 13-16,14-13 16,-14 13-16,13-13 15,0-13 1,0 0-1,-13-1-15,0-12 16,0 13 0,0 0-16,0-1 15,0 1 17,27 26-1,-14 1-16,0-14 1,1 0 15,-1-14 1,-13 1-17,13 13-15,-13-13 16,13 13-1,0 0 1,1 0 0,-1 0 31,0 0-32,-13-13 1,13-1 15,1 14 0,-14-13-31,13 13 16,-13-13-16,13 13 16,0-13-1,1 13-15</inkml:trace>
  <inkml:trace contextRef="#ctx0" brushRef="#br0" timeOffset="141406.44">3321 8057 0,'-14'0'0,"28"0"0,-41 13 0,14-13 16,0 0-16,-1 13 0,1 0 15,0-13-15,0 13 16,13 1-16,0-1 15,0 0-15,13 0 16,0 1-16,0-14 16,1 13-16,-1-13 0,-13 13 0,13-13 15,0 0-15,14 13 16,-27 1-16,13-14 0,-13 13 16,0 0-16,0 0 15,-13-13-15,13 13 0,-13 1 0,-14 12 16,14-26-16,0 13 0,-1 1 15,1-14-15,0 0 0,-14 13 16,14-26 0</inkml:trace>
  <inkml:trace contextRef="#ctx0" brushRef="#br0" timeOffset="142253.68">3519 8043 0,'-66'40'78,"53"13"-62,92-146-16,-145 199 16,79-106 15,0 0-31,0-13 16,1 0-16,-1-1 15,-13 1 1,13 13-1,0 13 17,1-13-32,-1 0 15,-13-13 1,13 13-16,0-13 0,-13 0 16,0 0-16,14 13 15,-14-14-15,0 1 0,0 0 16,0-14-16,-14 14 0,14 0 0,-13-27 15,13 14-15,-13-1 16,13 14-16,0 0 0,-13 0 16,13-1-16,-14 14 15,14 27 1,0-14 0,0 0-16,0 14 0,14-14 15,-14 0-15,0 1 0,13-14 0,0 26 16,0-13-16,1-13 15,-14 13-15,26-13 16,0 0-16,-12-13 16,-1 13-16,0 0 15,-13-13 1,13 26 15,-13 0-15,14-26 15,-1 13-15,-13-13-16,13 13 15,0 0-15,1 0 16,-1 0 0,-13 13-1,0 0 1,0 1-1,0-1-15</inkml:trace>
  <inkml:trace contextRef="#ctx0" brushRef="#br0" timeOffset="143296.38">4392 7316 0,'0'0'15,"-13"13"-15,13 0 0,-13-13 16,13 13-16,0 1 0,-14 25 16,14-25-16,0-1 0,0 26 15,0-12-15,14-14 16,-14 0-16,13 14 0,0-14 15,0-13-15,14 0 0,-14 0 16,13-13-16,27 0 16,-39-1-16,12 1 0,14-27 15,-27 14-15,13-14 16,-12 27 0,-14 0-16,13-14 15,-13 14-15,-13 0 16,-1 26-1,1 0-15,0-13 16,13 14-16,-13-1 0,0 0 16,13 0-16,-14-13 0,14 14 15,0-1-15,0 0 16,14-13 0,-1-13-16,0 13 15,0-13-15,0-1 16,-13 1-16,14 0 0,-14 0 15,13-1-15,-13 1 16,0 0-16,13 0 16,0 13 31,-13 13-32,14-13-15,12 0 31,-13-13-15,-13-1-16,13 14 0,-13-13 16,14 0-1,-14 0-15,0 0 16,13 13 0,0 13-1,-13 0 1,13-13-16,-13 13 15,14-13-15,-1 0 16,0 0 0,0-13-1,-13 0-15,14 13 16,-14-13-16,13 13 0,-13-14 16,13 1-16,0 13 15,0-13 1,1 26 15,-14 0-31,0 1 16,0-1-1</inkml:trace>
  <inkml:trace contextRef="#ctx0" brushRef="#br0" timeOffset="143629.93">5040 7091 0,'0'-13'16,"0"39"15,0 67 0</inkml:trace>
  <inkml:trace contextRef="#ctx0" brushRef="#br0" timeOffset="143661.47">5014 7025 0,'-27'0'16</inkml:trace>
  <inkml:trace contextRef="#ctx0" brushRef="#br0" timeOffset="144156.6">5093 7011 0,'27'14'0,"-14"25"31,-13-25-15,0-1-16,0 0 0,0 0 15,0 1-15,0-1 16,26-26 46,-26-1-46,14 1-16,-1 0 16,-13 0-16,13-1 15,0 1-15,-13 0 16,14 13-16,-14-13 16,0-1-16,13 14 0,-13-13 15,13 26 16,-13 1-31,0-1 16,0 0-16,0 0 0,0 1 16,0-1-16,0 0 15,0 0-15,0 1 16,0-1 0,13-40-1,-13 14-15,13 0 16,-13 0-16,14-14 0,-1 14 0,-13-14 15,13 14-15,0 0 0,1 0 0,-14 0 16,13 13-16,-13-14 0,13 14 16</inkml:trace>
  <inkml:trace contextRef="#ctx0" brushRef="#br0" timeOffset="144900.76">2580 9062 0,'-14'0'16,"-12"26"-1,26-12-15,-13-14 0,13 13 16,0 0-16,0 0 15,13 1-15,0-14 16,0 13-16,1-13 16,-14 13-16,13-13 0,0 0 0,0 13 15,1-13-15,-1 0 16,-13 14-16,13-14 0,-13 13 16,0 0-16,-13 0 15,0 0 1,-1 1-16,-12-1 15,13 0-15,-14-13 16,14 0 0</inkml:trace>
  <inkml:trace contextRef="#ctx0" brushRef="#br0" timeOffset="145787.7">2540 8996 0,'0'0'0,"0"-13"0,13-1 15,0 14 1,1 14 0,-14-1-16,13 0 0,0 0 15,0 1-15,1-1 0,-1 13 16,0-13-16,-13 1 0,27 25 16,-14-25-16,0-1 0,-13 0 0,13 0 15,-13 1-15,13-1 16,1 0-16,-14 0 15,13-39 17,-13 13-17,0-1-15,13 14 0,-13-13 16,13 13-16,1-13 16,-1 13-16,0 0 15,0-13-15,1 13 0,-1-14 16,0 14-16,0 0 15,0-13-15,1 0 0,-1 13 16,-13-13-16,13-1 0,-13 1 16,-13 0-1,0 13 1,-1 0 0,1 0-16,0 0 0,0 13 15,13 0 1,-13-13-16,13 14 15,13-14 17,0 0-17,-13-14-15,13 14 16,0 0-16,-13-13 0,14 13 16,-1 0-16,0 0 15,0 0-15,1 0 16,-14 13-1,13-13 1,-26-26 31,13 13-31,0 0-16,0-1 15,0 1-15,13 0 0,-13 0 0,0-1 16,0 1-16,0 0 0,0 0 15,13 13-15,-13-14 0,0-12 16,0 13-16,0 0 16,0-1-16,0 1 15,-13 0-15,26 39 47,-13-12-47,0-1 0,13 0 16,-13 13-16,13-12 0,-13-1 15,0 0-15,0 0 0,14 1 0,-14-1 16,0 0-16,13 0 0,-13 1 16,13-1-16</inkml:trace>
  <inkml:trace contextRef="#ctx0" brushRef="#br0" timeOffset="146297.69">3241 8718 0,'-13'-13'32,"0"26"14,13 0-30,-14-13-16,14 13 0,0 1 16,-13-1-16,0-13 0,13 26 0,-13-12 15,0-1-15,13 13 0,-14-12 0,1-1 16,13 0-16,-13 13 16,0-26-16,13 14 0,0-1 15,-14 0-15,14 0 16,14-13-1,12-13 1,-13 13 0,1-13-16,-1 13 0,-13-13 15,13-1-15,0 14 0</inkml:trace>
  <inkml:trace contextRef="#ctx0" brushRef="#br0" timeOffset="146993.22">3678 8480 0,'-14'13'0,"28"-26"0,-41 39 15,14-12-15,13-1 0,-13-13 16,13 13-16,0 0 0,-13 0 15,13 1-15,0-1 0,0 0 16,0 0-16,13 1 16,0-1-1,0-26-15,0 13 16,-13-14-16,14 14 0,-1-13 16,0 13-16,-13-13 15,13 13-15,1-13 16,-1 13-16,0 0 15,0-14 1,1 14-16,-1-13 0,0 0 16,0 0-16,0 0 15,-13-1-15,14 1 0,-14 0 0,13-14 16,-13 14-16,0-13 0,0-14 16,0 27-16,0-14 0,-13 14 0,13-13 15,0 12-15,-14 1 0,14 0 16,0 0-16,0 0 0,-13 39 31,13-13-31,13 0 16,-13 1-16,0 12 0,14-13 15,-14 14-15,13-14 0,-13 0 0,13 1 16,0-14-16,1 13 0,-1-13 16,0 0-16,14 0 15,-14-13-15,-13-1 0,13 1 0,0 0 16,-13 0-16,13-1 0,-13-12 0,14 13 15,-14-14-15,0 14 0,0-13 16,0 12-16,0 1 0,0 0 16,0 0-16,0-1 15,0 41 1,0-14-16,0 0 0,13 1 16,-13 12-16,0-13 0,13 0 15,-13 1-15,13-1 0,-13 0 0,14 0 16,-14 1-16,13-14 0,-13 13 0,13-13 15</inkml:trace>
  <inkml:trace contextRef="#ctx0" brushRef="#br0" timeOffset="147489.78">3903 8348 0,'-14'0'15,"14"-14"-15,0 1 16,14 0-1,-1 0-15,0-1 16,0 1-16,27 0 16,-27 0-16,14 0 0,-14-1 15,13 14-15,-12-13 0,-1 0 0,13 0 16,-12 13-16,-14-14 0,13 14 0,0-13 16,0 0-16,0 13 15,-13-13 1,-13 39 15,13-13-31,0 1 16,0-1-1,0 0-15,0 0 16,13-13 0,1 0-1,-1 0 1,-13-13-1,13 13-15,-13-13 16,13 13 31,1 0-31,-1 13-1,-13-26-15,13 13 16</inkml:trace>
  <inkml:trace contextRef="#ctx0" brushRef="#br0" timeOffset="148065.03">4419 8004 0,'0'0'0,"-14"0"16,1 0-16,13 13 0,-13 0 15,13 0-15,0 1 16,0-1-16,0 0 16,0 0-16,0 0 0,13-13 15,-13 14-15,13-14 16,1 0-1,12 0-15,-13-14 16,0 14-16,-13-13 0,14 13 0,-14-13 16,13 13-16,-13-13 0,0 0 15,13 13-15,-13-14 0,0 1 0,0 0 16,0 0-16,-13-1 0,13 1 0,0 0 16,0 0-16,-13 0 0,13-1 15,0 1-15,0 0 16,-14 0-16,28-1 15,12 28 17,-26-1-32,0 0 15,0 0-15,0 1 16,0-1-16,0 0 16,0 0-16,0 0 15,-13-13-15,13 14 16,0-1-16,13 0 31,0-26-31,1 13 16,-1 0-16,-13-13 15,13 13-15,0-14 0,1 14 16,-1-13-16,0 13 0</inkml:trace>
  <inkml:trace contextRef="#ctx0" brushRef="#br0" timeOffset="148303.84">4829 7646 0,'0'-13'0,"0"26"0,13-26 16,0 13-16,0 13 15,1 1-15,-14-1 16,13 0-16,-13 0 0,0 1 16,13-1-16,-13 0 0,0 0 0,0 14 15,0-14-15,0 13 0,0-12 0,0-1 16</inkml:trace>
  <inkml:trace contextRef="#ctx0" brushRef="#br0" timeOffset="148440.9">5001 7938 0</inkml:trace>
  <inkml:trace contextRef="#ctx0" brushRef="#br0" timeOffset="149213.26">926 11073 0,'0'26'16,"13"-26"-1,-13 13-15,0 1 0,13-1 16,-13 0-16,14 0 0,-14 1 16,13-1-16,-13 0 0,0 0 15,13-13-15,-13 14 0</inkml:trace>
  <inkml:trace contextRef="#ctx0" brushRef="#br0" timeOffset="149372.13">820 10941 0</inkml:trace>
  <inkml:trace contextRef="#ctx0" brushRef="#br0" timeOffset="149712.5">1098 10941 0,'-13'0'0,"26"0"0,-26 13 16,13 0-1,0 0 1,13 0-16,0 1 0,0-1 15,1 0-15,-1-13 16,-13 13-16,26 1 0,-26-1 16,14-13-16,-14 26 0,0-13 15,0 1 1,0-1-16,-14 0 0,14 0 16,-13-13-1</inkml:trace>
  <inkml:trace contextRef="#ctx0" brushRef="#br0" timeOffset="151288.54">1707 10914 0,'13'-40'16,"0"27"-16,-13 0 15,0 0-15,0-1 0,0 1 16,0 0-16,0 0 0,-13 0 0,13-1 15,0 1-15,-13 0 0,13 0 0,-14-1 16,1 1 0,0 26-1,13 1-15,0-1 16,0 0-16,0 0 16,13 1-16,-13-1 0,13 0 15,1-13-15,-14 13 0,13-13 16,0 0-16,0-13 15,0 13-15,1 0 0,12-13 0,-13 0 16,1-1-16,12 1 0,-13 0 0,1 0 16,-1-1-16,-13 1 0,13 13 15,-13-13-15,13 0 0,-13-1 16,13 1-16,-26 13 16,13-13-1,-26 26 1,26 0-16,-13 1 15,13-1 1,0 0-16,0 0 16,26-26 15,-13 13-15,-13-13-16,13 13 15,1-13 1,-1 26-1,0-13 1,0 0-16,1-13 16,-1-1-1,0 1-15,0 0 16,-13 0-16,0 0 16,14-1-16,-14 1 0,0 0 15,0 0-15,-14-1 0,14 1 16,0 0-16,0 0 0,-13 13 15,13-13-15,0-1 16,-13 1-16,0 0 31,13 39 16,0-12-31,13-14-16,-13 13 0,13 0 15,-13 0-15,13-13 16,-13 13-16,14 1 16,-14-1-16,13-13 15,0 13 1,0-13 0,-13 13-16,13-13 15,1 0 1,-1 0-1,0 0 1,0 0 0,1 0-1,-14-13-15,13 0 32,-13 0-17,0-1 16,0 1-15,0 0-16,0 0 16,0 0 93</inkml:trace>
  <inkml:trace contextRef="#ctx0" brushRef="#br0" timeOffset="151468.71">1931 10570 0,'14'-13'16,"-1"13"-16,-13-13 0,13 13 16,0-14-16,-13 1 0,14 0 0,-1 13 15,0-13-15,0 0 0</inkml:trace>
  <inkml:trace contextRef="#ctx0" brushRef="#br0" timeOffset="151628.43">2170 10358 0,'0'-13'32,"13"40"-32,0-27 15,-13 13-15,0 0 0,13-13 16,-13 13-16,0 1 15,13-1-15,-13 0 0,0 0 16</inkml:trace>
  <inkml:trace contextRef="#ctx0" brushRef="#br0" timeOffset="151777.54">2064 10306 0</inkml:trace>
  <inkml:trace contextRef="#ctx0" brushRef="#br0" timeOffset="152285.93">2222 10345 0,'0'13'0,"0"-26"0,14 26 0,-14 1 16,13-14-16,0 13 16,0-13-1,-13 13 1,14-13 15,-14-13-15,13 0-16,-13-1 15,13 14-15,-13-13 0,0 0 16,13 13-16,-13-13 0,14 0 16,-14-1-1,13 14 1,0 14-1,0-1 1,0 0-16,-13 0 0,14 0 16,-1 1-16,-13-1 0,13 0 0,-13 14 15,13-14-15,-13 0 0,14-13 16,-14 13-16,0 1 0,13-14 0,-13 13 16,13-26 15,-13-1-31,0 1 0,0 0 15,0-14-15,0 14 0,13-13 0,-13-1 16,14 14-16,-1-27 0,-13 14 0,13 13 16,0-14-16,0 14 0,1 0 15</inkml:trace>
  <inkml:trace contextRef="#ctx0" brushRef="#br0" timeOffset="152612.84">2910 9842 0,'27'14'16,"-27"-1"-16,0 0 0,26 53 31,-12-52-31,-14-1 0</inkml:trace>
  <inkml:trace contextRef="#ctx0" brushRef="#br0" timeOffset="152768.81">2791 9776 0,'-13'14'0</inkml:trace>
  <inkml:trace contextRef="#ctx0" brushRef="#br0" timeOffset="153136.69">3056 9776 0,'-13'27'0,"13"-14"0,0 0 15,0 0-15,0 1 0,0-1 16,0 0-16,13 0 0,0-13 16,-13 14-16,13-14 15,1 0-15,-1 0 0,0-14 16,0 14-16,1-13 0,-1 13 15,-13-13-15,13 0 0,0-1 16,-13 1-16,0 0 0,0 0 16,0 0-16,0-1 15,-13 28 17,26-1-17,0 0 1,1-13-16,-14 13 15,13-13-15,0 0 0,0 0 0,1 0 16,-1-13-16,13 13 0</inkml:trace>
  <inkml:trace contextRef="#ctx0" brushRef="#br0" timeOffset="154312.2">3651 9313 0,'-13'14'0,"13"25"16,0-26 0,0 1-16,0-1 0,0 13 0,13-12 15,-13 12-15,0-13 0,13 1 16,1-1-16,-1 13 0,0-13 16,0 1-16,1-14 0,-1 0 15,0 0-15,14 0 16,-27-14-16,13 14 0,-13-13 15,13 13-15,-13-13 0,0 0 16,13 0-16,-13-1 0,0 1 0,0 0 16,-13 0-16,13-1 0,0 1 0,-13 0 15,13 0-15,0-1 16,-13 1 0,26 40 30,0-14-30,0 0-16,0-13 0,1 13 16,-1-13-16,0 0 0,0 0 15,1 0-15,-1 0 0,0 0 16,0-13-16,1 13 0,-1-13 0,0 13 16,0-13-16,0-1 0,1 14 15,-14-13-15,13 0 0,0 13 0,-13-13 16,0 0-16,13 13 0,-13-14 15,0 1-15,0 0 16,0 0-16,-13 13 16,-13 0 15,26 13-31,0 0 16,0 0-16,0 1 15,0-1 1,13 0-16,0 0 15,0-13-15,1 0 0,-1-13 16,0 13-16,0-13 16,1 13-16,-1-13 0,0-1 15,0 14-15,-13-13 0,13 0 16,1 13-16,-14-13 0,0-1 16,13 14-16,-13-13 15,-13 0 1,-1 13-1,1 13 1,13 0-16,0 1 16,-13-14-1,26 13 1,0-26 15,1 13-15,-1-14-1,0 1-15,0 13 16,1-13 0,-1 13-1,0 0 1,0-13 15,0 13-15,1-13-1,-1-1 1,-13 1-16,13 0 16,0 0-1,-13-1-15,14 1 16</inkml:trace>
  <inkml:trace contextRef="#ctx0" brushRef="#br0" timeOffset="155438.72">4657 8678 0,'-14'-13'16,"1"40"-1,13-14 1,-13 0-16,13 0 0,13 0 15,-13 1-15,0-1 0,0 0 0,0 0 16,0 1-16,13-1 0,-13 0 16,14 0-16,-14 1 0,13-1 0,0-13 15,-13 13-15,13-13 0,1 0 0,-1 13 16,-13-26-16,13 13 0,13 0 16,1-13-16,-14 0 15,0 13-15,1-14 0,12 1 0,-13 0 16,1 13-16,-1-13 0,0-1 0,-13 1 15,13 13-15,0-13 0,1 0 16,-14-1-16,13 1 16,-13 0-16,0 0 15,-13 0 1,-1 26 31,14 0-47,0 0 15,0 0 1,14-13-16,-14 14 0,13-14 16,0 13-16,0-13 15,1-13 1,-1 13-16,0 0 16,-13-14-16,0 1 15,0 0-15,-13 0 16,0 0-1,-1 13 1,1 0 0,0 0-16,0 0 15,13 13 1</inkml:trace>
  <inkml:trace contextRef="#ctx0" brushRef="#br0" timeOffset="156568.41">5027 8718 0,'-26'13'47,"39"-13"-47,0 0 16,0 0-1,1-13-15,-1 13 16,0-13-16,0 0 0,0-1 16,-13 1-16,0 0 15,0 0-15,14-1 16,-14 1-1,-14 0-15,41 26 63,-27 0-63,13-13 16,0 0-1,1 0-15,-1 0 16,0 0-16,-13-13 15,13 13-15,-13-13 16,14 0 0,-14-1-16,0 1 0,0 0 15,0 0 17,13 26-1,-13 0-16,13 0-15,0-13 16,-13 14 0,13-14-16,1 0 15,-1-14 1,0 1 0,0 0-1,-13 0-15,0 0 16,0-1-16,0 1 15,0 0-15,0 0 16,14-1 0,-1 28 15,0-14-15,-13 13-16,0 0 15,0 0 1,0 1-16,0-1 15,-13 0-15,13 0 16,0 0 0,13-39 15,0 26-15,-13-13-16,14 0 0,-14-1 15,13 1-15,-13 0 0,0 0 16,13 13-16,-13-14 0,0 1 0,13 0 15,-13 0-15,0 39 63,13-13-32,1-26-15,-1 13-1,0 0 1,-13 13-16,0 1 16,0-1-1,0 0-15,-13 0 16,13 1-16,0-1 0,-13-13 0,-1 13 16</inkml:trace>
  <inkml:trace contextRef="#ctx0" brushRef="#br0" timeOffset="157177.81">3069 10517 0,'-26'13'0,"12"-13"15,1 14 1,0-1-16,0 0 15,13 0-15,13 1 16,-13-1-16,13-13 16,-13 13-16,13 0 0,1-13 0,-1 13 15,0-13-15,-13 14 0,13-14 16,1 13-16,-1 0 16,0 14-1,-13-14-15,0 0 16,-13-13-16,13 13 0,-13 1 15,-1-14-15,14 13 0,-13-13 0,0 0 16,13 13-16,-13-13 0,-1 0 16,1 0-1,13-13 1</inkml:trace>
  <inkml:trace contextRef="#ctx0" brushRef="#br0" timeOffset="157819.6">3135 10557 0,'0'-13'31,"14"39"-15,-14-13 0,13 1-1,0-14-15,-13 13 16,13-13-16,0 0 31,1 0-31,-14-13 31,13-1-31,-13 1 16,-13 0 0,13 0-1,13 13 1,0 13 15,0-13-15,-13 13-16,14 0 31,-1-13-15,-13-13-1,13 0 1,-13 0-1,13 13-15,-13-14 16,14 14-16,-1 0 16,0 0-1,0 14 1,0-14 0,1 0 15,-1-14 16,-13 1-47,13 0 15,-13 0-15,13 13 16,-13-13-16,14-1 16</inkml:trace>
  <inkml:trace contextRef="#ctx0" brushRef="#br0" timeOffset="158356.31">3664 10134 0,'14'26'16,"-14"-13"-1,13 0-15,-13 1 0,13-1 16,-13 0-16,13 0 0,1 1 0,-14-1 15,13 0-15,-13 0 0,13 1 16,-13-1-16,13-13 0,-13 13 0,14 0 16,-14-39 31,0 13-47,0-1 15,13 14-15,-13-13 0,13 13 0,-13-13 16,13 0-16,0 13 15,1 0 1,12 0-16,-26 13 16,13-13-16,-13 13 15,0 0-15,0 1 16,-13-1-16,13 0 0,-13 0 16,0 0-16,-1-13 15,14 14-15,-13-14 16,0 0-16</inkml:trace>
  <inkml:trace contextRef="#ctx0" brushRef="#br0" timeOffset="159077.75">3929 10107 0,'0'27'32,"0"-14"-17,0 0-15,13 0 16,-13 0 0,14-13-16,-14 14 15,13-14-15,0 0 0,0 0 16,0 0-1,1-14-15,-1 1 16,-13 0-16,13 0 16,-13 0-16,0-1 15,0 1 1,0 0-16,13 26 47,1 0-32,-1 1 1,0-14 0,0 13-1,1-26 1,-14-1 0,13 14-16,-13-13 0,0 0 15,13 0-15,-13-1 16,0 1-16,13 13 15,-13-13-15,13 13 16,1 0-16,-1 0 31,-13 13-31,13-13 0,-13 13 16,13 1-16,-13-1 31,14-26 0,-14-1-31,0 1 16,0 0-16,0 0 0,13-1 16,-13 1-16,0 0 0,0 0 15,0 0-15,0-1 16,13 1 0</inkml:trace>
  <inkml:trace contextRef="#ctx0" brushRef="#br0" timeOffset="159508.34">4432 9657 0,'13'-13'0,"13"0"31,1 13-15,-14 0-16,0 13 0,-13 0 16,14-13-16,-1 14 0,-13-1 15,13 0-15,-13 0 0,13 14 16,1-14-16,-14 0 0,13 0 0,0 1 16,-13-1-16,13 0 0,-13 0 0,0 0 15,13-13-15,-13 14 0,14-14 16,-1 0-1,0 13 1</inkml:trace>
  <inkml:trace contextRef="#ctx0" brushRef="#br0" timeOffset="159718.31">4736 9935 0</inkml:trace>
  <inkml:trace contextRef="#ctx0" brushRef="#br0" timeOffset="160309.79">4299 9988 0,'0'0'0,"14"26"16,-1-26 0,-13 14-16,13-1 15,-13 0 1,13-13-16,-13 13 0,14-13 47,-1-13-47,-13 0 0,13 13 15,-13-13 1,13 13-16,1-14 0,12 14 16,-13 0-1,0 0 1</inkml:trace>
  <inkml:trace contextRef="#ctx0" brushRef="#br0" timeOffset="165451.67">5887 6800 0,'0'0'15,"26"26"1,-12-26-16,-14 13 15,13-13-15,0 14 0,0-1 16,1 0-16,-1-13 0,0 13 0,0 1 16,0-1-16,1-13 0,-14 13 15,13-13-15,0 13 0,0 1 16,1-14-16,-1 0 16</inkml:trace>
  <inkml:trace contextRef="#ctx0" brushRef="#br0" timeOffset="165668.44">6204 6747 0,'-26'26'32,"26"-12"-32,-13-1 0,13 0 15,-13 13-15,13-12 0,-14 12 0,14 1 16,-13-1-16,13-13 0,-13 14 0,13-1 15,-13 1-15,13-14 0,-14 0 0,14 14 16,0-14-16,-13 0 0,13 0 16,0 1-16,0-1 0,0 0 15,-13 0-15</inkml:trace>
  <inkml:trace contextRef="#ctx0" brushRef="#br0" timeOffset="166381.7">6734 6310 0,'-14'66'31,"14"-39"-15,0 13-16,0-1 0,0 1 0,0 0 16,0 13-16,0-14 0,0 1 15,0 13-15,0-13 0,0-1 0,0 1 16,0-14-16,0 1 0,0-1 0,-13-12 16,13 12-16,0-13 0,0 0 15,0 1-15,0-1 0,0 0 0,0 0 16</inkml:trace>
  <inkml:trace contextRef="#ctx0" brushRef="#br0" timeOffset="166837.51">7078 6826 0,'-14'-26'15,"14"13"1,-13-1 0,13 1-16,0 0 0,-13 0 0,13-1 15,-13 1-15,13 0 0,0 0 16,0 0-16,-14 13 0,14-14 0,0 1 15,27 26 17,-14-13-32,0 14 0,1-1 15,-1 0-15,0-13 16,0 0-16,1 13 0,-1-13 16,0 0-16,0 0 0,0-13 15,1 0-15,-14 0 16,0-1-16,0 1 15,0 0-15,0-14 0,0 14 16,-14-13-16,1 12 0,13-12 16,-13 0-16,0 12 0,13-12 0,0 13 15,-13-1-15,13 1 0,0 0 16,0 53 0,0-14-1</inkml:trace>
  <inkml:trace contextRef="#ctx0" brushRef="#br0" timeOffset="167729.67">6324 8109 0,'79'27'31,"-66"-14"-31,0 0 0,1-13 0,-1 14 15,0-14-15,0 13 0,1-13 16,-1 0-16,0 0 0,0 0 0,0 0 16,1 0-16,-1-13 0,0 13 0,0-14 15,1 1-15,-1 0 16,-13 0-16,13-1 0,-13 1 16,0 0-16,0 0 0,0 0 31,-13 39-16,13-13 1,0 14-16,0-14 0,0 13 0,0 14 16,0-13-16,0 12 0,0 1 15,0 0-15,0-1 0,0 1 16,0-14-16,0 1 0,0-1 0,-13 14 16,13-14-16,0-12 0,0-1 15,0 0-15,0 0 0,0 1 0</inkml:trace>
  <inkml:trace contextRef="#ctx0" brushRef="#br0" timeOffset="168077.84">6813 7633 0,'0'66'32,"13"-39"-32,-13 13 0,13-1 0,-13 1 15,14 13-15,-1 0 0,0 0 16,0 0-16,-13-1 0,14 1 0,-1 14 15,0-15-15,0 1 0,1-13 0,-1 0 16,-13-1-16,13 1 0,0-13 16,-13-1-16,13 0 0,-13-12 0,0-1 15,0 0-15,14 0 0,-14 1 16,13-28 0,0 1-16</inkml:trace>
  <inkml:trace contextRef="#ctx0" brushRef="#br0" timeOffset="168589.15">7474 8202 0,'-13'-13'47,"0"0"-47,13-1 0,-13 14 16,13-13-16,-13 0 0,13 0 0,0-1 16,-14 1-16,14 0 0,0 0 15,-13 13-15,13-13 0,0-1 16,13 1-16,1 13 15,-1 0 1,0 13-16,0-13 0,0 0 16,1 14-16,-1-14 0,0 13 15,0-13-15,1 0 16,-1 0-16,0 0 16,0 0-16,1-13 15,-1-1-15,0 1 16,-13 0-16,0 0 0,13-1 15,-13 1-15,0-13 0,0 13 0,0-14 16,0 14-16,0-14 0,0 1 0,0 13 16,0-1-16,-13-12 0,13 13 15,0 0-15,0-1 0,0 1 16,0 0-16</inkml:trace>
  <inkml:trace contextRef="#ctx0" brushRef="#br1" timeOffset="181542.59">7064 6866 0,'-13'0'16,"0"0"-16,13 13 0,-13-13 15,13 13-15,-14-13 16,14 14-16,-13-14 15,13 13-15,-13-13 16,39 13 15,-12-26-31,-1 13 16,0 0-16,0-13 0,14 13 16,-14-14-16,14 1 0,12 0 15,-12 0-15,-1-1 0,1 1 0,-14 0 16,13 0-16,-13 13 0,14-13 0,-14 13 15,-13-14-15,13 14 0,1 0 16,-14-13-16,13 13 0,0 0 16,-53 13 15,27-13-31,0 14 16,-14-1-16,14 0 0,-13-13 0,-1 13 0,14 0 15,-13 1-15,-1-1 0,14-13 16,0 13-16,-14 0 0,14-13 15,0 14-15,0-14 16,-1 13-16,54-40 31,-27 27-31,14-13 16,-1 0-16,1 0 0,12-14 0,-12 14 16,12 0-16,-12 0 0,-1-1 15,-12 1-15,12 0 0,-13 13 16,1 0-16,-14-13 0,13 13 0,0 0 15,-13-14-15,-13 41 32,0-27-32,-1 13 0,1 0 15,-13 1-15,-14 12 0,13-13 0,-12 0 16,12 1-16,1-1 0,-1 0 16,14 0-16,-13 1 0,13-14 0,-1 13 15,1-13-15,0 0 0,53-13 31,-27 13-31,13-14 16,14 1-16,-14 0 0,14 0 16,-14-1-16,1 1 0,-1 0 0,1 0 15,-14 13-15,0-13 0,1 13 16,-1-14-16,0 14 0,0-13 0,0 13 16,-52 13 15,26-13-31,-1 14 0,1-14 15,0 13-15,0-13 0,-14 13 0,14-13 16,0 0-16,13 13 0,-14-13 16,1 0-16,0 13 0,0-13 15</inkml:trace>
  <inkml:trace contextRef="#ctx0" brushRef="#br1" timeOffset="199703.69">7858 8189 0,'-13'0'0</inkml:trace>
  <inkml:trace contextRef="#ctx0" brushRef="#br1" timeOffset="200636.59">7594 8361 0,'26'-27'16,"-52"54"-16,65-54 0,-26 14 0,-13 0 0,14 13 16,12-13-16,-13-1 0,1 1 0,-1 0 15,13 13-15,-12-13 0,-1 0 16,0 13-16,0-14 0,0 14 0,1-13 16,-1 13-16,-13-13 15,13 13-15,-39 13 47,12 0-47,1-13 0,0 14 16,0-1-16,0 0 0,-14 0 0,14 0 15,-14 1-15,14-1 0,-13 0 16,-14 14-16,27-14 0,-14 0 16,14 0-16,0 1 0,-14-1 0,14-13 15,0 13-15,0 0 0,-14 0 16,14-13-16,13 14 15,40-28 17,-27 1-32,13 0 0,-12 13 0,12-26 15,14 12-15,-14 1 0,1 0 16,-14 0-16,13-1 0,1 1 16,-14 0-16,0 0 0,14 13 0,-27-14 0,13 14 15,0-13-15,0 13 16,-52 0 15,26 13-31,-14 1 0,14-14 0,-14 13 0,1 0 16,-1-13-16,14 13 0,-13 1 15,13-14-15,-1 13 0,-12-13 16,13 13-16,-1-13 0,1 13 16,53-26 15,-27 0-31,0 13 0,14-13 15,-1-1-15,-13 1 0,27 0 0,-27 0 16,14-1-16,-14 14 0,0-13 16,1 0-16,-1 13 0,0-13 0,0 13 15,-39 13 17,13-13-32,-1 13 0,-12 0 15,13 1-15,-14-1 0,1 0 0,-1 0 16,14 1-16,-13-1 0,-1 0 0,1 0 15,12 1-15,1-1 0,0-13 16,0 13-16</inkml:trace>
  <inkml:trace contextRef="#ctx0" brushRef="#br1" timeOffset="202290.37">5609 10332 0,'13'53'0,"27"92"31,-40-118-31,0 13 0,13-14 16,-13 0-16,0 1 0,0-14 0,0 14 16,0-1-16,0-13 0,0 14 15,0-14-15</inkml:trace>
  <inkml:trace contextRef="#ctx0" brushRef="#br1" timeOffset="202784.83">5503 9988 0,'14'119'31,"-14"-79"-31,13 13 0,-13 0 0,13 13 0,0-13 16,-13 13-16,13-26 0,-13 12 0,0 1 15,14-13-15,-14 0 16,0-1-16,13 1 0,-13-13 0,0-14 16,0 13-16,0-13 0,0 1 0,0-1 15</inkml:trace>
  <inkml:trace contextRef="#ctx0" brushRef="#br1" timeOffset="203313.3">5358 10292 0,'-40'40'16,"-13"26"-1,40-39-15,-13-1 0,12 1 0,1-14 16,0 13-16,0-13 0,-1 14 0,14-14 16,-13 0-16,13 1 0,-13-1 15,13 0-15,-13-13 16,39-26-1,-26 12-15,13-12 16,1-1-16,-1-12 0,0-1 16,14 0-16,-14-13 0,13 14 0,-13-14 15,14 13-15,-14 14 0,14-14 0,-14 14 16,0-1-16,0 1 0,1 12 0,-1 1 16,0 0-16,0 0 0,0 13 15,1 0-15,-1 0 0,0 0 16,27 13-16,-27 0 0,13 0 15,1 14-15,-1-1 0,1-12 16,-14 12-16,14-13 0,-14 14 0,0-14 16,0 0-16,14 0 0,-14 1 0,-13-1 15,13-13-15,0 13 0,1 0 16,-14 1-16,0-1 0</inkml:trace>
  <inkml:trace contextRef="#ctx0" brushRef="#br1" timeOffset="203744.87">4948 10398 0,'26'53'31,"-13"-26"-31,1 12 0,-1 1 0,0 0 0,14 39 16,-27-39-16,13-1 0,-13 1 15,13 0-15,-13-14 0,0 1 16,13-1-16,-13-13 0,0 14 0,0-14 15,-13 13-15</inkml:trace>
  <inkml:trace contextRef="#ctx0" brushRef="#br1" timeOffset="203984.46">5027 10438 0,'-26'13'0,"-41"106"32,54-92-32,0 12 0,-13 1 0,12-14 15,1 14-15,0-13 0,-14 12 16,14-12-16,0-1 0,0 1 0</inkml:trace>
  <inkml:trace contextRef="#ctx0" brushRef="#br1" timeOffset="204209.43">4802 10438 0,'27'0'0,"65"0"32,-79-13-32,14 13 0,-1 0 0,1 0 15,-1-14-15,-12 14 0,12 0 0,27-13 16,-27 13-16,-12 0 0,-1-13 16,13 13-16,-12 0 0,-1-13 15</inkml:trace>
  <inkml:trace contextRef="#ctx0" brushRef="#br0" timeOffset="-214157.25">8123 8930 0,'-14'-14'15,"-12"28"1,26-1 0,-13-13-16,0 13 0,-1 0 15,1 1-15,0-1 0,0 0 0,-14 0 16,14 1-16,-13 12 0,-1-13 16,14 14-16,0-14 0,-1 0 0,-12 0 15,13 1-15,-1-1 0,1 0 0,-13 0 16,13 14-16,-1-27 0,1 13 0,0 0 15,13 0-15,-13 1 16,-1-14-16,14 13 0,-13-13 0,13 13 16,-13-13-16,13 13 0,-13 1 15,-1-14 1,14 13-16,-13 0 31,40-13 16,-14 0-31,0-13-16,0 13 15,1 0-15,-1 0 16,0 0-16,0 0 0,1 0 0,12 0 16,-13 0-16,0 0 15,14 0-15,-14 0 0,14 0 0,-1 0 16,-13 0-16,14 0 0,-14-13 0,13 13 15,1 0-15,-14 0 0,0-14 16,14 14-16,-14 0 0,0 0 0,0 0 16,1-13-16,-1 13 0,0 0 15,0 0-15,1 0 32,-1 0-17,0-13 32,-39 13 250,26-13-266,13 13 704,-26 0-610,-1-14-125,1 14 0,0-13 15,0 0-15,-14 13 0</inkml:trace>
  <inkml:trace contextRef="#ctx0" brushRef="#br0" timeOffset="-212231.94">9049 8705 0,'13'-13'31,"0"26"-31,0-13 0,1 13 16,-1-13-16,0 13 0,0 0 15,1-13-15,-1 14 0,0-14 16,0 0-16,1 0 0,-1 0 0,0 0 16,0 0-16,0 0 0,1-14 15,-1 14-15,0-13 0,0 0 16,1 0-16,-1 0 0,-13-1 16,0 1-16,13 0 15,-13 0 1,-26 39 15,26-13-31,-14 1 16,14-1-16,-13 13 0,0 1 0,13-14 15,-13 13-15,13 14 0,-14-13 0,1-1 16,13 0-16,0-12 0,-13 12 0,13 1 16,0-14-16,-13 0 0,13 0 15,0 1-15,0-1 0,0 0 0,-13-13 16,13 13-16,-14-26 31,14 0-31</inkml:trace>
  <inkml:trace contextRef="#ctx0" brushRef="#br0" timeOffset="-211959.09">8850 8612 0,'-26'27'0,"52"-54"0,-52 67 0,13-27 15,13 14-15,0-1 0,0 0 16,0 14-16,13 13 0,0 0 16,0 0-16,14 0 0,-14 0 0,0-14 15,14 1-15,-14 0 0,13-14 0,1 14 16,-14-14-16,14 1 0,-1-14 0,-13 14 15,14-27-15,-1 13 0,-13-13 16,14 0-16,-1 0 0,1-13 0,-1-1 16,14-12-16,-14 13 0,1-27 15</inkml:trace>
  <inkml:trace contextRef="#ctx0" brushRef="#br0" timeOffset="-211672.88">9340 8308 0,'0'0'0,"26"0"0,-13 13 15,1 0-15,12 1 0,1 12 0,12 1 16,-12 12-16,-1 1 0,14 0 0,-14-1 15,-12-12-15,12 12 16,-13 1-16,1 0 0,-1-1 0,-13-12 16,13 13-16,-13-14 0,-13 14 0,13-1 15,-13 1-15,-1-13 0,14 12 0,-13-25 16,-13 12-16,12 0 0,1-12 16,0 12-16,0-13 0</inkml:trace>
  <inkml:trace contextRef="#ctx0" brushRef="#br0" timeOffset="-208742.83">9988 7766 0,'-13'0'16,"26"13"62,0-13-31,0 13-1,1-13-46,-1 0 32,-13 13-32,13-13 15,0 0-15,1 13 32,-1-13-32,0 0 15,-13 14-15,13-14 16,1 13-16,-1 0 15,0-13-15,0 13 0,0-13 16,1 14-16,-1-14 0,0 13 0,0-13 16,14 13-16,-14 0 0,14-13 0,-14 14 15,13-1-15,1 0 0,-14-13 16,27 26-16,-14-12 0,1-1 0,12 13 16,-12-12-16,12-1 0,-12 13 0,-1-13 15,14 1-15,-14 12 0,14 1 16,-13-14-16,12 13 0,-12-12 0,-1 12 15,14-13-15,-14 14 0,1-1 0,12-13 16,14 27-16,-13-13 0,-14-14 16,1 13-16,-1 1 15,14-14-15,-13 0 0,12 14 16,-12-14-16,-14 0 0,0 0 0,14 0 16,-14 1-16,0-1 0,14 0 15,-14 0-15,0-13 0,0 14 0,0-1 16,1-13-16,-1 13 0,0-13 0,-13 13 15,13-13-15,1 14 0,-1-1 16,0-13-16,0 13 16,1 0-1,-1-13-15,0 13 16,0 1 0,-13-1-16,13-13 15,1 13 1,-1-13-16,0 13 15,-13 1-15,13-14 16,1 13-16,-1 0 16,0 0-16,-13 1 15,13-14-15,1 13 16,-1-13 0,-13 13-16,13-13 15,0 13 1,0-13-16,1 13 31,-1-13-15,-26-13 62,-1 13-63</inkml:trace>
  <inkml:trace contextRef="#ctx0" brushRef="#br0" timeOffset="-208208.67">11668 8678 0,'13'27'47,"1"-14"-47,-14 0 16,13-13-16,-13 13 0,13 1 16,0-1-16,-13 0 0,14-13 15,-14 13-15,13 1 0,0-14 16,-13 13-16,13-13 0,-13 13 0,13 0 15,1 1-15,-1-14 16,-13 13-16,13-13 0,-13 13 16,13-13-16,-13 13 0,14-13 15,-1 13 1,-13 1-16,-13-14 16,13 26-16,-14-13 15,14 1-15,-13-1 0,0-13 16,-14 26-16,14-12 15,-13 12-15,-1-13 0,14 0 16,-13 1-16,-14 12 0,27-13 16,-1 1-16,1-14 0,0 13 0,0-13 15</inkml:trace>
  <inkml:trace contextRef="#ctx0" brushRef="#br0" timeOffset="-202520.47">11324 8109 0,'13'0'0,"1"0"16,-1 0-16,-13 14 15,13-14-15,0 13 16,1 0-16,-1 0 16,0 1-16,-13-1 15,13-13-15,-13 13 0,13-13 0,-13 13 16,14 1-16,-14-1 16,13-13-16,-13 13 15,13-13-15</inkml:trace>
  <inkml:trace contextRef="#ctx0" brushRef="#br0" timeOffset="-202242.19">11642 8123 0,'0'0'0,"-27"13"15,14 0 1,13 0-16,-13 1 0,13-1 16,-13 0-16,13 0 0,-14 1 0,14-1 15,-13 13-15,13-13 0,-13 1 16,13-1-16,-13 0 0,13 14 0,-14-14 16,14 0-16,-13 0 0,13 1 0,0-1 15,-13-13-15,13 13 0,0 0 16,-13 0-16</inkml:trace>
  <inkml:trace contextRef="#ctx0" brushRef="#br0" timeOffset="-201805.19">11311 7990 0,'-40'93'15,"27"-53"1,13-1-16,0 1 0,0-13 15,0-1-15,0 0 0,13 1 0,-13 13 16,13-14-16,-13-13 0,14 14 0,-1-14 16,0 13-16,0-12 0,1-1 15,-14 0-15,26 0 0,1 1 16,-14-14-16,0 0 0,0 0 0,0 0 16</inkml:trace>
  <inkml:trace contextRef="#ctx0" brushRef="#br0" timeOffset="-201477.31">11642 7911 0,'26'13'15,"-52"-26"-15,65 40 0,-25-14 0,-1 0 16,0 13-16,0 1 0,1 13 16,-14-14-16,13 0 0,-13 1 0,13-1 15,-13 14-15,0-13 0,0-1 0,0 0 16,-13 1-16,13-1 0,0-12 15,-13 12-15,13 1 0,-14-14 16,14 0-16,-13 0 0,13 0 0,-13 1 16</inkml:trace>
  <inkml:trace contextRef="#ctx0" brushRef="#br0" timeOffset="-198927.43">11020 7580 0,'0'-13'0</inkml:trace>
  <inkml:trace contextRef="#ctx0" brushRef="#br0" timeOffset="-197932.12">11853 9022 0</inkml:trace>
  <inkml:trace contextRef="#ctx0" brushRef="#br0" timeOffset="-191994.97">10120 7805 0,'14'0'0,"-1"0"0,0 0 15,0 0-15,0 0 16,1-13 0,-1 13-16,0 0 15,0 0-15,1 0 0,-1 0 0,0 0 16,0 0-16,1 0 0,12 0 0,-13 0 16,14 0-16,-1 0 0,1 0 0,-1 0 15,1 0-15,-1 0 0,0 0 0,1 0 16,-1 0-16,1 0 15,12 13-15,-12-13 0,-1 0 0,1 0 16,-1 13-16,1-13 0,-1 0 0,14 14 16,-14-14-16,27 13 15,-26-13-15,-1 13 0,1-13 0,-1 0 16,1 13-16,-1-13 0,0 0 0,1 14 16,13-14-16,-14 0 0,1 0 15,12 0-15,-12 0 0,-1 13 0,14-13 16,-14 0-16,14 0 0,-14 0 15,14 0-15,0 0 0,13 13 0,-27-13 16,27 0-16,-26 0 0,12 13 16,1-13-16,13 0 0,-13 14 0,-1-14 15,14 0-15,-13 0 0,13 0 16,-14 0-16,14 13 0,0-13 0,-13 0 16,13 0-16,0 0 0,0 13 0,0-13 15,0 0-15,-1 0 0,1 0 16,0 13-16,0-13 0,0 13 15,-13-13-15,13 0 0,0 14 0,0-14 16,0 0-16,-1 13 0,-12-13 0,13 13 0,0-13 16,-13 13-16,13 1 0,-1-14 15,-12 13-15,0-13 0,13 13 0,-14 0 16,14-13-16,-13 13 0,13 1 16,-13-14-16,13 13 0,-14 0 15,1-13-15,0 13 0,13 1 0,-14-14 16,1 13-16,0-13 0,-1 13 0,-12-13 15,12 13-15,1 1 0,0-14 16,-14 13-16,14 0 0,0-13 0,-1 13 16,-12-13-16,12 13 0,1 1 15,0-14-15,0 13 0,-14-13 0,14 13 16,-1 0-16,-12-13 0,39 14 16,-26-1-16,-14 0 0,1-13 15,12 13-15,1 1 0,0-1 0,-1 0 16,1 0-16,-14-13 0,14 13 15,0 1-15,0-1 0,-14 0 0,14-13 16,-14 13-16,1 1 0,12-1 0,-12-13 16,-1 13-16,14 0 0,-14-13 0,1 13 15,-1-13-15,1 14 0,-1-14 16,14 13-16,-14-13 0,1 13 0,-1-13 16,1 0-16,12 13 0,-12 1 0,-1-14 15,1 13-15,-1-13 0,1 0 16,-1 13-16,1-13 0,-1 13 15,1-13-15,-1 14 0,-13-14 0,14 0 16,-14 13-16,13-13 0,-12 13 0,-1-13 16,13 0-16,-13 0 0,1 13 15,-1-13-15,0 0 0,0 0 0,1 13 16,-1-13-16,0 0 0,0 0 0,1 14 16,-1-14-16,0 0 15,0 0-15,0 13 16,1-13-1,-1 0-15,0 13 16,0-13 0,1 0 15,-1 0-15,-13-13-1,0 0 16</inkml:trace>
  <inkml:trace contextRef="#ctx0" brushRef="#br0" timeOffset="-191562.3">16364 8639 0,'0'26'47,"14"-26"-32,-14 13-15,13-13 0,-13 14 16,13-14-16,-13 13 16,13-13-16,1 13 0,-1-13 15,0 13-15,0 0 16,1 1-16,-1-14 0,-13 13 16,13-13-16,-13 13 0,13-13 0,-13 13 15,13-13-15,1 14 0,-14-1 16,0 0-1,-14 0-15,1 1 16,0-14-16,-13 13 0,12 0 0,-25-13 16,-1 13-16,0 0 15,-13-13-15,14 14 0,-14-14 0,0 13 16,13-13-16,-13 13 0</inkml:trace>
  <inkml:trace contextRef="#ctx0" brushRef="#br0" timeOffset="-190491.56">14314 8493 0,'0'13'31,"0"1"-31,13-1 0,-13 0 16,0 0-16,13 0 16,-13 1-16,14-14 15,-14 13-15,13-13 0,-13 13 0,13-13 16,14 0-16,-14 0 16,-13-13-16,13 13 0,0 0 15,0-13-15,1-1 0,-1 1 16,0 0-16,-13 0 15,-13 39 17,13-13-32,-13 1 15,13-1-15,-14 0 16,1 14-16,0-1 0,0-13 16,0 1-16,-1 25 0,1-26 15,13 1-15,0-1 0,-13-13 0,13 13 16,-13-13-16,13 13 0,0 1 15</inkml:trace>
  <inkml:trace contextRef="#ctx0" brushRef="#br0" timeOffset="-190137.06">14248 8334 0,'-27'27'0,"14"-14"0,13 0 15,-13 1-15,13-1 0,-13 13 16,13 1-16,0-1 0,-14 1 16,14-1-16,0 0 0,0 1 0,0-1 15,0 14-15,14-13 0,-14-1 16,13 0-16,-13 1 0,13-1 0,0-12 16,-13 12-16,14-13 0,-1 1 0,0-14 15,0 13-15,14-13 0,-14 13 16,0-13-16,0 0 0,1-13 0</inkml:trace>
  <inkml:trace contextRef="#ctx0" brushRef="#br0" timeOffset="-189836.3">14618 8361 0,'66'66'31,"-52"-40"-31,-1 1 16,0-14-16,-13 14 0,13 12 0,-13-12 15,0-1-15,0 14 0,-13-14 16,13 14-16,-13 0 0,0-1 0,-1 1 15,1-13-15,-13 12 0,12-12 0,-12-1 16,13 1-16,0-1 0,-1-13 0,1 1 16,0-1-16,0 0 0,-1-13 15</inkml:trace>
  <inkml:trace contextRef="#ctx0" brushRef="#br0" timeOffset="-187099.41">10014 7739 0,'0'13'125,"14"-26"-94,-1 13-15,0 0-16,0 0 15,1 0-15,-1 0 16,0-13-1,0 13-15,1 0 0,-1 0 16,0 0-16,0 0 0,0 0 16,1 0-16,-1 0 0,0 0 15,0 0-15,1-13 16,-1 13-16,0 0 0,0 0 0,1 0 16,-1 0-16,0 0 0,13 0 0,-12 0 15,-1 0-15,0 0 0,14 0 16,-14 0-16,0 0 0,14 0 0,-14 0 15,13 0-15,1-14 0,-14 14 0,13 0 16,1 0-16,-1 0 0,1 0 16,-1 0-16,1 0 0,-1 0 0,1-13 15,-1 13-15,0 0 0,1 0 0,-1 0 16,14 0-16,-13 0 0,-1 0 16,14 0-16,-14 0 0,14 0 0,-14 0 15,14 0-15,0 0 0,-14 0 16,14 0-16,-14 0 0,14 0 0,0 0 15,-1-13-15,1 13 0,0 0 16,13 0-16,-14 0 0,1 0 0,0 0 16,-14 0-16,14 0 0,13 0 0,-14 0 15,1 0-15,0 0 0,-1 0 16,1 0-16,0 0 0,0 0 0,12 0 16,-12 0-16,13 0 0,-13 0 0,13 0 15,0-13-15,-14 13 0,14 0 16,0 13-16,0-13 0,0 0 0,0 0 15,0 0-15,0 0 0,13 0 0,-13 0 16,0 0-16,13 0 0,-13 0 0,13 0 16,0 0-16,0 0 15,-13 0-15,0 13 0,13-13 0,-13 0 16,0 0-16,13 0 0,0 13 0,14-13 16,-27 0-16,13 0 0,-13 14 0,26-14 15,-26 0-15,0 0 16,26 13-16,-13-13 0,14 13 0,-14-13 0,13 0 15,-13 13-15,14-13 0,-14 0 0,13 14 16,-13-14-16,14 0 0,-1 13 16,-13-13-16,14 13 0,-1-13 0,-13 13 15,14-13-15,-14 0 0,13 13 16,1 1-16,-14-14 0,13 13 0,0-13 16,1 13-16,-14 0 0,13-13 15,1 14-15,-1-1 0,0 0 0,1-13 16,-1 13-16,1 1 0,-1-1 0,0-13 15,1 13-15,-1 0 0,14 0 16,-14-13-16,14 14 0,-14-1 0,14 0 16,-14 0-16,14 1 0,-1-1 0,-12 0 15,12 0-15,1 0 0,-1 1 0,14 12 16,-13-13-16,13 14 0,-1-1 16,1-12-16,-26 12 0,26 0 15,-1 1-15,-12 13 0,13-14 0,-14 1 16,-12-1-16,-1 0 0,-13 1 15,14-1-15,-1 1 0,0-1 0,1 1 16,-14-14-16,13 13 0,-13 1 0,1-14 16,-1 14-16,0-14 0,-13 13 0,13-13 15,-13 14-15,13-14 16,-13 0-16,13 1 0,-13-1 0,13 13 0,-26-26 16,13 14-16,-14-1 0,14 0 0,-13 0 15,0 0-15,13 1 0,-14-1 16,1-13-16,0 13 0,-1 0 15,1 1-15,-13-1 0,12-13 0,-12 13 16,-1-13-16,1 13 0,-1-13 0,-13 14 16,14-14-16,-1 13 0,-13-13 15,14 13-15,-14-13 0,0 0 0,1 13 16,-1-13-16,0 0 0,0 0 16,0 13-16,1-13 15,-1-13 1,-13 0-1,13 0 17</inkml:trace>
  <inkml:trace contextRef="#ctx0" brushRef="#br0" timeOffset="-186804.34">21286 8864 0,'0'0'0,"0"-14"0,26 28 31,-13-1-15,1 0-16,-1 0 0,0 0 16,0 1-16,1-1 0,-1 0 15,0 0-15,0 1 0,0-1 0,1 0 16,-1 0-16,-13 1 0,13-1 15,-13 0-15,0 0 0,0 14 0,0-14 16,0 0-16,-13 0 0,0 1 16,-14-1-16,1 13 0,-14-12 0,0-1 15,-13 13-15,1-13 0,-15 1 0,15-1 16,-1-13-16,-14 13 0,15-13 16</inkml:trace>
  <inkml:trace contextRef="#ctx0" brushRef="#br0" timeOffset="-186271.87">20598 9565 0,'13'13'0,"-13"0"16,0 53 0,0-26-16,0 13 0,0-13 0,-13 12 15,13 1-15,0-13 0,0 13 0,0-13 16,0-1-16,0 1 0,0-13 16,0-14-16,0 13 0,0 1 0,0-14 15,0 0-15,0 0 0</inkml:trace>
  <inkml:trace contextRef="#ctx0" brushRef="#br0" timeOffset="-185648.9">20360 9512 0,'106'-40'0,"-212"80"0,264-93 0,-91 40 16,-1-1-16,13-12 0,40 13 0,-13-14 0,13 14 16,13-13-16,1-1 0,-1 1 15,13 12-15,1-12 0,0 0 16,-1-1-16,1 1 0,-14 12 0,0-12 16,0 13-16,-13-1 0,-26 1 15,-14 0-15,1 13 0,-14-13 0,-26 13 16,-1 0-16,-12 0 0,-1 0 0,1 0 15,-14 0-15,0 0 0,14 0 0,-14 13 16,0-13-16,0 13 0,-13 0 16,14 1-16,-1-1 0,-13 0 0,13 14 15,0-1-15,0 14 0,1-1 0,-14 1 16,13 0-16,0 13 0,-13-14 16,13 14-16,14 53 15,-14-53-15,0-13 0,1-1 0,-1 1 16,0 0-16,0-1 0,0 1 0,1 0 15,-1 0-15,0-1 0,0 1 16,-13-14-16,14 14 0,-1-13 0,-13-14 16,13 13-16,-13-13 0,0 14 0,0-14 15,0 0-15,-13 1 0,0 12 0,-1-13 16,1 1-16,-13 12 0,-1-13 16,-12 14-16,-14-1 0,-14-13 0,1 1 15,-13 12-15,13-13 0,-27 1 0,14-1 16,-40 0-16,0 13 0,0-12 15,0-1-15,-14 0 0,1 14 16,-14-14-16,14 13 0,-13-13 0,-1 14 0,14-14 16,-14 0-16,14 14 0,13-14 15,0 0-15,13-13 0,13 14 16,14-14-16,13 0 0,0 0 0,26 0 16,0-14-16,14 14 0,0-13 0,12 0 15,14 0-15,-13-1 0,13 1 16</inkml:trace>
  <inkml:trace contextRef="#ctx0" brushRef="#br0" timeOffset="-184517.11">21114 9723 0,'13'-13'16,"-26"0"-1,0 13-15,-1 0 16,1 13-16,0-13 0,0 0 15,-14 13-15,14-13 0,0 14 0,-1-1 16,-12-13-16,26 13 0,-13-13 16,0 13-16,-1 1 15,28-1-15,-14 0 16,13-13-16,0 13 0,0-13 0,14 13 16,-14-13-16,0 14 0,14-14 15,-14 0-15,13 13 0,-12-13 0,-1 0 16,0 0-16,0 13 0,0-13 0,1 0 15,-14 13 1,-14 1-16,1-1 16,0-13-16,0 13 0,-14-13 0,14 13 0,-13-13 15,12 0-15,-12 14 0,13-14 16,-14 0-16,14 13 0,0-13 16,0 0-16,-1 0 15</inkml:trace>
  <inkml:trace contextRef="#ctx0" brushRef="#br0" timeOffset="-183776.35">21378 9723 0,'-53'0'31,"40"0"-31,0 0 0,0 14 16,-1-14-16,1 13 0,0 0 16,0 0-16,13 1 15,0-1 1,13-13 0,0 0-16,0 0 15,1 0 1,-1 0-16,-13-13 15,13 13-15,0 13 32,1-13-17,-14 13-15,26-26 16,-13 0 0,1 13-16,-1-14 0,0 1 15,-13 0-15,13 0 0,0-14 0,1 14 16,-1-13-16,-13 12 0,0-12 0,13-1 15,-13 14-15,13 0 0,-13 0 16,0-1-16,0 1 0,0 0 16,0 0-16,14 13 0,-41 26 31,27-13-31,0 1 0,-13-1 16,13 0-16,0 0 0,0 14 0,0-14 15,0 0-15,0 1 0,13-1 0,0 0 16,-13 0-16,14-13 15,-1 13-15,0-13 0,0 0 16,1 0-16,-1-13 0,0 13 16,-13-13-16,13 13 15,-39 13 17,26 0-32,0 1 15,-13-14-15,13 13 16,13 0-1,-13 0-15,13-13 0,13 0 16,-26 14-16,14-14 16,-1 0-16,0 0 15,0 0-15,1 0 16,-1 0-16,13 0 16</inkml:trace>
  <inkml:trace contextRef="#ctx0" brushRef="#br0" timeOffset="-182952.34">22265 9485 0,'-14'-13'16,"-12"13"0,26 13-16,-13 1 0,0-14 0,13 13 15,-14 0-15,14 0 0,-13 14 16,13-14-16,-13 0 0,13 0 16,13 1-16,-13-1 15,13-13-15,1 13 16,-1-13-16,0-13 15,0 13-15,0-13 0,1 13 0,-14-14 16,13 14-16,-13-13 0,13-13 16,-13 12-16,-13 14 0,13-13 15,0 0-15,-13 0 0,-1 13 16,1 0-16,0 0 16,0 0-16,13 13 15,-13-13-15,26 13 16,0-13-1,0 0-15,14 0 16,-14 0-16,0-13 16,0 13-16,-13-13 0,14 13 0,-1-13 15,0 13-15,0-14 0,1 1 0,-1 13 16,0-13-16,0 0 16,0-1-16,1 14 15,-1 14-15,0-14 16,-13 13-16,0 0 0,0 0 15,0 14-15,0-1 0,0 1 0,0 12 16,0 14-16,-13-13 0,13 0 0,-13 13 16,-1-14-16,1 1 0,0-14 0,-13 14 15,26-13-15,-14-14 16,1 0-16,13 0 0,0 0 0,-13 1 16,39-54-1,-12 14 1,12-1-16,0-26 0,14 13 0,-13-12 15,12-1-15,1 0 0,0 0 0,-1 13 16,-12 14-16,-1-1 0,-13 1 0,1 13 16,-1-1-16,0 1 0,-13 0 15,13 13-15</inkml:trace>
  <inkml:trace contextRef="#ctx0" brushRef="#br0" timeOffset="-180311.22">21259 10319 0,'-26'0'0,"-40"26"15,52-13 1,1-13-16,13 14 0,-13-14 16,13 13-16,13 0 15,-13 0-15,13-13 0,1 0 0,-1 14 16,0-14-16,0 0 0,1 13 16,-1-13-16,0 0 0,0 13 0,0-13 15,1 13-15,-1 1 16,-26-1-1,-1 0 1,1-13-16,0 13 0,0-13 0,0 13 16,-14-13-16,14 0 0,0 14 0,-1-14 15,1 0-15,-13 0 16,13 0-16</inkml:trace>
  <inkml:trace contextRef="#ctx0" brushRef="#br0" timeOffset="-179676.97">21365 10385 0,'-13'-13'16,"0"26"15,13 0-16,-14 0-15,14 1 16,14-1 0,-14 0-16,13 0 31,0-13-31,0-13 16,1 0-1,-1 13-15,-13-13 0,13 13 16,-13-14-16,13 1 0,-13 0 15,13 13-15,-13-13 16,14-1 0,-1 28 46,-13-1-46,13-13-1,0 0 1,-13 13 0,14-13-16,-1 0 15,0 0 17,0 13 14,1-26-30,-1 13 0,0-13-1,0 13-15,0-13 16,1 13-16,-1 0 16</inkml:trace>
  <inkml:trace contextRef="#ctx0" brushRef="#br0" timeOffset="-178232.2">22040 10226 0,'0'-13'0,"0"26"0,-13-26 0,-1 13 15,1 0-15,0 0 0,13 13 16,-13 0-16,-1-13 0,1 14 16,0-1-16,0 0 0,0-13 0,13 13 15,-14 1-15,14-1 0,0 0 16,27-13 0,-1 0-1,-13-13-15,1 13 16,-1 0-16,0 0 0,0 0 15,1 0-15,-1 0 16,0 13-16,0 0 16,-13 0-16,13 1 15,-13 12-15,0-13 0,0 1 0,-13-1 16,13 0-16,-13 14 0,13-14 0,-13 0 16,13 0-16,-13 0 0,13 1 15,-14-14-15,14 13 0,14-40 31,-1 14-15,-13-13-16,13 13 16,0-14-16,0 1 0,1-1 15,12 1-15,-26-14 0,27 14 0,-14-41 16,0 54-16,-13-13 0,13 12 16,-13-12-16,14 13 0,-14 0 15,0-1-15,0 1 0,-14 40 47,14-14-47,0 0 0,0 13 0,-13-12 16,13-1-16,0 13 0,0-12 0,0-1 15,0 0-15,0 0 0,0 1 16,0-1-16,0 0 0,13 0 0,1 0 16,-1-13-16,0 0 0,0 0 15,0 0-15,1 0 0,-1 0 16,0-13-16,0 13 0,14-13 15,-14 0-15,0 13 0,1-13 0,-1-1 16,0 14-16,0-13 0,0 0 0,1 0 16,-1-1-1,-40 28 32,14-14-47,13 13 0,-13-13 16,13 13-16,0 0 15,0 1 1,13-14 0,0 0-1,1 0-15,-1-14 16,0 14-16,0-13 16,1 13-1,-14-13-15,13 13 16,0 0 31,-13 13-47,13-13 15,-13 13 1,13 1 0,1-14 15,-1 0-16,0-14-15,0 14 0,1-13 16,-1 13-16,0 0 16,-13-13-16,13 13 0,1 0 15,12 0 1,-26 13 0,13-13-1,-13 13-15,13-13 31,14 0-15,-14-13 0,0 13-1,1 0-15,-1 0 16,0 0-16,-13 13 16,0 1-1,-13-1 1,13 0-1,-13-13-15,-1 13 16,1-13-16</inkml:trace>
  <inkml:trace contextRef="#ctx0" brushRef="#br0" timeOffset="-177108.02">5318 11880 0,'0'-27'31,"-13"14"-15,13 0-16,0 0 0,0-14 0,0 14 15,0-13-15,-13-1 0,13 1 0,-14 12 16,14-12-16,0-1 0,-13 14 16,13-13-16,0 13 0,0-1 0,0 1 15,-13 0-15,13 0 0,0-1 0,0 1 16,-13 13-16,13-13 15</inkml:trace>
  <inkml:trace contextRef="#ctx0" brushRef="#br0" timeOffset="-176904.16">5265 11443 0,'-13'27'31,"13"-14"-31,0 0 0,-13 14 16,13-14-16,-13 0 0,13 0 16,0 1-16,-14 12 0,14-13 0,-13 0 15,13 14-15,0-14 0,-13 0 0,13 14 16,0-14-16,0 0 16,-13 1-16,13-1 15</inkml:trace>
  <inkml:trace contextRef="#ctx0" brushRef="#br0" timeOffset="-176695.34">5226 11509 0,'13'-13'32,"13"26"-17,-26 1-15,13-14 16,1 13-16,-1 0 0,0 0 15,0 1-15,1-1 16,-1 0-16,0 0 0,0 0 16,1 1-1</inkml:trace>
  <inkml:trace contextRef="#ctx0" brushRef="#br0" timeOffset="-176380.09">4908 11470 0,'0'53'0,"0"-106"0,0 132 0,0-52 16,0-1-16,0 14 0,0-1 0,0 1 16,0 13-16,13-13 0,-13-1 15,13 1-15,-13 0 0,14-14 0,-1 14 16,0-27-16,0 14 0,1-14 0,-1 0 16,13 0-16,-12-13 15,-1 13-15,0-13 0,13 0 0,-12 0 16,39-13-16,-40 0 0,13 0 15</inkml:trace>
  <inkml:trace contextRef="#ctx0" brushRef="#br0" timeOffset="-176095.88">5345 11205 0,'39'27'0,"1"-14"16,-27 0-16,119 146 31,-105-120-31,-1 1 0,-12 13 0,-1-13 16,0 13-16,-13-14 0,13 14 0,-13-13 15,0 13-15,-13 0 0,0 13 0,0-13 16,-1 0-16,1 0 0,-13-14 16,-1 14-16</inkml:trace>
  <inkml:trace contextRef="#ctx0" brushRef="#br0" timeOffset="-175084.4">24328 10213 0,'-13'-13'16,"13"-1"-1,0 1-15,0 0 0,13 0 16,-13 0-16,0-14 0,0 1 16,14-1-16,-14 14 0,0-27 15,0-13-15,0 27 0,0-1 16,0 1-16,0-1 0,13 1 0,-13 13 16,0-14-16,0 14 0,-13-13 15,13 12-15,0 1 0,0 0 16,0 0-16,0 0 15,-14 13 17</inkml:trace>
  <inkml:trace contextRef="#ctx0" brushRef="#br0" timeOffset="-174879.09">24355 9671 0,'13'0'0,"-39"13"31,12 0-31,1 0 16,0 0-16,0 1 15,0-1-15,-1 13 0,1-12 0,0-1 16,-14 26-16,14-25 0,0-1 16,13 0-16,-13 0 0,13 1 0,-14-14 15,14 13-15,-13-13 0,13 13 0</inkml:trace>
  <inkml:trace contextRef="#ctx0" brushRef="#br0" timeOffset="-174631.94">24289 9684 0,'13'0'31,"13"0"-15,-12 0-16,-1 13 0,0-13 0,0 13 15,-13 0-15,14-13 0,-1 14 16,0-1-16,0 0 0,1 0 0,-1-13 16,0 14-16,-13-1 0,13 0 0,0-13 15,-13 13-15,14-13 0,-14 13 16,13-13-16,-13 14 0,13-14 15</inkml:trace>
  <inkml:trace contextRef="#ctx0" brushRef="#br0" timeOffset="-170275.2">5305 12462 0,'13'26'31,"0"-12"-31,1-1 15,-1 0-15,-13 0 16,13 0-16,0 14 0,1-14 16,-1 14-16,0-1 0,13 1 0,-12 12 15,25 14-15,-12-26 16,12 39-16,-12-40 0,-14 14 16,14-14-16,-1 1 0,1 13 0,-1-14 15,0 0-15,14 14 0,-13-13 16,12-1-16,1 0 0,13 1 0,-27-1 15,14 1-15,13-14 0,0 14 0,-13-14 16,12 13-16,1-13 0,0 14 16,0-14-16,0 0 0,13 1 0,-13-1 15,0 0-15,0-13 0,0 13 0,13 1 16,0-1-16,0-13 0,1 0 16,-1 13-16,13-13 0,-13 0 15,0 0-15,-13 0 0,27 0 0,-14 13 16,0-13-16,13-13 0,1 13 0,-1 13 15,0-13-15,1 0 0,-1 0 16,1-13-16,-1 13 0,0 0 0,14 0 16,0 0-16,-14 0 0,13 0 0,1 0 15,0 0-15,13 0 0,-1 0 16,-12 0-16,13 0 0,0 0 0,-1 0 16,28 0-16,-27 0 0,13 0 0,13 0 15,-26 0-15,26 0 0,0 0 0,1 0 16,-14 0-16,13 0 0,0 0 15,1 0-15,-28 0 0,41 0 0,-14 0 16,1 0-16,12 0 0,-13-13 0,1 13 16,-1 0-16,13-13 15,-12 13-15,-1 0 0,0 0 0,1-14 16,-28 14-16,41 0 0,-14 0 0,-26 0 16,0-13-16,26 13 0,1 0 0,-28 0 15,28 0-15,-28-13 0,28 13 16,-14 0-16,-13-13 0,26 13 0,-13-14 15,-13 14-15,26-13 0,-13 0 0,0 0 16,-13-1-16,-13 14 0,-1-13 16,14 0-16,13 0 0,-26 13 0,-1-13 15,14-1-15,-13 1 0,-1 0 16,1 0-16,0-1 0,-1 1 0,1 0 16,-1 0-16,1-1 0,0 1 15,-1 0-15,1 0 0,0 0 0,-1-1 16,-13 1-16,14 0 0,-14 0 0,14-1 15,-14 1-15,1 0 0,12 0 16,-12 0-16,-1-1 0,1 1 16,-1-13-16,0 12 0,1 1 0,12 0 15,-12-14-15,-1 14 0,0 0 0,1-13 0,-1 12 16,-13 1-16,14 0 16,-1 0-16,0-1 0,1-12 0,-1 26 0,1-13 15,-14-1-15,0 1 0,13 0 16,-13 0-16,14 0 0,-14-1 15,13 1-15,-13 0 0,14 0 0,-14-1 16,0 1-16,0 0 0,0 0 0,0-1 16,1-12-16,-1 13 0,0 0 0,0-1 15,-13 1-15,13 0 0,-26 0 16,26-1-16,-26 1 0,-1-13 0,14 12 16,-13 1-16,0 0 0,-1 0 0,14-14 15,-13 14-15,0 0 0,-1-14 16,1 14-16,0 0 0,-1 0 0,1-14 15,0 14-15,-1 0 0,-12 0 16,13-14-16,-1 14 0,-12 0 0,12-1 16,-12 1-16,-1 0 0,1-13 15,-1 12-15,-13 1 0,14 0 0,-14 0 16,0-1-16,14 1 0,-14 0 0,0-14 16,14 14-16,-14-13 0,13 13 15,-12-1-15,-1-12 0,0 13 0,0-1 16,1-12-16,-1 13 0,0-14 0,0 14 15,-13-13-15,27-1 0,-14 14 16,0-14-16,-13 1 0,27 0 0,-14 12 16,0-12-16,-13 13 0,13-14 0,1 14 15,-1-14-15,-13 14 0,13 0 16,0 0-16,-13 0 0,14-1 16,-14 1-16,13 0 0,-13 0 0,0-1 15,13 14-15,-13-13 0,13 13 0,-13-13 16,0 0-16,13 13 0,-13-14 15,0 1-15,14 13 0,-14-13 16,13 0 0,-13 0-16,0-1 15,13 1 1,0 0 0,-13 0-1,14-1-15,-14 1 31,13 13-31,-13-13 16,13 13 0,-26 13 109,0 0-110,26-26 110,-40 13-62,14 13-63,0-13 0,-14 14 15,14-1-15,-13-13 0,13 13 0,-14 0 16,14 1-16,-14-1 0,14 0 16,-13 0-16,12-13 0,1 13 0,0 1 15,0-14-15,13 13 0,-13-13 16,13 13-16,-14-13 0,1 13 16,26-26 15,1 13-16,-1-13-15,0 13 0,-13-13 16,13-1-16,14 14 0,-14-13 0,0 0 16,0 13-16,14-13 0,-14 0 0,0 13 15,1-14-15,-1 1 0,0 13 16,0 0-16,0-13 0,1 13 0,-1 0 16,0 0-16,0-13 0,1 26 15,-1-13-15,0 0 16,0 13-1,0-13-15,-13 13 16,14-13-16,-1 14 16,-13-1-1,13-13-15,0 13 16,1 0 31,-1-13 109,-40-13 500,14 0-640,0 0 0,0 13-16,13-14 0,-14 1 15,1 13-15</inkml:trace>
  <inkml:trace contextRef="#ctx0" brushRef="#br0" timeOffset="-169284.1">9525 7713 0,'13'13'16</inkml:trace>
  <inkml:trace contextRef="#ctx0" brushRef="#br0" timeOffset="-165279.36">18018 7699 0,'0'0'0,"0"27"31,13-14-15,-13 0-16,0 1 0,14-1 15,-14 0-15,13 0 0,-13 0 16,13 1-16,0-14 16,-13 13-16,14-13 0,-1 0 15,0-13-15</inkml:trace>
  <inkml:trace contextRef="#ctx0" brushRef="#br0" timeOffset="-165128.39">18217 7766 0,'26'-40'16,"-52"80"-16,52-93 16,-39 79-1,0-13 1,-1 1-16,1-1 0,0 0 0,0 0 16,-1 14-16,1-14 0,0 13 0,0-12 15,0 12-15,-1-13 0,14 1 16,-13-1-16,0 0 0,13 0 15,0 0-15,0 1 0</inkml:trace>
  <inkml:trace contextRef="#ctx0" brushRef="#br0" timeOffset="-164232">18230 7461 0,'-40'-13'0,"-66"-13"16,80 39-1,-1-13-15,1 13 0,-14 13 16,1-12-16,12 12 0,-13 1 0,14 12 15,-14 1-15,27 0 0,-13-14 16,12 14-16,1 0 0,0-1 0,13 1 16,0-14-16,0 1 0,13 13 0,-13-14 15,13 0-15,14 14 0,-14-13 0,13-14 16,1 13-16,-1 1 0,1-14 0,-1 0 16,-12-13-16,12 13 15,0-13-15,1 0 0,-1 0 0,1 0 0,-1 0 16,1-13-16,12 0 0,1 0 15,-13-1-15,-1 1 0,14 0 16,-14-13-16,1-1 0,-1 14 0,1-14 16,-1-12-16,-13 12 0,14-12 0,-14 12 15,0-13-15,-13 14 0,0-14 0,0 14 16,0-1-16,-13-12 0,0 12 16,-1-12-16,-12 12 0,-14 1 0,14-1 15,-14 1-15,14 12 0,-14 1 0,0-13 16,1 26-16,-1-13 15,-13-1-15,27 14 0,12 0 16,-12 0-16,-1 0 0,14 0 0</inkml:trace>
  <inkml:trace contextRef="#ctx0" brushRef="#br2" timeOffset="-155032.16">21021 4776 0,'-13'53'0,"0"-40"0,13 13 16,0-12-16,-14-1 15,14 0-15,0 0 0,-13 0 16,13 1 0,0 12-1</inkml:trace>
  <inkml:trace contextRef="#ctx0" brushRef="#br2" timeOffset="-154807.28">20981 4630 0</inkml:trace>
  <inkml:trace contextRef="#ctx0" brushRef="#br2" timeOffset="-154296.71">21220 4710 0,'0'0'0,"-14"0"0,1 0 16,0 13-16,0-13 16,13 13-16,-14 0 0,1 0 0,0 1 15,13-1-15,-13 0 0,13 0 0,-13 1 16,13-1-16,0 0 0,-14 0 16,14 1-16,0-1 0,14 0 15,-14 0-15,13 0 16,0-13-16,0 0 0,14 0 15,12-13 1,-25 0-16,-1 0 0,0 0 16,0-1-16,0 1 0,1 13 0,-1-13 15,0 0-15,-13-1 0,13 1 0,-13 0 16,14 13-16,-41 13 47,14 0-47,0 1 0,13-1 15,0 0-15,-14-13 16,14 13-16,0 1 0,0-1 16,14-13-16,-14 13 15,13-13-15,0 0 0,0 0 16,1 0-16,-1 0 16,0 0-16,0 0 0</inkml:trace>
  <inkml:trace contextRef="#ctx0" brushRef="#br2" timeOffset="-153681.08">21709 4710 0,'-13'-14'0,"0"28"31,-1-14-31,14 13 0,-13-13 0,13 13 16,-13-13-16,0 13 0,13 0 0,-14 1 15,14-1-15,-13 0 16,13 0-16,0 1 15,0-1-15,13 0 16,-13 0-16,14-13 16,-1 0-1,-13 14-15,13-14 0,0 0 16,1 0-16,-1-14 0,0 14 0</inkml:trace>
  <inkml:trace contextRef="#ctx0" brushRef="#br2" timeOffset="-153350.25">21802 4762 0,'13'-13'32,"0"13"-17,-13 13 1,0 1-16,0-1 0,0 0 0,0 0 15,0 1-15,0-1 0,-13 0 16,13 0-16,0 1 16,-13-1-1,26-40 17,-13 14-17,13 0-15,-13 0 0,13-1 0,1 1 16,-1 0-16,0 0 0,0-1 15,1 1-15,-1 0 0,0 13 16,0-13-16,0 13 0,1 0 16</inkml:trace>
  <inkml:trace contextRef="#ctx0" brushRef="#br2" timeOffset="-152265.15">22079 4842 0,'14'-13'16,"-28"26"-16,28-40 15,-14 14 17,-27 26-1,27 1-16,-13-1-15,13 0 16,0 0-16,0 1 16,0-1-16,0 0 15,13-13-15,-13 13 0,13-13 16,1 0-16,-1 0 16,13 0-16,-12 0 15,-1 0-15,0 0 16,0 0-16,1 0 0,-14-13 0,13 13 0,0 0 15,0 0-15,-13-13 0,13 13 0,1-13 16,-1-1 0,0 1 15,-26 0-15,0 13-1,-1 13 1,1 0-1,13 1 1,-13-14 0,13 13-16,0 0 15,13-13 17,14 0-1,-27-13-31,13 13 15,0 0-15,-13-13 16,13 13-16,1 0 16,-1 0 15,0 0-15,-13 13-1,13-13 1,-13 13-1,14-13 1,-1 0 15,0 0-15,0 0 0,-13-13-16,13 13 15,1 0-15,-1 0 0,-13-13 16</inkml:trace>
  <inkml:trace contextRef="#ctx0" brushRef="#br2" timeOffset="-151824.28">22701 4670 0,'0'-13'0,"0"-1"32,0 41-17,0-14 1,0 0-16,0 1 16,0-1-16,0 0 0,0 0 15,0 0-15,0 1 0,0-1 16,-13 0-16,13 0 15,0 1-15,0-1 16,0 0 15</inkml:trace>
  <inkml:trace contextRef="#ctx0" brushRef="#br2" timeOffset="-151524.21">22754 4630 0,'-26'13'15,"12"-13"-15,1 14 16,0-14-16,13 13 0,-13-13 16,0 13-16,-1 0 0,1-13 0,0 14 15,13-1-15,-13 0 0,-1-13 16,1 13-16,0 0 16,0-13-16,13 14 15,-14-14-15</inkml:trace>
  <inkml:trace contextRef="#ctx0" brushRef="#br2" timeOffset="-151244.56">22714 4630 0,'14'13'15,"-1"1"1,0-14-16,-13 13 0,13-13 16,-13 13-16,14-13 0,-14 13 15,13-13-15,0 14 16,0-14-16,-13 13 0,14-13 16,-1 0-16,0 13 15</inkml:trace>
  <inkml:trace contextRef="#ctx0" brushRef="#br2" timeOffset="-149640.24">23667 4710 0,'-13'-14'15,"0"28"-15,-1-14 0,1 0 0,0 13 16,0-13-16,-1 13 0,1-13 16,13 13-16,-13-13 0,0 13 15,13 1 1,0-1-16,13-13 16,0 0-16,-13 13 15,13-13-15,1 0 0,-1 13 0,0-13 16,0 14-16,1-14 0,-14 13 0,13-13 15,-13 13 1,13-13-16,-13 13 0,0 1 16,-13-1-16,0 0 15,13 0-15,-14-13 0,1 13 16,0-13-16,13 14 0,-13-14 0,-1 0 16,1 13-16,0-13 15,0-13 1</inkml:trace>
  <inkml:trace contextRef="#ctx0" brushRef="#br2" timeOffset="-148892.81">23746 4696 0,'14'0'15,"-14"27"1,0-14-1,0 0-15,0 0 16,0 1-16,0-1 0,-14 0 0,14 0 16,0 1-16,0-1 0,0 0 0,0 0 15,0 1 1,0-1-16,27-26 31,-14-1-15,0 14-16,-13-13 15,13 13-15,1-13 16,-1 13-16,0 13 16,0 0-1,-13 1-15,0-1 16,14-13-16,-14 13 16,0 0-16,13-13 15,0 0 1,0 0-16,1 0 0,-1 0 15,0-13-15,0 13 16,-13-13-16,13 13 16,-13-13-16,14-1 15,-28 1 1,1 13 15,0-13-15,26 39 31,0-26-47,-13 14 15,14-14-15,-1 13 16,-13 0 0,13-13-16,-13 13 15,0 0 1,13-39 31,-13 13-32,14 0-15,-1-1 16,-13 1 0,13 0-16,0 13 15,1-13-15,-1-1 16</inkml:trace>
  <inkml:trace contextRef="#ctx0" brushRef="#br2" timeOffset="-148696.5">24209 4710 0,'0'-14'0,"0"41"47,0-14-47,0 0 15,-13 14-15,13-14 0,0 0 0,-13 0 16,13 14-16,-13-14 16,13 0-16,-14 1 0,14-1 15,0 0-15,0 0 0,14-13 16</inkml:trace>
  <inkml:trace contextRef="#ctx0" brushRef="#br2" timeOffset="-148453.25">24368 4749 0,'-13'0'0,"0"0"16,-1 13-1,1-13-15,0 14 0,0-1 16,13 0-16,-13-13 0,13 13 16,-14-13-16,14 14 0,0-1 15,0 0-15,0 0 16,14 1-1,-1-14 1,0 0-16,0 0 0,0 0 16,1 0-16,12 0 0,-13 0 0,1-14 15,-1 14-15</inkml:trace>
  <inkml:trace contextRef="#ctx0" brushRef="#br2" timeOffset="-147512.22">24633 4815 0,'0'-13'0,"-14"13"15,1 0 17,0 13-32,13 1 15,0-1 1,-13-13-16,26 0 31,13 0-15,-12-13-16,-1 13 15,0 0 1,0 0 0,-13 13-16,14-13 15,-1 0 1,0 0-1,0 0-15,1-13 0,-1-1 16,0 1-16,-13 0 0,13 0 16,0-1-16,-13 1 0,14-13 0,-14 13 15,13-14-15,-13 1 0,13-1 0,-13 14 16,13-13-16,-13 12 0,0 1 0,0 0 16,14 0-16,-14-1 15,-14 41 1,1-14-16,13 14 15,-13-14-15,0 13 0,13-13 16,0 14-16,0-14 0,0 0 16,0 1-16,0-1 0,13 0 0,-13 0 15,13 0-15,-13 1 0,13-14 0,1 13 16,12-26 0,-13-1-16,1 1 15,-14 0-15,13 0 0,-13 0 0,13-1 16,0-12-16,-13 13 0,13-1 15,-13 1-15,0 0 0,0 0 0,14 13 16,-14-13-16,-14 39 31,14-13-31,0 0 0,0 1 16,0 12-16,0-13 0,0 1 16,0-1-16,0 0 0,0 0 0,0 0 15,0 1-15,0-1 0,0 0 16,14-13-16,-14 13 0</inkml:trace>
  <inkml:trace contextRef="#ctx0" brushRef="#br2" timeOffset="-146745.15">24791 4749 0,'0'-13'15,"14"13"16,-1 0-31,0 0 0,0 0 0,14-13 16,-1 13-16,-12 0 16,12 0-16,0 0 0,-12 0 0,12-13 15,-13 13-15,14 0 0,-14 0 0,0 0 16,0 0-16,-13-14 0,14 14 0,-1 0 16,-26 27 15,-1-27-31,1 13 15,0 0 1,13 0 0,13 1 15,0-14-31,1 0 16,-1 0-16,0 0 0,-13-14 0,27 14 15,-14 0 1,0 0-16,0 14 15,1-14 1,-1 13 0,0-13-1,0-13 1,0 13 0,1-14-16,-1 1 0,-13 0 15,13 0-15,-13 0 0,13-1 0,-13-12 16,14-1-16,-1 14 0,-13-13 0,13-1 15,-13 14-15,13 0 0,-13 0 16,0-1-16,14 1 0,-14 0 0,-14 39 47,1-12-47,13-1 0,0 0 16,-13-13-16,13 13 0,0 1 0,-13-1 15,13 0-15,-14 0 16,14 0-16,-13 1 31,26-14 0,-13 13-15,14-13-16,-14 13 16,13 0-16,-13 1 15,13-14 1,0 13-16,1-13 15,-1-13-15</inkml:trace>
  <inkml:trace contextRef="#ctx0" brushRef="#br2" timeOffset="-145437.18">23826 5292 0,'0'-27'0,"-27"27"15,14 13 1,0 1 0,26-1-16,-13 0 15,13 0-15,0 1 16,1-14-16,-14 13 0,13-13 16,-13 13-16,13 0 0,0 1 15,-13-1 1,0 0-16,0 0 15,-13-13-15,0 13 0,0 1 16,-1-14-16,1 0 0,0 13 16,0-13-16,0 0 0,-1 0 0,1 13 15,0-13-15,0 0 0,-1 0 16</inkml:trace>
  <inkml:trace contextRef="#ctx0" brushRef="#br2" timeOffset="-144825.1">23918 5345 0,'-13'26'47,"13"-13"-31,0 1-1,0-1-15,13 0 16,1 0 0,-1-13-1,-13 13 1,13-26 0,0 13-1,-13-13-15,13 0 31,1 26 48,-1-13-64,-13 13-15,13-13 16,0 0 31,1 0-32,-14-13 1,13 13-16,0 0 31,-13-13-31,13 26 16,1-13-1,-1 0 1,0 0 0,0 0-1</inkml:trace>
  <inkml:trace contextRef="#ctx0" brushRef="#br2" timeOffset="-144404.33">24408 5212 0,'0'53'31,"0"-40"-31,0 1 15,0-1-15,-13 13 16,13-12-16,0-1 0,0 0 16,-14-13-16,14 13 0,0 1 15,27-28 32,-14 14-31,0 0-16,1 14 15,-28 12 17,1-13-32,0 0 15,0-13-15,-1 14 16,1-14-16,0 0 16,13 13-16</inkml:trace>
  <inkml:trace contextRef="#ctx0" brushRef="#br2" timeOffset="-144021.39">24553 5318 0,'-13'27'31,"13"-14"-31,-13-13 16,13 13-16,13 0 16,-13 1-1,13-14 1,1 0-16,-1-14 16,0 14-1,-13-13-15,13 13 16,-13-13-16,13 0 15,1 13 1,-14 13 15,13 0-15,-13 0 0,0 1 15</inkml:trace>
  <inkml:trace contextRef="#ctx0" brushRef="#br2" timeOffset="-143729.09">24739 5318 0,'0'0'0,"13"0"0,-13 13 46,0 1-46,0-1 16,0 0 0,0 0-1,26-26 32,-26 0-31,13 13-1,-13-13 1,14 13 0</inkml:trace>
  <inkml:trace contextRef="#ctx0" brushRef="#br2" timeOffset="-143451.53">24871 5305 0,'13'26'31,"-26"-12"-15,26-1 0,0-13 46,1 0-62,-1 13 31,0-26-15,0 13 0</inkml:trace>
  <inkml:trace contextRef="#ctx0" brushRef="#br2" timeOffset="-142160.25">23958 5887 0,'-13'0'15,"0"0"1,-14 0-16,14 13 15,0-13-15,-1 13 16,1-13-16,0 14 16,13-1-16,0 0 15,13 0-15,0 1 16,1-1 0,-1 0-16,0 0 15,0 0-15,-13 1 16,0-1-1,0 0-15,-13 0 16,0-13-16,0 14 16,-1-14-16,1 0 0,0 13 15,0-13-15,-1 0 0,1 0 0,0 0 16,0 0-16,0 0 16</inkml:trace>
  <inkml:trace contextRef="#ctx0" brushRef="#br2" timeOffset="-141491.87">23998 6006 0,'0'-13'16,"-14"26"31,14 0-32,0 0 1,0 1-16,0-1 31,0 0-15,14 0-1,-1-13 1,0-13 0,0 13 15,-13-13-31,14 13 16,-14-13-16,13-1 15,0 14 48,0 0-48,1 0 1,-14 14-16,13-14 16,-13 13-16,13-13 15,-13 13 16,13-26 1,0 13-32,-13-13 15,14 13 1,-1 0 0,0 0-1,0 0 1,1 0 15</inkml:trace>
  <inkml:trace contextRef="#ctx0" brushRef="#br2" timeOffset="-140359.41">24408 5953 0,'-13'-13'15,"-1"13"-15,1 0 0,0 0 16,13 13-1,-13-13 1,13 13-16,0 1 16,0-1-16,13 0 0,-13 0 15,13 0-15,-13 1 16,0-1-16,0 0 0,0 0 16,0 14-16,-13-14 31,13 0-31,-13-13 15,26-26 17,0 13-32,0-1 0,-13 1 15,14 0-15,-1 0 0,0-1 16,0-12-16,1 13 0,-14-14 16,13 14-16,0-13 0,-13 12 0,13 1 15,-13 0-15,0 0 0,13 13 0,-13-13 16,0-1-1,0 41 17,-13-14-17,13 0-15,0 0 0,0 1 16,0-1-16,0 0 0,0 0 16,13-13-16,-13 14 0,14-14 15,-14 13-15,13-13 0,0 0 16,0 0-16,1 0 0,-1 0 15,0 0-15,0 0 16,-13-13-16,13 13 0,1 0 0,-14-14 16,13 14-16,-13-13 15,13 13 1,-13-13-16,-26 26 47,12-13-47,14 13 15,-13 1-15,13-1 16,0 0 15,13-13-31,1 0 16,-1-13 0,0 13-1,-13-13-15,13 13 16,1 0-16,-1-14 31,-13 28 16,13-14-31,0 0 15,1 0-16,-1 0-15,0-14 32,0 14-32,0 14 15,-13-1 17,0 0-17,0 0 1,-13-13-1,0 13 1</inkml:trace>
  <inkml:trace contextRef="#ctx0" brushRef="#br2" timeOffset="-139707.24">23402 4736 0,'0'0'16,"0"26"-1,-13-12 1,13-1-16,0 0 0,0 0 15,0 1-15,0-1 0,-13 0 16,13 0-16,0 1 16,0-1-16,-13 0 15</inkml:trace>
  <inkml:trace contextRef="#ctx0" brushRef="#br2" timeOffset="-139516.59">23429 4762 0,'-13'0'0,"-27"27"32,27-14-32,-1-13 0,1 13 0,13 1 15,-13-1-15,0 0 0,0 0 0,-14 14 16</inkml:trace>
  <inkml:trace contextRef="#ctx0" brushRef="#br2" timeOffset="-139351.92">23376 4762 0,'26'14'16,"-12"-1"-1,-1 0-15,-13 0 16,13-13-16,0 14 0,1-1 0,-14 0 16</inkml:trace>
  <inkml:trace contextRef="#ctx0" brushRef="#br2" timeOffset="-138986.45">23588 5318 0,'0'0'16,"0"27"0,-14-14-16,14 0 15,-13 0-15,13 1 0,-13-1 16,13 0-16,-13 0 15,13 0-15,0 1 0,-14-1 16</inkml:trace>
  <inkml:trace contextRef="#ctx0" brushRef="#br2" timeOffset="-138800.68">23574 5318 0,'-13'0'0,"-13"27"32,12-14-32,1 0 15,0-13-15,13 13 0,-13 1 16,0-1-16,13 0 0,-14-13 16</inkml:trace>
  <inkml:trace contextRef="#ctx0" brushRef="#br2" timeOffset="-138657.35">23495 5345 0,'26'-14'31,"-12"14"-31,-1 14 16,0-14-16,0 0 16,1 13-16,-1-13 15,0 13-15,0-13 0</inkml:trace>
  <inkml:trace contextRef="#ctx0" brushRef="#br2" timeOffset="-138248.45">23667 5913 0,'0'27'16,"0"-14"-16,0 0 0,-13 1 16,13-1-16,0 0 0,0 0 15,-13 0-15,13 1 0,0-1 0,-14 0 0,14 0 16,-13 1-16,13-1 0,0 0 15,-13-13-15,13 13 0</inkml:trace>
  <inkml:trace contextRef="#ctx0" brushRef="#br2" timeOffset="-138040.35">23693 5887 0,'-26'26'32,"13"-12"-32,0-1 0,-1 0 15,14 0-15,-13 1 0,0-1 16,0 0-16,13 0 0,-14 0 16,1 1-16,13-1 0</inkml:trace>
  <inkml:trace contextRef="#ctx0" brushRef="#br2" timeOffset="-137879.42">23693 5940 0,'0'0'16,"14"0"-16,-1 0 0,0 13 16,0-13-16,1 13 15,-1-13-15,0 0 16,-13 14-16,13-14 0,0 0 15</inkml:trace>
  <inkml:trace contextRef="#ctx0" brushRef="#br2" timeOffset="-134105.48">8639 1495 0,'0'0'0,"79"-13"0,-39-1 0,26 1 0,0 0 16,27 0-16,-14 0 0,14-1 15,26 1-15,0-13 0,0 12 0,0 1 16,-27 0-16,1 0 0,0-1 15,-1 14-15,-12-13 0,12 0 16,-12 13-16,-1 0 0,-13-13 0,-13 13 16,0 0-16,0-13 0,-13 13 0,-1 0 15,-12 0-15,-1 0 0,-13 0 16,1 0-16,-1 0 0,-40 13 31,-12-13-31,-1 13 0,-13-13 16,-13 13-16,-13 0 0,-1 1 0,1 12 15,-14-13-15,-26 1 0,13 12 0,-13-13 16,13 14-16,-13-14 0,40 0 16,-14 0-16,14 1 0,0-1 15,-1 0-15,14 0 0,0 1 0,13-14 16,0 13-16,27-13 0,-1 0 0,1 13 16,13-13-16,-1 0 0,41-13 31,12 13-31,14-13 0,27-1 0,-1 1 15,1 13-15,12-13 0,-13 0 16,41-1-16,-1-12 0,0 13 0,-14 0 16,-12 13-16,0-14 0,-1 1 0,1 0 15,0 13-15,-14-13 0,0-1 16,-13 14-16,-13-13 0,0 13 16,-13-13-16,0 13 0,-14 0 0,1 0 15,-1-13-15,0 13 0,-12 0 0,-1 0 16,0 0-16,0 0 0,1 0 15,-1 0-15,0-14 16,0 14-16,-52 14 47,12-14-31,-13 13-16,-12-13 0,-1 13 15,-14 0-15,1 1 0,-13-1 0,0 0 16,-1 0-16,-39 1 0,13 12 15,14-13-15,-14 14 0,13-14 0,-13 13 16,14 1-16,12-14 0,1 14 16,0-14-16,13 0 0,-1 13 0,1-12 15,27-14-15,-1 13 0,0 0 0,1 0 16,25-13-16,-12 0 0,13 14 16,-14-14-16,14 0 0,0 13 0,-1-13 15,1 0-15,0 0 16,0 13-1,0-13-15,-1 0 16,1 0 15,0 0 1,39 13 14,-12-13-30,-1 0-16,0-13 0</inkml:trace>
  <inkml:trace contextRef="#ctx0" brushRef="#br2" timeOffset="-131624.3">22079 5067 0,'14'13'31,"-14"0"-31,0 0 0,13 1 15,-13-1-15,13 0 16,0 0-16,-13 1 16,14-14-16,-1 13 0,-13 0 0,13-13 15,0 13-15,1 1 0,-1-14 0,0 13 16,0-13-16,14 13 0,-14 0 16,13-13-16,-12 0 0,12 13 0,1-13 15,-1 14-15,0-14 0,-12 0 0,12 0 16,1 0-16,-14 0 0,13 0 15,-13 0-15,14-14 0,-14 14 16,14 0-16,-14 0 0,0-13 0,14 13 16,-14 0-16,0-13 0,0 13 15,0 0-15,1-13 0,-1 13 0,0-13 16,0-1-16,1 14 0,-1-13 0,0 0 16,0 13-16,1-13 0,-1-1 15,0 1-15,0 0 0,0 13 0,-13-13 16,14-1-16,-1 14 0,-13-13 15,13 0-15,0 13 0,-13-13 0,14 13 16,-1-13 0,-13-1-1,13 14-15,-13-13 16,13 13 0</inkml:trace>
  <inkml:trace contextRef="#ctx0" brushRef="#br2" timeOffset="-131188.33">22860 4974 0,'0'0'0,"26"0"78,1 0-78,-14 0 16,0 0-16,1 0 16,-1-13-16,0 13 15,0 0-15,1 13 16,-1-13-16,0 0 16,-13 13-16,13 1 15,-13-1-15,0 0 16,0 0-16,0 1 15,0-1-15,0 0 0,0 0 16,0 0-16,0 1 0,0-1 16,0 0-1,0 0 1</inkml:trace>
  <inkml:trace contextRef="#ctx0" brushRef="#br2" timeOffset="-130344.45">22066 5133 0,'-13'26'32,"26"-12"-32,-13-1 15,0 13-15,0-12 0,0-1 0,0 13 16,13 1-16,-13-1 0,14-13 0,-14 14 15,0-1-15,13 1 0,0-1 16,-13-13-16,13 14 0,1-14 0,-1 14 16,0-14-16,0 0 0,1 13 0,12-12 15,-13-1-15,14 13 0,-14-12 0,13-1 16,1-13-16,-14 13 16,14 0-16,-1 1 0,0-14 0,1 13 15,-1-13-15,1 0 0,12 0 0,-12 0 16,-1 0-16,1 0 0,13 0 15,-14 0-15,14 0 0,-14 0 0,1-13 16,12 13-16,-12 0 0,-1-14 0,1 14 16,-1 0-16,1-13 0,-14 13 15,13-13-15,-12 13 0,12 0 0,-13-13 16,0 13-16,1-14 0,-1 14 16,0 0-16,-13-13 0,13 13 0,1-13 31,-1 13-31,0-13 15,-13-1 17</inkml:trace>
  <inkml:trace contextRef="#ctx0" brushRef="#br2" timeOffset="-129976.2">23058 5477 0,'-13'-13'31,"40"39"-15,-14-26-16,0 0 15,0 0-15,1 13 16,-1-13-16,0 0 0,0 14 16,1-14-16,-1 0 0,-13 13 15,13 0-15,0-13 16,-13 13-16,13 0 16,-13 1-16,0-1 15,0 0-15,-13 0 0,13 1 16,-13-1-16,0 0 0,13 0 15,-13 1-15,-1-1 0,1 0 0,0 0 16,0 0-16,-1-13 16,1 14-16</inkml:trace>
  <inkml:trace contextRef="#ctx0" brushRef="#br2" timeOffset="-128191.71">22053 5133 0,'-13'26'47,"13"-12"-32,0-1-15,0 0 0,0 0 0,0 1 16,0-1-16,0 0 0,0 13 0,0-12 15,0 12-15,0-13 0,0 14 16,0-14-16,0 14 0,0-14 0,0 13 16,0-13-16,0 14 0,0-1 15,0-12-15,0 12 0,0 0 16,0-12-16,0 12 0,0 1 0,0-1 16,13-13-16,-13 14 0,0-1 0,0-13 15,0 14-15,13-14 0,-13 14 16,0-14-16,0 0 0,13 0 0,-13 14 15,14-14-15,-14 0 0,13 0 0,-13 1 16,13-1-16,0 0 0,1 0 0,-1 1 16,-13-1-16,13 0 0,0-13 15,1 13-15,12 0 0,-13-13 0,0 14 16,1-14-16,12 13 0,-13-13 0,1 13 16,12-13-16,-13 0 15,14 13-15,-14-13 0,13 0 0,1 14 16,-14-14-16,14 0 0,-1 13 0,-13-13 15,14 0-15,-1 0 0,-13 13 16,14-13-16,-1 0 0,-12 0 0,12 0 16,0 0-16,1 0 0,-14 0 0,14 0 15,-14 0-15,13 0 0,-12 0 0,12 0 16,-13 0-16,0 0 16,1 0-16,12 0 0,-13 0 0,1-13 15,-1 13-15,0 0 0,0 0 0,1 0 0,-1 0 16,0-13-1,0 13-15,0 0 16,1 0 0,-1-14 15,0 14-15</inkml:trace>
  <inkml:trace contextRef="#ctx0" brushRef="#br2" timeOffset="-127231.2">22926 5980 0,'0'13'47,"0"0"-32,13 0 1,-13 0 0,14-13-16,-1 14 15,0-14-15,0 13 16,1-13-16,-1 0 16,-13 13-16,13-13 0,0 0 15,0 13 1,1-13-1,-1 0-15,-13 14 16,13-14-16,-13 13 16,-13 0-1,13 0-15,-13 1 16,13-1-16,-14 0 0,1 0 16,13 0-16,-13 1 0,0-14 15,13 13-15,-13 0 0,-1 0 0,1 1 16,0-1-1,0-13-15</inkml:trace>
  <inkml:trace contextRef="#ctx0" brushRef="#br2" timeOffset="-121510.03">24051 6231 0,'26'0'0,"-13"0"16,1-13-16,-1 13 0,0 0 16,0 0-16,0 0 0,1 0 0,-1 0 15,13 0-15,-12 0 0,-1-14 16,0 14-16,0 0 0,1 0 0</inkml:trace>
  <inkml:trace contextRef="#ctx0" brushRef="#br2" timeOffset="-121299.41">24117 6310 0,'26'-13'16,"-13"13"0,1 0-16,-1 0 0,0 0 15,0 0-15,1 0 16,-14-13-16,13 13 0,0 0 16</inkml:trace>
  <inkml:trace contextRef="#ctx0" brushRef="#br2" timeOffset="-113028.33">10901 1640 0,'0'-13'31,"-13"13"-31,-14 13 16,14-13-16,0 14 0,-1 12 16,1-13-16,-13 27 0,-1-14 0,14 1 15,-13-1-15,12 14 0,-12-13 16,13-1-16,-1 0 0,1 1 0,0-14 15,13 14-15,-13-14 0,13 0 0,0 0 16,0 1-16,0-1 16,0 0-16,13 0 0,0-13 15,0 0-15,1 0 0,-1 13 0,0-13 16,0 0-16,1 0 0,12-13 16,-13 13-16,14 0 0,-14 0 15,13-13-15,-12 13 0,-1 0 0</inkml:trace>
  <inkml:trace contextRef="#ctx0" brushRef="#br2" timeOffset="-112648.73">11060 1839 0,'-40'0'31,"40"13"-31,-13 0 0,-1 14 16,14-14-16,-13 0 0,13 0 15,0 1-15,0-1 0,0 13 0,0-12 16,0-1-16,0 0 16,13-13-16,-13 13 0,14-13 0,-1 14 15,0-14-15,0 0 0,1 0 0,-1 0 16,0-14-16,0 14 0,0-13 15,1 0-15,-14 0 16,0-1-16,0-12 16,-14 13-16,14-1 0,-13 1 0,13 0 15,-13-13-15,0 12 16,13 1-16,-13 0 0,-1 13 16,1 0-16,0 0 15,0 13-15</inkml:trace>
  <inkml:trace contextRef="#ctx0" brushRef="#br2" timeOffset="-112292.81">11152 1839 0,'27'13'31,"-14"-13"-31,-13 13 0,13 1 15,0 12-15,1-13 0,-14 0 16,13 1-16,0-1 0,-13 0 0,0 0 16,0 1-16,13-1 0,-13 0 15,0 0-15,0 1 16,0-1-16,0-40 47,0 14-47,0 0 15,0 0-15,0-1 0,13 1 0,-13 0 16,14 0-16,-14-14 0,13 27 16,0-13-16,0 0 0,-13 0 0,14 13 15,-1-14-15,0 14 0,0-13 16,1 13-16,-1 13 16,0-13-16</inkml:trace>
  <inkml:trace contextRef="#ctx0" brushRef="#br2" timeOffset="-111941.49">11536 1879 0,'13'26'16,"-13"-13"-1,0 0-15,0 1 16,0-1-16,13 0 0,-13 0 0,0 1 15,0-1-15,0 0 0,0 0 0,0 1 16,0-1-16,0 0 0,0 0 16,0 0-16,0 1 15,0-1-15,0-53 47,0 27-47,14 0 16,-14 0-16,13-1 0,-13 1 15,13-13-15,0 12 0,-13 1 0,13 0 16,1 0-16,-14-1 0,13 14 16,0-13-16,-13 0 0,13 13 0,1 0 15,-1 0 1</inkml:trace>
  <inkml:trace contextRef="#ctx0" brushRef="#br2" timeOffset="-111382.61">11774 2130 0,'26'-13'16,"-26"-1"-16,14 14 0,-14-13 15,13 0-15,-13 0 16,13 13-16,-13-13 0,0-1 16,13 1-16,-26 26 47,13 1-47,0-1 0,0 0 15,0 0 1,0 0-16,13-13 0,1 0 15,-1 14-15,0-14 0,13-14 16,-12 14-16,-1 0 16,0-13-16,0 0 0,14 0 15,-14 0-15,0-1 0,14-12 0,-14-1 16,0-12-16,0 12 0,1-12 0,-1-1 16,-13 0-16,0 14 0,13-1 15,-13 1-15,0 13 0,0-1 0,0-12 16,0 13-16,0-1 15,-13 41 1,13-1-16,-13 1 0,-1-1 16,1 14-16,0 0 0,13-14 15,-13 1-15,13-1 0,-13-13 0,13 14 0,0-14 16,0 0-16,0 0 16,13 1-16,-13-1 0,0 0 0,26 0 15,-26 1-15,13-14 0,27 13 16,-27-13-16,1 0 15</inkml:trace>
  <inkml:trace contextRef="#ctx0" brushRef="#br2" timeOffset="-110824.41">12369 2011 0,'0'-13'16,"-13"13"-1,0 0 1,0 0 0,-1 0-16,14 13 15,-13-13-15,13 13 0,-13 0 16,0-13-16,13 14 16,0-1-16,0 0 31,13-13-31,0 0 15,0 0-15,1 0 16,-1 0-16,0 0 16,0-13-16,0 13 15,1 0 1,-1-13 15,0 13-31,0 0 0,-13-14 16,14 1-16,-1 13 0,-13-13 0,13 0 15,-13-1-15,13 1 0,1 0 16,-14-14-16,0 1 0,13 0 16,-13 12-16,13-12 0,-13-1 0,13 1 15,-13 13-15,0-1 0,0 1 16,-13 53 0,13-27-1,0 0-15,0 14 0,-13-14 16,13 14-16,0-14 0,0 13 15,0-13-15,0 1 0,0-1 0,0 0 16,0 0-16,0 1 0,0-1 16,13 0-16,-13 0 15</inkml:trace>
  <inkml:trace contextRef="#ctx0" brushRef="#br2" timeOffset="-110634.45">12422 1971 0,'-13'0'0,"79"27"0,-119-54 0,53 14 47,13 13-47,-13-13 0,14 13 0,-1 0 16,0-14-16,0 14 0,1 0 16,-1 0-16,13-13 0,-13 13 0,14 0 15,-14 0-15,0 0 16</inkml:trace>
  <inkml:trace contextRef="#ctx0" brushRef="#br2" timeOffset="-110460.39">12793 1958 0,'13'0'0,"0"26"16,-13-12-1,0-1 1,0 0-16,-13 0 0,13 1 16,0-1-16</inkml:trace>
  <inkml:trace contextRef="#ctx0" brushRef="#br2" timeOffset="-110328.45">12806 1786 0</inkml:trace>
  <inkml:trace contextRef="#ctx0" brushRef="#br2" timeOffset="-109628.33">13097 1918 0,'-13'13'31,"-1"-13"-31,14 14 16,-13-1-16,13 0 0,-13 0 16,13 1-16,-13-1 0,13 0 15,0 0 1,0 1 0,13-14-1,0 0-15,0 0 0,1 0 16,-1 0-16,0 0 0,0-14 0,1 14 15,-1-13-15,-13 0 0,13 13 16,-13-13-16,0-1 0,13 1 16,-13 0-16,-13 0 0,13-14 0,0 14 15,-13 13-15,13-13 0,-13 13 16,-1-13-16,1 13 16,0 0-16,0 0 15,13 13-15,-14-13 16,28 13-1,-1 0 1,0-13-16,0 0 0,1 13 0,-1-13 16,0 0-16,0 14 0,0-14 15,1 13-15,-1-13 0,0 0 16,0 13-16,1-13 0,-14 13 16,13-13-16,-13 14 15,13-14-15,0 13 16,1-13-1,-1 0 1,0 0 0,0-13-16,0 13 15,14 0-15,-14-14 16,0 14 0,1 0-16,-1 0 15,-13 14-15,0-1 31</inkml:trace>
  <inkml:trace contextRef="#ctx0" brushRef="#br2" timeOffset="-108917.2">14367 1455 0,'-13'40'15,"-1"-14"1,14 14-16,-13-13 0,13 12 0,-13 1 16,0 0-16,13-1 0,-13 1 15,13-14-15,-14 1 0,14 13 16,0-27-16,0 0 0,0 13 16,0-12-16,14-1 15,-41-40 16,27 14-31,-13 0 0,0 0 16,-1 0 0,1-1-16,0 14 0,0-13 15,-1 13-15,1 0 0,0 0 0,0 13 16,-27 1-16,27-1 16,0 13-16,-1-26 0,14 13 15,0 1-15,0-1 0,0 0 16,14 0-16,12-13 0,-13 14 15,1-14-15,-1 0 0,13 0 16,-13 0-16,27 0 0,-13 0 16,-14 0-16,0-14 0,0 14 0,1 0 15,-1 0-15,0-13 16,0 13-16,0 0 0,-13-13 0,14 13 16,-1 0-16</inkml:trace>
  <inkml:trace contextRef="#ctx0" brushRef="#br2" timeOffset="-108512.33">14526 1786 0,'-40'13'32,"40"0"-17,-13 1-15,-1-1 0,1 13 16,0-12-16,13-1 0,-13 13 16,13-13-16,0 1 0,13-1 15,-13 0-15,13-13 0,0 13 16,1-13-16,-1 0 0,0 0 15,14 0-15,-14 0 0,0-13 16,0 13-16,-13-13 0,14 0 16,-14-1-16,0 1 0,0 0 15,0 0-15,-14 0 0,14-1 0,0 1 16,-13 0-16,13 0 0,-13-1 16,13 1-16,-13 0 0,-1 26 31</inkml:trace>
  <inkml:trace contextRef="#ctx0" brushRef="#br2" timeOffset="-108038.5">14803 1958 0,'40'-53'32,"-27"40"-17,-13 0-15,0-1 0,14 1 0,-14 0 16,0 0-16,0-1 0,0 1 0,0 0 15,-14 0 1,1 13-16,212 132 141</inkml:trace>
  <inkml:trace contextRef="#ctx0" brushRef="#br2" timeOffset="-107880.49">15094 1826 0,'14'79'110,"-1"-79"-110,-13 53 31,0-40-15,-27-158-16,27 303 0,-13-158 0,0 14 15,0-14-15,-14 0 0,1 13 16,-14 0-16,14-13 15</inkml:trace>
  <inkml:trace contextRef="#ctx0" brushRef="#br2" timeOffset="-107053.22">14751 1918 0,'-14'0'0,"41"-13"46,-14 0-46,0 0 0,0-1 16,14 1-16,-1-13 0,-12 12 16,-1-12-16,13-14 0,-26 27 15,0 0-15,13 0 0,-13-1 16,0 1-16,0 0 0,0 0 16,-13-1-16,0 28 15,0-14-15,13 13 16,-13 0-16,-1 0 0,14 1 0,-13-1 15,13 0-15,-13 13 0,13 1 16,0-14-16,0 0 0,0 1 0,13-1 16,-13 0-1,13-13-15,1 13 0,-1-13 0,13 0 16,1 14-16,-14-14 0,13-14 16</inkml:trace>
  <inkml:trace contextRef="#ctx0" brushRef="#br2" timeOffset="-106556.18">15306 1693 0,'-13'-13'31,"0"13"-15,-1 0-16,1 0 0,0 0 15,0 0 1,0 13-16,-1-13 0,1 14 16,0-14-16,0 13 15,-1-13-15,1 13 16,0 0-16,0-13 0,13 13 15,-14-13-15,14 14 16,-13-14-16,0 13 16,13 0 15,-13-13-15</inkml:trace>
  <inkml:trace contextRef="#ctx0" brushRef="#br2" timeOffset="-105460.45">15875 1693 0,'0'0'0,"0"27"16,0-14-16,0 13 16,-13-12-16,13-1 0,0 0 15,0 14-15,0-14 0,0 13 0,0-12 16,0-1-16,-13 0 16,13 0-16,0 0 0,0 1 0,0-1 15,0 0 1,13-39-1,-13 12 1,13 1-16,0 0 0,-13 0 16,13-14-16,1 14 0,-1 0 0,0 13 15,0-13-15,1 13 0,-14-14 16,13 14-16,0 0 0,0 0 16,1 14-16,-1-1 15,0 0-15,0 0 0,0 1 16,1-1-16,-14 0 15,13-13-15,0 13 16,0-13-16,1 0 16,-1 0-16,0-13 0,0 13 15,0 0-15,1 0 16,-1 0 0,0 0-16,0 13 15,1-13-15,-14 13 16,13-13-16,0 0 15,0 0-15,1 0 0,12 0 16,-13 0-16,0-13 16,1 0-16,-1-13 15,-13 12-15,0 1 0,0 0 16,0 0-16,0-1 0,0 1 0,-13 13 16,13-26-16,-14 26 15,14-14-15,-26 14 0,13 14 16,0-14-16,13 13 0,-14 0 15,1 0-15,0 1 0,0-1 16,13 0-16,0 0 0,0 1 16,13-14-16,0 13 0,0-13 15,1 0-15,-1 0 0,0 0 0,13 0 16,-12-13-16,12-1 0,-13 1 16,27 0-16,-13-14 0,12-12 15,-12 12-15,-1-39 0,-13 40 16,1-1-16,-1 1 0,0-1 15,-13 1-15,13-1 16,-13 14-16,0 0 0,-13 39 31,0 1-31,0-14 16,-1 27-16,1-14 0,13 14 0,-13 0 16,13-14-16,0 0 0,0-12 0,0 12 15,0 14-15,13-27 16,-13 0-16,13 1 0,-13-1 0,14 0 15,-14 0-15,13-13 0,-13 13 0,13-13 16,0 0-16,1 0 0,-1-13 16,0 13-16,-13-13 15</inkml:trace>
  <inkml:trace contextRef="#ctx0" brushRef="#br2" timeOffset="-105217.93">16285 1667 0,'-13'0'0,"53"-13"31,-14 13-31,0 0 0,27 0 0,-13-14 16,0 14-16,13 0 0,-14-13 15,1 13-15,0-13 0,-14 13 0,1 0 16,-1 0-16,-13-13 0,14 13 15,-14 0-15,0 0 0,1 0 0,-1 0 16,-13 13-16</inkml:trace>
  <inkml:trace contextRef="#ctx0" brushRef="#br2" timeOffset="-104775.95">17489 1707 0,'0'39'16,"0"-26"0,0 1-16,0-1 0,0 0 0,0 14 15,0-14-15,0 0 0,0 14 16,0-14-16,13 0 0,-13 0 16,0 0-16,0 1 0,0-1 15</inkml:trace>
  <inkml:trace contextRef="#ctx0" brushRef="#br2" timeOffset="-104620.16">17462 1574 0,'-13'0'15</inkml:trace>
  <inkml:trace contextRef="#ctx0" brushRef="#br2" timeOffset="-104101.93">17648 1759 0,'0'27'0,"13"-14"15,-13 0-15,0 1 16,0-1-16,0 0 31,13-39 16,-13 12-31,13 14-16,1 0 15,-1 0 1,0 0-16,0 0 16,-13 14-16,14-1 31,-1-13-31,13-13 47,-13-1-32,1 14 1,-1 0 0,106-13 30</inkml:trace>
  <inkml:trace contextRef="#ctx0" brushRef="#br2" timeOffset="-103698.61">18071 1588 0,'0'-27'31,"-26"173"0,52-265-15,-52 277-16,26-131 0,0 12 0,13 1 16,-13 26-16,0-39 15,13 26-15,-13-14 16,0-25-16,0 25 0,0-26 16,13 1-16,-26-1 15,13 0-15,-13-26 31,13 0-31,0-27 16,0 14-16,0-14 0,13-40 16,-13 54-16,0 0 0,0 12 15,13-12-15,-13 13 0,0-1 0,14 14 16,-14-13-16,13 13 0,0 0 16,0 13-16,-13 1 15,13-1-15,-13 13 16,-13-12-16,13-1 15,-13 0-15,13 0 0,-13 0 16,13 1-16,-13-14 16,13 13-16,-14-13 0</inkml:trace>
  <inkml:trace contextRef="#ctx0" brushRef="#br2" timeOffset="-102707.3">18362 1574 0,'13'-13'0,"-26"53"31,13-27-15,-13 0-16,13 0 0,0 1 0,0-1 16,-13 0-16,13 0 0,0 1 0,0 12 15,0-13-15,0 0 0,13 1 16,-13 12-16,13-26 16,-13 13-16,13-13 0,1 0 15,-1 0-15,0 0 16,0 0-16,0-13 0,14 0 15,-14 0-15,0-1 16,1 1-16,-14 40 63,0-14-48,13 0-15,-13 0 16,13-13-1,14-13-15,-14 13 16,-13-13-16,13 13 16,0 0-16,0 0 15,-13 13-15,14 0 0,-1 1 16,0 12-16,-13-13 16,13 14-16,-13-14 0,0 13 0,0 1 15,0-1-15,0-12 0,0 12 16,-13 14-16,0-14 0,0 1 0,13-1 15,-14-13-15,1 1 0,0-1 16,0 0-16,-14 0 0,1-105 47,39 52-47,0 14 16,1 12-16,12-25 15,14-14-15,-14 26 16,-13 14-16,14 0 0,-14 0 15,13-1-15,14-12 16,-27 13-16,14-1 16,-27 1-1</inkml:trace>
  <inkml:trace contextRef="#ctx0" brushRef="#br2" timeOffset="-101018.52">19817 1495 0,'0'-13'0,"-39"26"16,12 13-16,1 1 15,-1-1-15,-65 67 16,39-27-1,13 0-15,14 0 16,-1-26-16,27-27 16,0 14-16,0-14 0,0 0 0,0 0 15,0 1-15,13-14 0,1 13 0,-1-13 16,0 13-16,27-13 0,-14 0 16,1 0-16,12-13 0,14 13 15,-13-13-15,0-1 0,-1 14 0,-12-26 16,-1 26-16,1-13 0,-1-1 15,-13 1-15,1 0 0,-1 0 16,0 13-16,0-13 0,0-1 0,-13 1 16,14 13-16,-14-13 15,0 0 1,-14 13-16,1 0 16,0 13-16,0-13 0,0 13 15,-1 0-15,1-13 0,13 14 16,-13-14-16,13 13 0,-13 0 15,13 0-15,0 0 16,0 1-16,13-14 16,0 0-1,0 0-15,1 0 16,-1-14-16,0 1 16,0 13-16,-13-13 0,13 0 15,1 0-15,-14-1 0,13 14 16,-13-13-16,13 0 0,-26 39 62,13-12-62,13-1 16,-13 0 0,13 0-16,1-13 15,-14 13 1,13-13-16,27-26 31,-27 26-15,-13-13-16,0 0 15,13-1-15,0 1 32,-13 40-17,0-14 1,13 0-1,-13 0-15,27 14 32,-14-27-17,0 0-15,1 0 16,-14-14-16,13 14 16,0-13-16,-13 0 15,13 0-15,-13 0 0,14 13 16,-14-14-16,13 1 0,-13 0 15,0 0-15,13 13 16,-13-14 0,0 1-1,0 40 79,0-14-78,0 0-16,0 0 15,0 1 1,0-1-16,13-13 16,0 13-1,1-13-15,-1 0 16,0 0-16,0 0 15,1-13-15,-1 13 0,0 0 0,0-13 16,14 13-16,-27-14 16,13 14-16,0 0 0,-13-13 0,13 13 15,1-13-15,-1 13 16,0 0-16,0-13 16,1 26-1,-1-13-15,0 13 0,0 0 16,-13 1-16,14-14 0,-14 13 15,13 0-15,-13 0 16,0 0-16,0 1 16,-13-14-16,13 13 0,-14 0 0,1 0 15,0-13-15,0 14 0,-1-14 16,1 0-16,0 13 16,0-13-16,-1 0 0,1-13 0,0 13 15,13-14 1</inkml:trace>
  <inkml:trace contextRef="#ctx0" brushRef="#br2" timeOffset="-99900.68">20968 1839 0,'0'-13'0,"-13"-1"47,-13 28-47,12-14 16,1 13-16,0 0 15,-14 14 1,14-14-16,0 0 16,13 0-1,66 0 16,-53-26-15,1 13-16,-1 0 16,0 0-16,0 13 31,0-13-15,1 0-16,-1 0 15,13 0-15,-12-13 16,-1 13-16,0-13 0,0 13 15,1-13-15,-1 0 0,13-14 16,-13 14-16,1-14 16,-14 1-16,26-14 0,-13 14 15,-13-1-15,27-12 16,-14 12-16,-13 14 16,0 0-16,13 39 15,-13-13 1,0 1-16,0-1 0,0 0 15,0 14-15,0 25 16,0-38-16,13 25 0,-13-25 16,0 12-1,14-13-15,-14 1 0,0-1 16,13-13 0,-13 13-16,13-13 15,-26-26 16,0 26-15,13-14-16,-14 14 0,1-13 16,0 13-16,13-13 0,-13 13 0,0-13 15,-14-1-15,14 14 16,13-13-16,-13 13 0,26-13 47,0 13-47,0 0 0,1 0 15,-1-13-15,0 13 0,0 0 16,0 0-16,14 0 0,-14 0 0,0 0 16,1 0-16,-1 0 0,0 0 0,0-14 15,1 14-15,-1 0 0,0 0 16,0 0-16,0 0 0,1 0 16,-1 0-16,0 0 15,-13 14 1,13-14-1,-13 13-15,14 13 16,-14-12-16,0-1 16,0 0-16,0 0 15,13-13-15,-13 14 0,0-1 16,0 0 0</inkml:trace>
  <inkml:trace contextRef="#ctx0" brushRef="#br2" timeOffset="-99034.4">21815 1746 0,'-13'0'0,"-1"0"16,1 0 0,0 13-16,0 1 15,0-14-15,13 13 0,-14 0 16,1 0-16,0 1 0,13-1 0,-13 0 15,-1 0-15,14 1 0,0-1 16,0 0-16,0 0 16,14 0-1,-1-13-15,0 0 16,0 0-16,14-13 16,-1 0-16,40-80 31,-66 54-16,-13 25 1,0 1 0,0 0-16,-1 13 15,1 0 1,13 13 0,13 0-1,1 1 1,-1-14-1,0 13-15,0 0 0,1 0 32,-1-13-32,-13 14 15,13-14-15,-13 13 16,13-13 0,1 0-1,-1-13-15,0 13 16,0 0-1,0 0-15,1 0 16,12 13 0,1-13-1,-1-13 1,-13 13-16,0 0 16,1 0-1</inkml:trace>
  <inkml:trace contextRef="#ctx0" brushRef="#br2" timeOffset="-98828.4">22278 1799 0,'0'-13'0</inkml:trace>
  <inkml:trace contextRef="#ctx0" brushRef="#br2" timeOffset="-97948.05">10398 1574 0,'0'-13'0,"-13"92"31,13-39-15,0 0-16,0-1 0,0 1 15,0 13-15,-13-13 0,13 39 16,-14-39-16,14 39 15,-13-39-15,13 0 0,0-14 16,-13 14-16,13-14 0,-13-13 16,13 14-16</inkml:trace>
  <inkml:trace contextRef="#ctx0" brushRef="#br2" timeOffset="-96190.11">10292 1614 0,'14'-13'0,"38"26"31,-38-13-15,12 0-16,-13 0 15,14 0-15,26 0 0,0 0 16,39-13-16,-52 13 16,53-13-16,-54-1 15,67 1-15,-53 13 0,13-13 16,80 0-16,-14-14 15,0 1-15,-52 12 16,-14 14-16,13-13 0,146-26 16,0 12-1,-66 1-15,-14 12 16,-65 14 0,-14-13-16,-13 13 0,0-13 0,-1 13 15,1 0-15,0-13 0,0 13 0,40 0 16,-40 0-16,-14-14 0,1 14 0,13 0 15,-13-13-15,-1 13 0,1 0 16,0-13-16,-1 13 0,-12 0 16,13 0-16,-14-13 0,1 13 0,-1 0 15,14 0-15,-14-13 0,1 13 0,-1 0 16,14 0-16,-14-14 0,1 14 16,39 0-16,-27-13 0,-12 13 15,13 0-15,26-13 0,-40 13 16,40 0-16,-26 0 15,-13 0-15,12 0 0,-12-13 0,-1 13 16,14 0-16,52 0 16,-52 0-16,0 0 0,-1 0 15,1 0-15,13 0 0,40 13 16,-40-13-16,0 0 0,-14 0 0,54 0 16,-54 0-16,14 0 15,-26 0-15,65 0 0,-52 0 16,13 13-16,40-13 15,-54 13-15,-12-13 16,-1 0-16,1 0 0,39 14 16,0-14-16,-39 0 15,-1 0-15,0 0 0,14 0 0,-13 13 16,25-13-16,-25 0 16,-14 13-16,40-13 0,-13 13 15,13-13-15,-27 0 16,-13 13-16,14-13 0,-1 0 15,-12 0-15,25 0 0,-12 14 0,-14-14 16,13 0-16,120 13 16,-106 0-1,12 0 1,160 1 15,-159-1-31,-26-13 0,12 0 16,1 0-16,13 0 15,-27 0-15,27 13 16,0-13-16,450 13 78,-437-13-62,-40 0-16,27 0 15,13 0-15,-39 0 0,-1 0 16,14 0-16,-13 0 16,-1 0-16,0 0 0,27 0 15,-26 0-15,-1 0 0,1 14 0,12-14 16,1 0-16,-27 0 0,27 0 16,-13 0-16,65 0 15,-39 13-15,13-13 16,0 0-16,-39 0 15,12 0-15,28 0 16,12 13-16,-39-13 16,-14 0-16,27 0 0,13 13 15,-39-13-15,12 0 16,-12 0-16,39 0 0,-26 0 16,26 0-16,-40 0 0,14 0 15,53 13-15,-54-13 16,14 0-16,-13 0 15,13 0-15,13 14 16,-40-14-16,27 0 16,-26 13-16,-1-13 0,1 0 15,12 0-15,-25 0 0,52 13 16,-53-13-16,13 0 0,1 0 16,-1 0-16,14 0 0,13 13 15,-40-13-15,40-13 16,-13 13-16,-14 0 15,1 0-15,-14 0 0,13 0 0,1 0 0,-1-13 16,1 13-16,12 0 16,-12 0-16,13 0 15,-27 0-15,13 0 0,-13 0 16,27-13-16,-13 13 0,-1 0 16,-13 0-16,14 0 0,-14 0 15,13 0-15,1 0 0,-1 0 16,27 0-16,-39 0 15,38 0-15,-38 0 16,12 0-16,1 0 0,-14 0 16,13 0-16,1 13 0,12-13 15,-12 0-15,-1 0 0,40 0 16,-39 0-16,-14 13 0,14-13 16,-14 0-16,13 0 0,14 0 15,-27 0-15,14 0 0,-1 0 16,14 0-16,-14 0 15,-13 0-15,14 13 0,13-13 16,-1 0-16,-12 0 16,-14 0-16,13 0 0,1 0 15,-14 0-15,14 0 0,-1 0 0,14 0 16</inkml:trace>
  <inkml:trace contextRef="#ctx0" brushRef="#br2" timeOffset="-94435.79">21458 1495 0,'13'-13'16,"0"13"-1,0 0-15,1 0 16,-1 0-16,0 0 16,14 0-16,-1 0 0,40 0 15,-13 0-15,-13 0 0,13 0 16,0 0-16,0 0 0,-14 0 0,14 0 15,13 0-15,-39 0 0,12 0 16,-12 0-16,-14 13 0,14-13 16,-14 0-16,26 0 0,-25 0 15,-1 0-15,0 0 0,0 0 16,1 0-16,-14 13 16,13 0-16,-13 1 15,0-1-15,0 13 0,0-12 0,0 25 16,0-12-16,0 12 0,0 1 15,13 0-15,-13-1 0,13 41 16,-13-41-16,14-12 0,-14-1 0,13 1 16,-13-1-16,13-12 0,-13 12 0,0-13 15,13 0-15,-13 14 16,13-14-16,-13 0 0,0 1 16,0-1-16,14 0 15,-28 0 32,1-13-31,0 0-1,-27-13 1,27 13 0,-13 0-16,-27 0 0,26 0 15,-26 0-15,0 0 0,-463 13 31,424-13-15,-80 0-16,92 0 0,-91 0 16,-398 40 15</inkml:trace>
  <inkml:trace contextRef="#ctx0" brushRef="#br2" timeOffset="-91908.54">10213 2315 0,'13'13'0,"0"-13"15,1 0-15,-1 0 16,0 0-16,14 0 0,12-13 16,-12 13-16,-1 0 0,14 0 15,39 0-15,-39-13 0,13 13 16,-14 0-16,14 0 0,0 0 16,53 0-16,-53-13 0,0 13 15,53 0-15,-40 0 0,-13 0 16,0 0-16,0 0 0,13 0 15,40-14-15,-53 14 0,0 0 16,66 0-16,-66 0 0,-1 0 16,1 0-16,0 0 0,0 0 15,0 0-15,0 0 0,0-13 0,0 13 16,0 0-16,53 0 0,-54 0 16,1 0-16,0 0 15,0 0-15,0 0 0,0 0 0,0 0 16,0 0-16,-13 0 0,65 0 15,-52 0-15,0 0 0,0 0 16,0 0-16,-13 0 0,13 0 16,-14 0-16,14 0 0,-13 0 0,0 0 0,26 0 15,-26 0-15,-14 0 16,14 0-16,-1 0 0,1 0 0,13 0 16,0 0-16,-13 0 0,-14 0 0,14 0 15,13 0-15,-14 0 0,1 0 16,-14 0-16,14 0 0,13 0 0,-13 0 15,-14 0-15,14 0 0,-14 0 0,14 0 16,26 0-16,-26 0 16,-14 0-16,14 0 0,0 0 15,-14 0-15,14 0 0,0 0 0,-1 0 16,1 13-16,26-13 0,-26 0 16,26-13-16,-26 13 15,-14 0-15,14 13 0,13-13 16,-14 0-16,-12 0 0,12 0 0,-12 0 15,13 0-15,13 0 16,-14 0-16,-12 0 0,12 0 0,-12 0 16,13 0-16,-14 0 0,14 0 0,-1 0 15,1 0-15,0 0 0,13 0 16,-14 0-16,1 0 0,0 0 16,-14 0-16,14 0 0,0 0 0,26 0 15,-27 0-15,1 0 16,13 0-16,-13 0 0,-1 0 0,41 0 15,-41 0-15,1 0 0,13 0 16,26-13-16,-39 26 16,66-13-16,238 0 47,-318 14-32,146-14 1,-145 0-16,39 0 0,-40 13 15,14-13-15,53 0 16,-40 0-16,13 13 16,-27-13-16,14 0 15,-13 0-15,0 0 16,-14 0-16,40 0 0,-26 0 0,26 0 16,66 13-1,-105-13 1,13 0-16,26 0 0,-27 0 15,1 0-15,26 0 0,-39 0 16,39 14-16,-26-14 0,-14 0 16,40 0-16,-39 0 15,12 0-15,-12 13 0,39-13 16,-40 0-16,40 0 0,-39 0 16,-1 0-16,1 13 0,13-13 15,-14 0-15,0 0 0,1 0 0,-1 0 16,27 0-16,0 0 15,-26 0-15,26 0 16,-40 0-16,13 0 0,1 0 16,26 0-16,-27 0 0,14 0 15,-14 0-15,-12 0 16,12 0-16,14 0 0,-14 0 16,14 0-16,-1 0 15,1 0-15,-13 0 16,12 0-16,-12 0 0,26 0 15,-40 0-15,13 0 0,1 0 16,13 0-16,-27 0 16,13 0-16,14 0 0,-27 0 15,27 0-15,-14 0 16,1 0-16,-14 13 0,27-13 0,-14 0 16,1 0-16,-14 0 0,13 13 15,-13-13-15,27 0 16,-13 0-16,-14 0 0,0 0 0,14 0 15,-14 0-15,0 0 0,0 0 16,14 0-16,-14 0 0,0 0 0,0 14 16,1-14-16,12 0 0,1 0 15,-14 0-15,0 0 16,0 0-16,0 0 0,1 0 0,-1 0 16,0 0-16,0 0 0,14 0 15,-14 0-15,0 0 16,1 0-16,-1 0 0,0 0 15,13 0-15,-12 0 16,-1 0-16,0 0 16,0 0-16,1 0 15,-1 0 1,0 0 0,-13-14-1,13 14-15,-13-13 16,-13 0-1,0 0 1,0 13-16,-1-13 16,1-1-1,-13 1-15,-1 13 16,14-13-16,-13 0 16,-27-1-1</inkml:trace>
  <inkml:trace contextRef="#ctx0" brushRef="#br2" timeOffset="-63220.6">12012 7025 0,'-13'0'16,"0"0"15,39 0 16,-13-14-31,1 14-16,-1 0 15,0 0-15,0 0 16,-39-13 46,13 13-46,39 0 31,-13 0-47,0 0 16,1-13-16,-1 13 15,0 0-15,0 0 16,-13-13 15</inkml:trace>
  <inkml:trace contextRef="#ctx0" brushRef="#br2" timeOffset="-59164.96">8281 8533 0,'-26'13'16,"13"-13"-16,-14 40 15,14-27-15,0 0 16,13 14-16,-13-14 0,13 0 16,0 14-16,-14-14 0,14 0 0,0 0 15,0 0-15,0 14 0,14-27 0,-14 13 16,0 0-16,13 1 0,-13-1 15,13-13-15,-13 13 0,13-13 0,-13 13 16,14-13-16,-1 0 0,0 0 16,0 0-16,0-13 0,1 13 0,-1-13 0,0 0 15,0 13-15,14-14 0,-14 1 16,0 0-16,1-14 0,12 14 16,-13 0-16,0 0 0,1 0 0,-1 13 15</inkml:trace>
  <inkml:trace contextRef="#ctx0" brushRef="#br2" timeOffset="-58620.77">8784 8480 0,'0'13'0,"-13"14"15,0-27 1,13 13-16,-14 0 16,1-13-1,0 0-15,0 13 0,0-13 16,-1 0-16,14-13 0,-13 13 0,0 0 16,-14 0-16,14-13 0,0 0 15,-14-1-15,14 1 0,-13 0 0,13 0 16,-1-1-16,1 1 0,13 0 15,-13 13-15,13-13 0,0 0 0,-13-1 16,13 1 0,13 0-16,0 0 15,0 13 1,1 13-16,-14 0 16,13-13-16,-13 13 0,0 1 0,-13-1 15,13 0-15,0 13 0,-14-12 0,14-1 16,0 0-16,-13 0 0,13 1 15,-13-1-15,13 0 0,0 0 16,-13 0-16,13 1 16,26-14 15,-13 0-31,1 0 16,-1-14-16,0 14 0,0 0 0,0-13 15,1 13-15,-1-13 0,0 0 16,0 13-16,1-13 0,-1 13 0,0-14 15,0 1-15,14 0 0</inkml:trace>
  <inkml:trace contextRef="#ctx0" brushRef="#br2" timeOffset="-57528.76">8930 8255 0,'0'-13'0,"-14"0"32,14-1-32,-13 14 15,0 14 1,13-1-1,-13-13-15,13 13 0,0 0 0,0 0 16,-13 1-16,13-1 0,0 0 16,0 0-16,0 1 15,0-1-15,13 0 16,0-13 0,0-13-16,-13 0 15,13-1-15,-13 1 0,14 0 0,-1 0 16,-13-1-16,13 14 0,-13-13 0,0 0 15,0 0-15,13 13 0,-13-13 16,14 13-16,-1 13 16,0 0-1,-13 0 1,13-13-16,-13 13 16,14-13-16,-14 14 0,13-14 0,0 0 15</inkml:trace>
  <inkml:trace contextRef="#ctx0" brushRef="#br2" timeOffset="-55255.68">10372 8374 0,'-27'13'0,"14"-13"15,13 14-15,-13-14 0,13 13 16,-13 0-16,13 0 0,-14 0 15,14 1-15,0-1 16,-13 0-16,13 0 0,0 1 16,0-1-16,0 13 15,0-13-15,13-13 16,-13 14-16,14-14 16,-1 0-1,0 0 1,0-14-16,0 14 0,1 0 15</inkml:trace>
  <inkml:trace contextRef="#ctx0" brushRef="#br2" timeOffset="-54804.49">10676 8506 0,'-13'0'16,"-1"14"-16,1-14 31,0-14-31,0 14 16,13-13-16,-13 13 0,-1-13 16,14-14-16,-13 14 0,13 0 15,0 0-15,-13 0 0,13-1 0,0 1 16,0 0-16,13 0 0,-13-1 0,0 1 15,0 0-15,13 13 0,-13-13 0,14 13 16,-1 0 0,-13 13-16,0 0 15,0 0-15,-13 1 0,13-1 0,0 13 16,-14-12-16,14-1 0,-13 0 16,13 0-16,-13 0 0,13 1 0,-13-1 15,13 0-15,-14-13 0,14 13 16,0 1-16,14-1 31,-1-26-15,0 13-16,0-14 0,1 14 15,-1 0-15,0 0 16,0-13-16,0 13 16</inkml:trace>
  <inkml:trace contextRef="#ctx0" brushRef="#br2" timeOffset="-54372.75">10848 8678 0,'0'-13'16,"-13"0"-1,-1 26 1,14 0-16,-13-13 16,13 14-16,0-1 15,27-13 32,-27-13-47,13 13 0,0-14 16,0 14-1,1 0-15,-1 0 32,0-13-32,0 13 15,1 0 1,-14-13-16,13 13 0,0 0 15,0-13-15</inkml:trace>
  <inkml:trace contextRef="#ctx0" brushRef="#br2" timeOffset="-53393.55">13335 7832 0,'-13'0'0,"26"0"15,-39 0-15,12 13 0,1 0 16,13 0-16,-13 1 15,13-1-15,-13 0 0,13 0 16,0 1 0,0-1-16,13 0 15,0 0-15,0-13 32,1 0-32,-1 0 0,0 0 15,0 0-15,0 0 0,1-13 16,12 13-16</inkml:trace>
  <inkml:trace contextRef="#ctx0" brushRef="#br2" timeOffset="-52967.39">13666 8017 0,'-14'13'31,"-12"-26"-15,13 0 0,0-1-16,13 1 0,-14 0 15,14 0-15,0 0 0,0-1 16,0 1-16,0 0 16,0 0-16,14-1 0,-14 1 15,13 13-15,0 0 16,-13 27-1,-13-14 1,0-13-16,13 13 0,-14 0 0,1 1 16,0-1-16,0 0 0,-1 0 0,14 0 15,-13-13-15,13 14 16,-13-14-16,13 13 0,-13-13 0,13 13 0,13 0 47,0-13-47,0 0 0,1-13 15,-1 13-15,0 0 16,0 0-16,1 0 0,-1 0 16,0-13-16</inkml:trace>
  <inkml:trace contextRef="#ctx0" brushRef="#br2" timeOffset="-52628.5">13877 7938 0,'-13'0'0,"0"0"15,0 0 1,-1 13-16,1-13 0,13 13 16,-13-13-16,13 13 15,-13-13-15,13 13 16,13-13-1,13 0 1,-12 0 0,-14-13-16,13 13 15,0 13 1,0-13-16,1 0 31,-1 0-31,0 0 16,0 0-16</inkml:trace>
  <inkml:trace contextRef="#ctx0" brushRef="#br2" timeOffset="-51884.26">18799 7938 0,'-27'0'15,"14"13"-15,0 0 16,-1-13-16,14 13 15,-13 0-15,0 1 0,13-1 16,-13-13-16,13 13 0,0 0 16,0 1-1,13-14-15,-13 13 0,13-13 16,0 0-16,14 0 16,-14 0-1,0 0-15,1 0 0,-1 0 16,0 0-16,0 0 0,1 0 15</inkml:trace>
  <inkml:trace contextRef="#ctx0" brushRef="#br2" timeOffset="-51439.7">19209 8123 0,'-13'13'31,"-1"-26"-15,1 13-1,0-14-15,13 1 16,-13 0-16,13 0 0,0 0 0,0-1 16,0 1-16,0-13 0,0 12 15,0 1-15,13 0 0,-13 0 0,0 0 16,13 13-16,-13-14 0,13 14 0,-13-13 15,14 13-15,-28 27 32,14-14-32,-13 0 0,0-13 15,0 13-15,-1 0 0,1 1 16,0-1-16,0 0 0,-1 0 16,1 1-16,0-1 0,13 0 0,-13-13 15,13 13-15,-13-13 0,13 13 0,0 1 16,0-1-1,13-13 1,0 0-16,13-13 0,-12 13 16,-1 0-16,0 0 0,0-14 15,14 14-15,-14-13 0,0 13 16,1 0-16,-1 0 0</inkml:trace>
  <inkml:trace contextRef="#ctx0" brushRef="#br2" timeOffset="-50996.55">19473 8017 0,'0'-13'0,"0"-1"32,-13 28-17,0-14-15,13 13 0,-13-13 16,-1 13-16,14 0 0,-13 1 16,0-1-16,13 0 15,13-13 1,0 0-1,1 0-15,-1-13 0,0 13 16,0-13-16,1 13 0,-1 0 16,0 0-16,-13-14 0,26 14 15,-26 14-15,14-14 0,-1 0 16,-13 13 0,13-13-1,0 13-15,1-13 16</inkml:trace>
  <inkml:trace contextRef="#ctx0" brushRef="#br2" timeOffset="-50034.36">8956 10213 0,'27'-13'16,"-1"13"0,1 0-16,12 0 0,14-14 0,0 14 15,0-13-15,0 13 0,0 0 0,0-13 16,13 13-16,0-13 0,0 13 16,0-13-16,-13 13 0,0-14 0,0 14 15,0 0-15,0-13 0,-13 13 0,-1-13 16,-12 13-16,-1 0 0,1-13 15,-1 13-15,-13 0 0,1 0 0,12-14 16,-13 14-16,0 0 0,1 0 16,-1 0-16,0-13 15,0 13-15,1 0 16,-1 0-16,-13-13 16,13 13-1</inkml:trace>
  <inkml:trace contextRef="#ctx0" brushRef="#br2" timeOffset="-49744.57">10107 9988 0,'27'13'31,"-14"-13"-31,0 13 0,0-13 15,14 14-15,-14-14 0,0 13 16,0-13-16,1 13 0,-1 0 16,0-13-16,0 14 0,1-1 15,-1 0-15,-13 0 16,0 1-16,-13-1 16,13 0-16,-14-13 0,1 13 15,0 0-15,0 1 0,-14-14 0,14 13 16,0-13-16,-14 13 0,1-13 0,-1 13 15,1-13-15,-1 0 16</inkml:trace>
  <inkml:trace contextRef="#ctx0" brushRef="#br2" timeOffset="-49196.82">8943 10094 0,'0'26'15,"-13"-12"1,13-1-16,-14 0 0,14 0 16,-13 14-16,13-14 0,-13 0 0,0 0 15,13 1-15,0-1 16,0 0-16,13 0 15,0-13-15,0 0 16,1 14-16,-1-14 16,0 0-16,14 0 0,-1 0 0,1 0 15,-14 0-15,13 0 0,1 13 16</inkml:trace>
  <inkml:trace contextRef="#ctx0" brushRef="#br2" timeOffset="-47815.04">9419 10808 0,'-13'-26'31,"13"13"-31,-13-1 16,13 1-16,0 0 0,0 0 0,0-1 16,0 1-16,0 0 15,0 0-15,13 13 31,0 13-31,0 0 16,1 0-16,-1 1 0,0-1 16,0-13-16,-13 13 15,14-13-15,-1 0 0,0 0 16,0 0-16,-13-13 16,13 13-1,-13-13-15,0-1 0,0 1 16,0 0-16,0 0 0,0-1 15,0 1 1,0 0-16,0 0 16,-13 13-16,26-13 31</inkml:trace>
  <inkml:trace contextRef="#ctx0" brushRef="#br2" timeOffset="-47551.4">9604 10610 0,'0'0'16,"27"39"0,-14-25-16,0-1 15,1-13-15,-1 13 0,0-13 16,0 0-16,0 0 16,1 0-16,-1-13 0,0 13 15,0 0-15,-13-13 0,14-1 0,-14 1 16,0 0-16,0 0 15,-14 0-15,14-1 0,-13 1 16,0 13-16,13-13 0,-13 13 16,-1 0-16,-12 0 15,13 0-15,0 0 16,-1 13-16,14 0 16,-13-13-16</inkml:trace>
  <inkml:trace contextRef="#ctx0" brushRef="#br2" timeOffset="-46800.62">14248 9737 0,'-13'0'0,"-14"13"31,14-13-31,0 13 0,-1 0 16,1-13-16,13 14 16,-13-1-1,13 0-15,-13 0 0,13 0 16,13-13-1,-13 14-15,13-14 16,0 0-16,1 0 16,-1 0-16,0 13 0,0-26 15,1 13-15,-1 0 0,0 0 0,0 0 16,1 0-16,-14-14 0,13 14 16</inkml:trace>
  <inkml:trace contextRef="#ctx0" brushRef="#br2" timeOffset="-46419.19">14155 9856 0,'-13'0'0,"13"-14"0,-13 14 15,39-13 1,-13 13 0,1 0-16,12 0 15,-13-13-15,14 13 0,-14 0 0,14 0 0,12-13 16,-12 13-16,-1 0 0,27 0 15,-13-13-15,13 13 0,0 0 0,-1-14 16,1 14-16,0 0 0,27-13 0,-14 13 16,13-13-16,-13 13 0,14-13 15,-14 13-15,13-14 0,-13 14 16,1-13-16,-1 13 0,-13-13 0,0 13 16,39-13-16,-65 13 15,-1-13-15,0 13 0,-12 0 0,-1 0 16,0 0-16,0 0 0,1-14 15,-1 14-15,-26-13 47,-14 26-15</inkml:trace>
  <inkml:trace contextRef="#ctx0" brushRef="#br2" timeOffset="-46116.7">15610 9578 0,'14'26'31,"-1"-26"-31,0 14 16,0-1-16,1-13 0,-1 13 15,0 0-15,0-13 0,0 14 16,-13-1-16,14-13 0,-14 13 0,0 0 16,0 0-16,-14 1 15,1-1-15,0 0 0,0 0 16,-14 1-16,1-1 0,-1 13 0,1-13 15,-14 1-15,14-1 0,-14 0 0,0 0 16</inkml:trace>
  <inkml:trace contextRef="#ctx0" brushRef="#br2" timeOffset="-45613.6">14684 10094 0,'-13'0'15,"-40"26"1,40-12-16,0-1 0,0 0 16,-1 0-16,14 0 15,-13-13-15,13 14 0,0-1 0,0 0 16,0 0 0,13-13-16,-13 14 0,14-14 0,-1 0 15,-13 13-15,13-13 0,0 0 16,0 0-16,1 0 0,-1 0 0,0 0 15,0 0-15,1-13 0,12 13 0,-13 0 16,14-14-16</inkml:trace>
  <inkml:trace contextRef="#ctx0" brushRef="#br2" timeOffset="-45188.54">14975 10200 0,'0'13'0,"-13"0"31,0-13-15,0 0-16,-1 0 16,1 0-16,13-13 15,-13 0-15,0-1 16,0 1-16,13 0 0,0 0 0,-14 0 16,14-1-16,0 1 15,0 0-15,14 0 0,-14-1 16,13 14-1,0 0-15,0 0 16,-13 14 0,-13 12-16,0-13 15,0 1-15,13-1 0,-14 0 16,1-13-16,13 13 0,-13-13 0,13 13 16,-13-13-16,13 14 0,-14-14 15,41 13 16,-14-26-31,0 13 16,1 0-16,-1 0 0,0 0 16,0 0-16,0-14 0,1 14 0,-1 0 15,0 0-15,0 0 0,1-13 0,-1 13 16</inkml:trace>
  <inkml:trace contextRef="#ctx0" brushRef="#br2" timeOffset="-44754.56">15147 10160 0,'-13'13'16,"0"0"0,13 1-16,0-1 15,-13-13 1,13 13-16,13-53 62,-13 27-62,0 0 0,0 0 0,0 0 16,0-1-16,13 1 0,-13 0 16,13 0-16,-13-1 15,14 14-15,-1 0 16,0 0-16,0 14 16,1-14-16,-14 13 0,13 0 15,0 0-15,-13 1 16,13-1-16,-13 0 0</inkml:trace>
  <inkml:trace contextRef="#ctx0" brushRef="#br2" timeOffset="-44604.42">15094 10226 0,'0'0'15,"-13"-13"-15,40 13 16,-27-13-1,13 13-15,0 0 0,0-14 0,1 14 0,-1 0 16,0 0-16,0 0 0</inkml:trace>
  <inkml:trace contextRef="#ctx0" brushRef="#br2" timeOffset="-43939.67">14896 10610 0,'0'-27'0,"13"1"31,-13 13-31,13 26 16,1-13-1,-14 13-15,13-13 16,-13 13-16,13-13 0,-13 14 16,13-14-16,-13 13 0,14-13 15,-1 0-15,0 0 16,-13-13-16,13 13 15,-13-14-15,14 14 0,-14-13 16,0 0-16,13 13 0,-13-13 16,0-1-16,13 14 0,-13-13 15,0 0-15,13 13 16,-13-13-16,13 13 0,1-13 16,-1 13-16,0-14 15,0 28 16,-13-1-15,0 0-16,14 0 16,-14 0-16,13-13 15,0 14-15,0-14 16,1 0-16,-1 0 0,0 0 16,0 0-16,0-14 15,1 14-15,-14-13 0,0 0 16,0 0-16,0 0 15,-14 13-15,14-14 0,-13 14 16,0-13-16,0 13 0,0 0 0,-14-13 16,14 13-16,0 0 0,-1 0 15,1 0 1</inkml:trace>
  <inkml:trace contextRef="#ctx0" brushRef="#br2" timeOffset="-43227.83">19301 9472 0,'-13'-13'0,"0"13"0,0 0 16,-1 0-16,1 13 0,0-13 0,-66 40 31,65-40-31,-12 13 0,13 0 0,-1-13 16,1 13-16,0 1 0,0-14 0,0 13 15,13 0-15,-14-13 0,14 13 16,-13-13-16,13 14 0,0-1 16,13 0-16,1-13 0,-1 13 15,0 1-15,0-14 16,0 0-16,1 13 0,-1-13 0,0 0 15,0 0-15,1 0 0,-1 0 16,0 0-16,0 0 0</inkml:trace>
  <inkml:trace contextRef="#ctx0" brushRef="#br2" timeOffset="-42856.39">19050 9618 0,'0'0'15,"40"0"1,-27 13 0,13-13-16,1 13 0,52 14 15,-39-14-15,0 0 0,52 13 16,-52-12-16,0-1 0,52 13 16,-52-12-16,13-1 15,-14 0-15,1 0 0,13 0 0,-13 1 16,-1-1-16,1-13 0,0 13 0,-14 0 15,1-13-15,12 0 0,-12 14 0,-1-14 16,1 0-16,-1 0 0,1 13 16,-14-13-16,13 0 0,-12 0 0,12 0 15,-13 0-15,1 0 0,-1 0 0,0 0 16,0 0 0,0 0-16,1 0 0,-1 0 15,0-13-15,-13-1 31,-13 1-15</inkml:trace>
  <inkml:trace contextRef="#ctx0" brushRef="#br2" timeOffset="-42587.45">20320 9763 0,'13'13'32,"0"1"-17,14-1-15,-14 0 16,0 0-16,1 0 16,-14 1-16,13-1 15,0 0-15,-13 0 0,0 1 0,0-1 16,-13-13-16,0 13 0,-1 0 15,1 1-15,0-1 0,0 0 16,-14 0-16,1 0 0,13-13 0,-14 14 0,-13-1 16,1 0-16,-1-13 0</inkml:trace>
  <inkml:trace contextRef="#ctx0" brushRef="#br2" timeOffset="-42131.19">19235 10213 0,'-13'0'0,"0"0"0,0 13 15,-1-13-15,1 13 0,-27 27 32,27-40-32,13 13 0,0 1 15,0-1-15,0 0 16,13 0-16,1 0 16,-1-13-16,0 0 0,0 14 0,1-14 15,-1 0-15,13 0 0,-13 0 0,1 0 16,12 0-16,1-14 0,-14 14 15</inkml:trace>
  <inkml:trace contextRef="#ctx0" brushRef="#br2" timeOffset="-41736.61">19566 10358 0,'-40'-13'31,"27"0"-31,0 13 0,0-13 15,-1 0-15,1-1 16,13 1-16,-13 0 0,13 0 16,0-1-16,0 1 0,0 0 0,0 0 15,0-1-15,0 1 0,13 0 0,0 0 16,1 13 0,-1 0-1,-26 13-15,13 13 16,-14-12-1,1-1-15,0 0 0,0 0 16,-1 1-16,1-1 0,0 0 16,0-13-1,13 13-15,-13-13 0,13 14 16,13-14 0,0 0-1,0 0-15,14 0 0,-14-14 16,0 14-16,0 0 0,14-13 0,-14 13 15,13-13-15,1 13 0,-14-13 16,14-1-16</inkml:trace>
  <inkml:trace contextRef="#ctx0" brushRef="#br2" timeOffset="-41374.42">19751 10173 0,'13'0'0,"-26"0"32,26 13-32,-13 1 15,-13-1-15,13 0 16,0 0-1,0 1-15,0-1 0,-13-13 0,13 13 0,0 0 16,0 1-16,0-1 16,0 0-16,-13 0 31,13-52-15,0 25-1,0 1-15,0 0 0,13-14 0,-13 14 16,13 0-16,-13 0 0,0-1 0,13 1 15,-13 0-15,14 13 0,-14-13 16,13 13-16,13 0 16,-26 13-16,14 0 15,-14 0-15,13-13 16,-13 14-16,0-1 0,0 0 16,0 0-16,13 1 15,-26 12-15,13-13 31</inkml:trace>
  <inkml:trace contextRef="#ctx0" brushRef="#br2" timeOffset="-41203.57">19711 10292 0,'0'0'16,"-13"0"-16,53-13 46,-27 13-46,0 0 16,1 0-16,12 0 0,-13 0 0,1-13 16,12 13-16,-13 0 0,0 0 15,1 0-15</inkml:trace>
  <inkml:trace contextRef="#ctx0" brushRef="#br2" timeOffset="-40257.99">19262 10649 0,'0'14'0,"-14"-41"31,14 14-15,0 0-16,14 0 15,-14-1-15,0 1 16,0 0-16,13 13 16,0 0-1,0 13 1,1 0-16,-14 1 15,13-1-15,0 0 16,0 0 15,1-26 1,-1 0-32,-13 0 15,13-1 1,-13 1-16,13 0 15,0 13-15,-13-13 16,14 13-16,-14-14 16,13 14-1,0 14 1,-13-1 0,0 0-16,0 0 15,13 1 1,1-1-16,-1-13 15,0 0-15,0 0 0,0 0 16,1 0-16,-1-13 0,0 13 16,0 0-16,1-14 0,-1 1 15,-13 0-15,-13 0 16,-1 13 0,1 0-16,0 0 15,0 0-15,-14 0 0,14 0 16,-27 13-16,14-13 0</inkml:trace>
  <inkml:trace contextRef="#ctx0" brushRef="#br2" timeOffset="-39419.35">9353 11073 0,'-13'26'0,"0"-13"0,13 14 31,0-14-31,13 0 16,0-13-16,-13 14 15,13-14-15,0 0 16,1 0-16,12 0 16,-13 0-16</inkml:trace>
  <inkml:trace contextRef="#ctx0" brushRef="#br2" timeOffset="-39019.51">9723 11112 0,'-39'0'15,"26"0"1,13-13-16,-27 13 15,27-13-15,-13 13 0,13-13 16,-13 0-16,-1-1 0,14 1 16,0 0-16,0 0 0,0-1 15,0 1-15,0 0 0,0 0 16,14 0-16,-1 13 16,0 13-1,-13 0-15,-13 13 16,13-12-16,0-1 0,-13-13 15,13 13-15,-14 0 0,14 1 16,0-1-16,-13-13 0,13 13 16,0 0-16,-13-13 0,13 13 0,13 1 31,0-28-15,1 14-16,-14-13 0,13 13 15,0-13-15,0 13 0,1-13 0,-1 0 16</inkml:trace>
  <inkml:trace contextRef="#ctx0" brushRef="#br2" timeOffset="-38695.7">9763 10980 0,'13'-26'32,"-26"52"-32,40-39 31,-27 26-15,0 0-16,0 1 15,13-1-15,-13 0 16,0 0-16,13-13 0,-13 14 0,0-1 15,0 0 1,0-53 15,0 14-15,0 13-16,0-1 16,13-25-16,-13 26 15,13-1-15,1 14 16,-14-13-16,26 13 0,-26 13 15,13-13-15,1 0 0,-1 14 16,0-14-16,-13 13 0,13-13 16,1 13-16,-1 0 15</inkml:trace>
  <inkml:trace contextRef="#ctx0" brushRef="#br2" timeOffset="-38520.62">9842 11020 0,'0'0'16,"14"-13"-1,-14-1 1,13 14-16,0 0 0,0-13 0,1 13 0,-1-13 16,0 13-16,0 0 15,1-13-15,-1 13 0,13-13 0,-13 13 16,1-14-16</inkml:trace>
  <inkml:trace contextRef="#ctx0" brushRef="#br2" timeOffset="-36396.6">9181 7977 0,'0'13'31,"13"1"-15,1-1-16,12 0 31,-13-13-31,0-13 0,1 13 0,-1-13 16,0 13-16,-13-14 0,13 1 15,1 0 1,-14 39 0,0-12-1,0-1-15,0 0 16,0 0-16,0 1 0,0-1 0,0 0 16,0 0-16,0 0 15,0 1-15,0-1 0</inkml:trace>
  <inkml:trace contextRef="#ctx0" brushRef="#br2" timeOffset="-36152.89">9009 7964 0,'0'26'0,"0"-52"16,-13 79-16,13-40 0,13 0 0,-13 1 0,0 12 16,13-13-16,-13 14 0,14-1 0,-14 1 15,13-14-15,0 13 0,0-12 16,0 12-16,1-13 0,-1 0 0,0 1 16,14-14-16,-14 13 0,0-13 0,0 0 15,14 0-15,-14 0 0</inkml:trace>
  <inkml:trace contextRef="#ctx0" brushRef="#br2" timeOffset="-35944.6">9353 7766 0,'40'13'0,"-80"-26"0,106 39 16,-53-26-16,14 13 0,-1 14 0,-12-1 15,12 1-15,-13-1 0,14 1 0,-14-1 16,0 0-16,-13 1 0,13-1 0,-13 14 16,0-14-16,0 1 0,0-1 15,0 1-15,0-1 0,0 1 0</inkml:trace>
  <inkml:trace contextRef="#ctx0" brushRef="#br2" timeOffset="-35260.59">10941 8890 0,'39'26'31,"-26"-12"-15,1-14-16,-1 0 0,0 0 16,0 0-16,1-14 15,-1 14-15,0-13 0,0 0 16,0 13-16,-13-13 0,14 0 15,-14-1 1,13 1-16,-26 53 47,13-27-47,0 0 0,0 0 16,-14 1-16,14-1 0,0 0 15,0 0-15,0 1 0,-13-14 16,13 13-16,0 0 0</inkml:trace>
  <inkml:trace contextRef="#ctx0" brushRef="#br2" timeOffset="-35056.71">10821 8824 0,'-13'26'0,"13"80"31,0-79-31,13-1 16,-13 1-16,14-1 0,-1 0 15,0-12-15,0-1 0,1 13 0,-1-26 16,0 14-16,14-14 0,-14 13 0</inkml:trace>
  <inkml:trace contextRef="#ctx0" brushRef="#br2" timeOffset="-34864.43">11245 8718 0,'13'0'16,"-26"0"-16,39 13 0,-13-13 0,1 13 0,-1-13 16,0 14-16,0-1 0,-13 0 15,14 0-15,-1 14 0,0-14 0,-13 14 16,13 12-16,1-12 0,-28-1 15,28 1-15,-14-1 0,0 1 0,0-14 16</inkml:trace>
  <inkml:trace contextRef="#ctx0" brushRef="#br2" timeOffset="-34116.47">14380 7924 0,'0'27'31,"0"-14"-31,13 0 16,-13 0-1,14-13-15,-1 0 0,0 0 16,0 0-16,-13-13 15,13 13-15,1 0 0,-1-13 16,0 0-16,0 13 16,-13-13-16,-13 39 31,13-13-31,-13-13 0,13 13 16,-13 1-16,13-1 0,-14 0 0,14 0 15,-13 1-15,0-1 0,13 0 0,0 0 16,-13-13-16,13 13 0,-13 1 15</inkml:trace>
  <inkml:trace contextRef="#ctx0" brushRef="#br2" timeOffset="-33929.5">14274 7898 0,'-39'79'16,"39"-66"0,-14 14-16,14-14 0,14 14 0,-14-14 15,0 0-15,0 13 0,13-12 16,-13-1-16,13 0 0,0 0 16,1-13-16</inkml:trace>
  <inkml:trace contextRef="#ctx0" brushRef="#br2" timeOffset="-33723.42">14658 7805 0,'13'13'16,"-26"-26"-16,39 26 0,1 14 0,-14-1 15,14 1-15,-14-14 0,0 14 0,0 12 16,-13-12-16,13 12 0,-13 1 15,0 0-15,-13-1 0,0 1 16,13 0-16,-13-1 0,0 1 0,-1-13 16,1-1-16</inkml:trace>
  <inkml:trace contextRef="#ctx0" brushRef="#br2" timeOffset="-32965.72">19831 8017 0,'-14'66'32,"28"-53"-32,-14 0 15,0 1-15,0-1 0,13 0 0,-13 0 16,13 1-16,-13-1 0,13 0 15,0-13-15,-13 13 0,14-13 0,-14 14 16,13-14-16,0 0 0,0 0 16</inkml:trace>
  <inkml:trace contextRef="#ctx0" brushRef="#br2" timeOffset="-32628.72">20042 8004 0,'0'0'0,"-13"13"31,13 0-31,0 0 0,0 1 16,13-1-16,-13 0 15,13-13-15,-13 13 16,14-13-16,-1 0 16,0 0-16,0 0 0,1-13 15,-1 13-15,0 0 16,-13-13-16,13 13 0,0-13 0,1-1 15,-14 41 32,-14-27-47,14 13 0,0 0 0,-13 0 16,13 1-16,-13-1 0,13 13 16,-13-12-16,13-1 0,0 0 0,-13 0 15,13 1-15,0-1 0,-14 0 0,14 0 16</inkml:trace>
  <inkml:trace contextRef="#ctx0" brushRef="#br2" timeOffset="-32331.87">20320 7885 0,'40'26'0,"-80"-52"0,80 65 0,-27-25 15,0-1-15,0 0 0,1 0 0,-1 27 16,0-14-16,0 14 0,-13-14 0,0 14 15,0 0-15,-13 0 0,13-14 16,-13 14-16,0-1 0,-1-12 0,1-1 16,0 1-16,13-14 0,-13 0 0,-1 0 15</inkml:trace>
  <inkml:trace contextRef="#ctx0" brushRef="#br2" timeOffset="-8033.36">860 1455 0,'26'0'125,"67"0"-109,66 0-16,79 0 15,119 0-15,119 0 16,27 0-16,-80 0 16,-66 0-16,-26 0 15,-106 0-15,-93 0 16,-13 0-16,-79 0 15,-27 0-15</inkml:trace>
  <inkml:trace contextRef="#ctx0" brushRef="#br0" timeOffset="-38316.28">23442 7342 0,'40'0'0,"79"-13"31,-93 13-31,1-13 0,-1 13 0,14 0 16,-14 0-16,-12 0 0,12 0 0,0 0 15,-12 0-15,12 13 0,-13-13 16,1 13-16,-1 0 0,0 14 0,0-14 16,1 14-16,-14 12 0,13 1 0,-13 0 15,0-1-15,13 1 0,-13 13 16,13 0-16,0 0 0,1 13 0,-1-13 16,0 13-16,0 0 0,1 0 0,12 14 15,-13-14-15,1 13 16,-1 1-16,0-14 0,13 13 0,-12 0 15,-1 1-15,0-1 0,0 1 0,1-1 16,-1-13-16,0 13 0,0-12 16,1 12-16,-1 0 0,0-13 0,0 1 15,0-1-15,1 0 0,-1 0 0,-13 0 16,13-13-16,-13 13 0,13-26 0,-13 13 16,0-13-16,0 12 0,0-12 15,0 0-15,0-14 0,0 14 16,0-14-16,0 1 0,0-1 0,0 1 0,0-14 15,0 14-15,0-14 16,0 13-16,0-13 0,0 1 0,0-1 16,0 0-16,-13 0 15,13 1-15,-13-1 16,0-13-16,-1 0 16,1 0-16,-13 13 0,-14-13 0,-13 13 15,-13 1-15,-13-14 0,-1 13 0,1 0 16,-14 0-16,-39 0 0,13 1 15,-13-1-15,-1 0 0,14 0 0,-26 1 16,12 12-16,1-13 0,13 0 0,-13 14 16,26-14-16,0-13 15,14 13-15,12 1 0,-12-1 0,12-13 0</inkml:trace>
  <inkml:trace contextRef="#ctx0" brushRef="#br0" timeOffset="-36178.88">22781 11351 0,'-27'53'0,"54"-106"0,-67 119 0,27-40 15,13 1-15,-14-1 0,1 1 0,0-1 16,13 1-16,-13-1 0,13 0 0,0-12 16,0 12-16,13-13 15,-13 1-15,0 12 0,13-13 0,0-13 0,1 14 16,-1-14-16,0 0 0,0 0 16,14 0-16,-14-14 0,27 1 0,-14 0 15,1-14-15,12 14 0,-12-13 16,-14 12-16,0 14 0,1-13 0,-1 13 15,0-13-15,0 13 16,0 13-16,-13 0 16,14-13-16,-14 14 0,0-1 0,0 0 15,13 0-15,0 1 0,-13-1 16,13-13-16,-13 13 0,14-13 16,-14 13-16,13-13 0,0-13 15,-13 0 1,13 0-16,-13-1 0,-13 1 15,13 0-15,-13 0 0,13-1 16,-13 14-16,-1-13 0,14 0 0,-13 0 16,0 0-16,0-1 0,-1 1 31,28 0-15,-1 13-16,0 0 0,0 0 15,1 0-15,-1 0 0,0 0 16,0 0-16,1 0 0,-1 0 15,0 0-15,13 0 16,-12 0 0,-1 0-16,0 0 15,0 0 1,-13 13-16,14-13 16,-1 0-16,0 0 31,0-13-31,0 13 0,-13-13 15,14-1-15,-1 1 0,-13 0 0,13 0 16,0-1-16,-13 1 16,14 0-16,-14-13 0,13 12 0,-13 1 15,0-13-15,13 12 0,-13 1 0,0 0 0,0 0 16,13-1 0,-13 1-16,0 53 15,0-27 1,0 14-16,0-1 0,0 14 0,0-1 15,0 14-15,0-13 0,-13 13 16,13-13-16,0 13 0,-13-14 16,13 1-16,-13 0 0,13-1 0,-14 1 15,1-14-15,13-12 0,-13 12 0,13-13 16,-13 1-16,-1-1 0,-12-26 16,26-1-1,0 1-15,0 0 16,0-14-16,13 14 0,-13-13 15,13-1-15,1 1 0,-1-1 0,0-12 16,14 12-16,-14 1 0,13-14 0,-12 14 16,12-1-16,-13 1 0,14 13 15,-14-1-15,0 1 0,0 0 0,1 0 16,-1 13 0,-13 13-16,0 0 15,0 0-15,0 1 16,0-1-16,13 0 15,-13 0-15,0 0 0,13 1 32,1-28-17,-1 14-15,-13-13 0,0 0 0,13 0 16,-13 0-16,0-1 0,-13 1 16,13 0-16,-13 0 15,-1 13 1,14-14-1,14 28 17,-1-14-17,0 0-15,13 0 16,-12 0 0,12 0-16,-13 0 15,1 0-15,-1 0 0,0 0 16,0 0-16,0 0 15,1 0 1,-1 0-16,0-14 16,0 14-1</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005"/>
    </inkml:context>
    <inkml:brush xml:id="br0">
      <inkml:brushProperty name="width" value="0.025" units="cm"/>
      <inkml:brushProperty name="height" value="0.025" units="cm"/>
      <inkml:brushProperty name="ignorePressure" value="1"/>
    </inkml:brush>
  </inkml:definitions>
  <inkml:trace contextRef="#ctx0" brushRef="#br0">19 4,'0'-3,"0"5,0 6,0 5,0 3,0 3,0 0,0 2,0-1,0 1,0-1,-4 0,0-1,-1 1,2-1,1-3</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318"/>
    </inkml:context>
    <inkml:brush xml:id="br0">
      <inkml:brushProperty name="width" value="0.025" units="cm"/>
      <inkml:brushProperty name="height" value="0.025" units="cm"/>
      <inkml:brushProperty name="ignorePressure" value="1"/>
    </inkml:brush>
  </inkml:definitions>
  <inkml:trace contextRef="#ctx0" brushRef="#br0">0 12,'10'0,"6"0,4 0,2 0,1 0,-1 0,-1 0,0 0,-1-3,0-2,-4 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933"/>
    </inkml:context>
    <inkml:brush xml:id="br0">
      <inkml:brushProperty name="width" value="0.025" units="cm"/>
      <inkml:brushProperty name="height" value="0.025" units="cm"/>
      <inkml:brushProperty name="ignorePressure" value="1"/>
    </inkml:brush>
  </inkml:definitions>
  <inkml:trace contextRef="#ctx0" brushRef="#br0">18 1,'5'11,"-1"0,0 0,-1 0,0 1,-1 0,0 0,-1-1,0 1,-2 24,-4 7,-14 60,4-19,12-67</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389"/>
    </inkml:context>
    <inkml:brush xml:id="br0">
      <inkml:brushProperty name="width" value="0.025" units="cm"/>
      <inkml:brushProperty name="height" value="0.025" units="cm"/>
      <inkml:brushProperty name="ignorePressure" value="1"/>
    </inkml:brush>
  </inkml:definitions>
  <inkml:trace contextRef="#ctx0" brushRef="#br0">0 39,'240'-9,"7"-1,-107 0,-8 0,-115 1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980"/>
    </inkml:context>
    <inkml:brush xml:id="br0">
      <inkml:brushProperty name="width" value="0.025" units="cm"/>
      <inkml:brushProperty name="height" value="0.025" units="cm"/>
      <inkml:brushProperty name="ignorePressure" value="1"/>
    </inkml:brush>
  </inkml:definitions>
  <inkml:trace contextRef="#ctx0" brushRef="#br0">145 1,'-132'122,"131"-122,0 1,0 0,0-1,1 1,-1 0,0 0,0 0,1 0,-1 0,0-1,1 1,-1 1,1-1,-1 0,1 0,0 0,-1 0,1 0,0 0,0 0,0 0,0 1,0-1,0 0,0 0,0 0,0 2,1-2,0 0,1 1,-1-1,0 0,0 0,0 0,1 0,-1 0,1 0,-1 0,1 0,-1-1,1 1,-1 0,4 0,7 2,0-1,0 0,22 0,12-2,174-3,-202 0,-1-1</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7.736"/>
    </inkml:context>
    <inkml:brush xml:id="br0">
      <inkml:brushProperty name="width" value="0.025" units="cm"/>
      <inkml:brushProperty name="height" value="0.025" units="cm"/>
      <inkml:brushProperty name="ignorePressure" value="1"/>
    </inkml:brush>
  </inkml:definitions>
  <inkml:trace contextRef="#ctx0" brushRef="#br0">104 1,'-2'9,"0"0,0 0,-1 0,-1-1,-6 14,-11 30,1 34,-13 39,27-107</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8.679"/>
    </inkml:context>
    <inkml:brush xml:id="br0">
      <inkml:brushProperty name="width" value="0.025" units="cm"/>
      <inkml:brushProperty name="height" value="0.025" units="cm"/>
      <inkml:brushProperty name="ignorePressure" value="1"/>
    </inkml:brush>
  </inkml:definitions>
  <inkml:trace contextRef="#ctx0" brushRef="#br0">18 1,'0'7,"0"5,0 4,0 2,0 2,0 1,0 0,-3-1,-1 1,-1-2,2 1,0-4</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9.116"/>
    </inkml:context>
    <inkml:brush xml:id="br0">
      <inkml:brushProperty name="width" value="0.025" units="cm"/>
      <inkml:brushProperty name="height" value="0.025" units="cm"/>
      <inkml:brushProperty name="ignorePressure" value="1"/>
    </inkml:brush>
  </inkml:definitions>
  <inkml:trace contextRef="#ctx0" brushRef="#br0">0 20,'7'-3,"5"-2,4 1,3 1,1 0,1 2,-4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048"/>
    </inkml:context>
    <inkml:brush xml:id="br0">
      <inkml:brushProperty name="width" value="0.025" units="cm"/>
      <inkml:brushProperty name="height" value="0.025" units="cm"/>
      <inkml:brushProperty name="ignorePressure" value="1"/>
    </inkml:brush>
  </inkml:definitions>
  <inkml:trace contextRef="#ctx0" brushRef="#br0">55 0,'-3'7,"-1"5,0 4,0 3,2 1,-3-3,0 0,1-1,0 1,2 0,-3 2,0-1,1 2,0-4</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696"/>
    </inkml:context>
    <inkml:brush xml:id="br0">
      <inkml:brushProperty name="width" value="0.025" units="cm"/>
      <inkml:brushProperty name="height" value="0.025" units="cm"/>
      <inkml:brushProperty name="ignorePressure" value="1"/>
    </inkml:brush>
  </inkml:definitions>
  <inkml:trace contextRef="#ctx0" brushRef="#br0">1 23,'562'-15,"-529"12,-9 0,1 2,0 0,0 1,40 7,-48-3</inkml:trace>
</inkml:ink>
</file>

<file path=ppt/ink/ink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12:22.823"/>
    </inkml:context>
    <inkml:brush xml:id="br0">
      <inkml:brushProperty name="width" value="0.05292" units="cm"/>
      <inkml:brushProperty name="height" value="0.05292" units="cm"/>
      <inkml:brushProperty name="color" value="#C00000"/>
    </inkml:brush>
    <inkml:brush xml:id="br1">
      <inkml:brushProperty name="width" value="0.05292" units="cm"/>
      <inkml:brushProperty name="height" value="0.05292" units="cm"/>
      <inkml:brushProperty name="color" value="#0070C0"/>
    </inkml:brush>
  </inkml:definitions>
  <inkml:trace contextRef="#ctx0" brushRef="#br0">1032 1270 0,'0'13'32,"26"14"-32,40-14 15,27 27-15,66-27 16,26 0-16,40 27 16,92-40-16,80 0 15,-26 0-15,12 0 16,14 0-16,0 0 15,-66 0-15,-14 0 16,-26 0-16,-92 0 16,-14 0-16,-26 0 15,-27 0-15,-53 0 16,14 0-16,-66 0 16,12 0-16,-26 0 15,1 0-15</inkml:trace>
  <inkml:trace contextRef="#ctx0" brushRef="#br0" timeOffset="2214.33">20095 450 0,'0'26'0,"0"-13"16,0 1-16,0-1 0,0 0 16,0 0-16,0 1 0,0-1 15,0 0-15,0 0 0,0 1 0,0-1 16,0 0-16,0 0 15,-13 0-15</inkml:trace>
  <inkml:trace contextRef="#ctx0" brushRef="#br0" timeOffset="2403.87">20069 357 0,'0'-13'16</inkml:trace>
  <inkml:trace contextRef="#ctx0" brushRef="#br0" timeOffset="2758.17">20254 476 0,'0'13'16,"-13"40"-1,13-39-15,0-1 16,0 0-16,0 0 16,13-26 31,0 0-47,-13 0 0,13 13 15,-13-14-15,14 14 0,-14-13 16,13 13-16,0 0 0,0 0 15,0 0-15,1 0 0,-1 0 16,0 0-16,-13 13 0,13-13 16,1 14-16,-14-1 0,13-13 15,-13 13-15,13-13 0,0 13 0,1 1 16</inkml:trace>
  <inkml:trace contextRef="#ctx0" brushRef="#br0" timeOffset="3706.02">20796 357 0,'-26'40'16,"13"-27"-1,13 0-15,0 1 0,0-1 16,-14 0-16,14 0 0,0 0 15,0 1-15,14-14 0,-14 13 0,13 0 32,-26-26-1,-1 0-15,1 13-1,0 13-15,0-13 0,-1 0 16,1 13-16,0-13 0,13 13 0,-13-13 15,13 14-15,-13-14 0,13 13 16,0 0 0,13-13-16,-13 13 0,26-13 15,-13 0-15,1 0 0,-1 0 16,13-13-16,1 13 0,-1 0 0,1-13 16,-14 13-16,13-13 0,-12 13 15,12-14-15,-13 14 0,1 0 16,-14-13-16,13 13 0,0-13 0,-13 0 15,0-1 1,-13 28 0,0-14-1,-1 13-15,1-13 16,13 13-16,0 0 31,13-13-31,1 14 0,-1-14 16,0 0-16,0 0 0,0-14 15,1 14-15,-1 0 0,-13-13 16,13 13-16,0-13 0,1 13 16,-14-13-16,13-1 0,0 14 0,-13-13 15,13 0-15,-13 0 0,0 0 0,14 13 16,-14-14-16,0 1 0,13 0 16,-13 39 15,0-12-16,0-1-15,0 13 0,0-13 16,0 1-16,0-1 0,0 13 16,0-12-16,0-1 0,0 13 0,0-12 15,0-1-15,0 0 0,0 0 0,0 0 16,0 1-16,0-1 16,0 0-16,-13-13 0,13-26 31,0 12-16,13-12-15,-13 13 0,0-14 0,13 1 16,-13-1-16,13 14 0,-13-13 16,13 12-16,-13 1 0,14 0 0,-1 0 15,0 13-15,0 0 16,-13 13 0,0 0-16,-13 0 15,13 1-15,-13-14 16,0 13-16,13 0 0,-14-13 0,-12 13 15,13-13-15,0 14 0,-1-14 16,1 13-16</inkml:trace>
  <inkml:trace contextRef="#ctx0" brushRef="#br0" timeOffset="4496.2">20452 833 0,'-13'67'32,"13"-41"-32,0-13 0,0 27 15,0-27-15,0 14 0,0-14 16,13 0-16,-13 0 0,0 1 0,0-1 16,0 0-16,14 0 0,-14 0 15,0-39 16,-14 26-31,14-13 0,-13 0 16,0-1-16,13 1 0,-13 13 16,-1 0-16,-12 0 15,13 0 1,-1 13-16,1-13 0,0 14 16,0-1-16,0 0 0,-1 0 15,14 0-15,0 1 16,0-1-16,14-13 15,-1 0 1,0 0-16,0 0 0,14-13 16,-1 13-16,-13-14 0,14 14 0,-1-13 15,1 0-15,-1 13 0,-13-13 0</inkml:trace>
  <inkml:trace contextRef="#ctx0" brushRef="#br0" timeOffset="5090.18">20651 1045 0,'-27'13'16,"14"1"-16,26-1 31,1-13-15,-1 0-16,0 0 16,0 0-16,0 0 0,-13-13 15,14 13-15,-1-14 0,0 1 16,0 0-16,-13 0 0,0-1 15,14 1-15,-14-13 0,0 12 16,0 1-16,0 0 16,0 0-16,0 0 0,0-1 15,-14 14-15,14 14 32,-13-1-32,13 0 0,0 0 0,0 0 15,0 1-15,0-1 0,0 0 16,0 14-16,0-14 0,13 13 15,-13-12-15,0-1 0,0 0 0,14 13 16,-14-12-16,0-1 0,0 0 16,13 0-16,-13 1 15,0-1-15,0 0 16,13-39 15,-13 12-31,0 1 16,0 0-16,0-14 0,13 1 0,-13 0 15,0-1-15,13-13 0,1 14 16,-14 13-16,13-1 0,-13 1 0,13 0 16,0 0-16,1 13 0,-14-13 15,13 13-15,13 0 16,-12 13-16,-14 0 16,0 0-1,0 0-15,-14-13 0,14 14 16,-13-14-16,13 13 0,-13-13 15,0 13-15,-1-13 0,1 13 0,0-13 16,13 14-16,-13-14 0,-1 0 0</inkml:trace>
  <inkml:trace contextRef="#ctx0" brushRef="#br0" timeOffset="7289.72">20611 1442 0,'-26'0'32,"12"13"-32,1 0 0,13 1 15,-13-1-15,0 0 0,-1 14 0,1-14 0,13 0 16,-13 0-16,13 1 0,-13-1 15,13 0-15,0 0 0,0 0 16,0 1-16,13-1 16,0-13-16,0 0 0,1 0 15,-1-13-15,13 13 0,-12-14 16,-1 1-16,13 13 0,-12-13 0,-1 0 16,0 0-16,0 13 0,0-14 15,14-12 16,-14 39-31,-13 0 0,0 1 16,13-1-16,-13 0 16,14-13-16,-14 13 15,13-13-15,0 0 0,0 0 16,0 0-16,1 0 0,-1 0 0,0-13 16,0 13-16,1 0 0,-14-13 15,13 0-15,-13-1 0,13 1 16,-13 0-16,-13 0 15,0 13-15,13-14 16,-14 14-16,1 0 0,0 0 16,0 0-1,-1 0-15,41 0 47,-14-13-47,0 13 0,1 0 0,-1 0 16,0 0-16,0 0 0,1 0 15,-1 0-15,0 0 16,0 13-16,0-13 16,-13 14-16,14-14 0,-14 13 0,13 0 15,-13 0 1,0 1 0,13-14-16,-13-14 31,13 1-31,1 0 15,-1 0-15,0 13 16,0-14-16,1 14 16,-1 0-1,0 14-15,0-1 16,0-13 0,-13 13-16,14-13 15,-1 0-15</inkml:trace>
  <inkml:trace contextRef="#ctx0" brushRef="#br0" timeOffset="7495.79">21339 1257 0,'0'-13'0,"13"39"32,-13-13-17,0 0-15,0 14 0,0-1 0,0-12 16,0 12-16,0-13 0,0 14 15,0-14-15,0 13 0,13-12 0,-13-1 16,0 0-16,13 0 0,-13 1 16,14-14-16,-14 13 15</inkml:trace>
  <inkml:trace contextRef="#ctx0" brushRef="#br0" timeOffset="8130.84">21299 1455 0,'0'0'0,"0"-13"0,13 13 16,0-13 0,1 13-16,12 0 15,-13 0-15,1 0 16,-1 0-1,0 13-15,0-13 0,-13 13 0,13-13 16,-13 13-16,14-13 0,-14 14 0,13-1 16,-13 0-1,13-13-15,-13 13 16,13-13-16,1-13 31,-1 13-15,-13-13-16,13 13 0,-13-13 0,13 13 15,-13-14-15,14 1 0,-1 0 16,-13 0 0,13 13-16,0-13 15,0 13 1,1 0-16,-1 0 16,-13-14-16,13 14 0,0 0 15,1 0 16,-14 14-15,0-1 0,0 0-1,0 0-15,13-13 16,-13 13-16,13-13 16,0 0-1,1-13 1,-1 13-16,-13-13 15,0 0-15,0 0 32,-13-1-32,13 1 15,-14 0-15,14 0 16</inkml:trace>
  <inkml:trace contextRef="#ctx0" brushRef="#br0" timeOffset="8744.04">21683 172 0,'13'-13'16,"27"13"-16,-14 0 0,14 0 16,13 0-16,-27 0 0,1 0 15,-1 0-15,106 66 31,-132-53-31,13 14 0,1-14 16,-14 13-16,13 1 0,-13-1 16,13 1-16,0 39 15,-13-27-15,14-12 0,-1 52 16,0-39-16,0 0 0,1-14 0,-1 14 16,0 0-16,0-14 0,0 14 15,1-1-15,-1-12 0,13 39 16,-12-40-16,-1 1 0,0 13 0,0-14 15,-13 0-15,14-12 0,-14 12 0,13 1 16,-13-1-16,0-13 0,0 14 16,13-14-16,-13 0 0,0 14 0,0-14 15,0 0-15,-13 0 0,13 1 0,0-1 16,0 0-16,-13 0 16,13 1-16,-14-1 0,1 0 15,0 0-15,0 0 16,-1-13-16,1 14 0,0-1 0,-14-13 15,14 13-15,-13-13 0,13 13 16,-14-13-16,1 14 0,-1-14 0,1 0 16,-14 0-16,0 13 0,1-13 0,-1 13 15,0-13-15</inkml:trace>
  <inkml:trace contextRef="#ctx0" brushRef="#br0" timeOffset="11290.04">15875 291 0,'-13'27'0,"0"-27"0,13 39 15,0-26 1,0 1-16,0 12 0,0-13 0,0 1 16,13-1-16,-13 0 0,13 0 0,-13 0 15,13-13-15,-13 14 0,13-14 16,1 13-16,-1-13 16,0 0-16,14 0 0,-27-13 15,13 13-15,0-14 0,0 1 0,-13 0 16,14 0-16,-14 0 0,13-1 15,-26 1-15,13-13 0,0-1 0,-14 14 16,1-27-16,0 14 0,13 13 0,-13-1 16,-1-12-16,1 13 0,0-1 15,0 1-15,-1 0 0,1 13 16,0 13-16,13 0 0,-13 1 16,13-1-16,0 13 15,13-12-15,-13-1 0,13 13 0,-13-12 16,13 12-16,1-13 0,-1 14 15,0-14-15,0 0 0,1 0 0,-1 1 16,0-1-16,0 0 0,1 0 16,-14 0-16,13-13 0,0 14 0,0-1 15,0 0-15,1-13 16,-14 13-16,13 1 16,-13-1-16,13-13 15,-13 13-15</inkml:trace>
  <inkml:trace contextRef="#ctx0" brushRef="#br0" timeOffset="11917.17">16259 278 0,'-14'26'15,"14"-12"-15,0-1 16,14 0-16,-14 0 16,0 0-16,13 1 0,-13-1 0,13 0 15,0 0-15,1-13 16,-14 14-16,13-14 0,0 0 15,0 0-15,0-14 16,1 1-16,-14 0 16,13 0-16,-13-1 15,0 1-15,0 0 16,13 0-16,-13 0 16</inkml:trace>
  <inkml:trace contextRef="#ctx0" brushRef="#br0" timeOffset="12721.93">16100 714 0,'0'0'15,"-13"14"1,13-1 0,0 0-16,0 14 0,0-14 0,-14 13 15,14-13-15,0 14 0,0-14 16,0 14-16,14-14 0,-14 0 0,0 0 15,0 0-15,13-13 0,-13 14 0,13-14 16,-13 13-16,13-13 0,1 0 16,-1 0-16,0-13 15,0 13-15,0-14 0,1 14 0,-14-13 16,13 0-16,-13 0 0,0 0 16,0-14-16,0 14 0,0-14 15,-13 14-15,13-13 0,-14 13 0,14-1 16,-13-12-16,13 13 0,-13 13 0,0-14 15,13 1-15,-13 13 0,-1 0 16,1 0 0,13 13-16,0 1 0,0 12 15,13-13 1,-13 1-16,14 12 0,-14-13 16,13 0-16,-13 1 0,13-1 0,0 0 15,-13 0-15,13-13 0,1 14 0,-14-1 16,13 0-16,-13 0 15,13-13-15,-13 13 0,13-13 0,1 0 16,-1 0-16,0 14 16</inkml:trace>
  <inkml:trace contextRef="#ctx0" brushRef="#br0" timeOffset="13010.11">16431 728 0,'0'0'16,"0"26"0,0-13-1,0 14-15,0-14 0,0 0 16,0 0-16,0 1 0,0-1 16,0 0-16,0 0 0,13 1 0,-13-1 15,0 0-15,0 0 0,13-13 0,-13 13 16,13-13-1,-13 14-15,14-1 16,-1-13-16,0-13 16,0 13-1,-13-14-15,13 14 16,1 0-16,-14-13 0,13 0 0</inkml:trace>
  <inkml:trace contextRef="#ctx0" brushRef="#br0" timeOffset="13423.15">16867 410 0,'53'-26'15,"-40"12"1,14 14-16,-14-13 0,13 13 0,-12-13 16,-1 13-16,13-13 0,-12 13 0,-1 0 15,0-13-15,0 13 16,1 0-16,-1-14 16,0 14-16,0 0 15</inkml:trace>
  <inkml:trace contextRef="#ctx0" brushRef="#br0" timeOffset="13883.16">17396 93 0,'0'26'16,"0"-13"-16,0 1 16,0-1-16,0 0 0,0 0 0,14 0 15,-14 1-15,0-1 0,0 0 16,0 0-16,0 1 0,0-1 16,0 0-1,-14-39 16,1 26-31,13-14 0,0-12 16,0 13-16,0-1 0,0 1 0,0 0 16,0 0-16,0 0 0,0-1 15,0 1-15,13 0 0,-13 0 16,14 13-16,-1 13 16,0-13-16,-13 13 15,13 0-15,-13 1 16,0-1-16,13 0 0,-13 0 0,0 0 15,0 1-15,-13-14 0,13 13 16,0 0-16,0 0 0,-13-13 16,13 14-16,-13-1 0,13 0 15,-13-13-15,13 13 0,-14-13 16,14 14-16</inkml:trace>
  <inkml:trace contextRef="#ctx0" brushRef="#br0" timeOffset="14130.39">16960 410 0,'39'13'31,"-25"-13"-31,-1 0 15,13 0-15,1 14 0,-14-14 0,14 0 0,-1 0 16,0 13-16,1-13 0,-1 0 16,1 0-16,-1 0 0,1 0 0,-14 0 15,13 0-15,-12 0 0,12 0 0,-13-13 16,14 13-16</inkml:trace>
  <inkml:trace contextRef="#ctx0" brushRef="#br0" timeOffset="14479.19">17806 278 0,'-26'13'0,"52"-26"0,-65 39 0,26-26 0,-1 14 15,1-1-15,0-13 0,13 13 16,-13 0-16,-1 0 0,14 1 16,0-1-16,0 0 15,0 0-15,14-13 16,-1 14-16,0-14 0,0 0 15,1 0-15,-1 0 0,13-14 0,-13 14 16,1 0-16,-1 0 0,13-13 16,-12 13-16,-1-13 0</inkml:trace>
  <inkml:trace contextRef="#ctx0" brushRef="#br0" timeOffset="15062.16">17079 939 0,'26'-26'31,"-12"26"-31,12-27 0,0 27 0,-12-13 16,12 0-16,1 0 16,-1 13-16,-13-14 0,14 14 0,-14-13 15,0 13-15,0-13 0,1 13 0,-1 0 16</inkml:trace>
  <inkml:trace contextRef="#ctx0" brushRef="#br0" timeOffset="15281.4">17145 900 0,'13'13'0,"14"13"31,-14-13-31,0-13 0,0 14 16,1-1-16,-14 0 0,13 0 0,-13 1 15,13-1-15,0 0 16,1 0-16,-1 1 16,0-14-16,0 0 0</inkml:trace>
  <inkml:trace contextRef="#ctx0" brushRef="#br0" timeOffset="15769.63">17674 794 0,'-13'26'16,"13"-13"-1,-13-13-15,13 14 16,0-41 15,0 14-15,13 0-1,0 13 1,0 0 0,1 0-16,-1 0 15,0 0 1,0 0-16,1 0 16,-1 0-16,0 0 15,-13-13-15,13 13 0,-13-14 16,13 1-16,-13 0 15,0 0-15,14-1 16,-14 1-16,0 0 16,0 39 15,-14-12-31,14-1 0,-13 13 16</inkml:trace>
  <inkml:trace contextRef="#ctx0" brushRef="#br0" timeOffset="16138.95">17899 952 0,'-13'0'16,"0"14"-16,-1-1 15,1 0-15,13 0 16,0 1-16,-13-14 0,13 13 16,13 0-16,-13 0 0,13-13 15,-13 14-15,14-14 16,-1-14 0,0 14-16,0 0 0,-13-13 0,14 13 15,-1-13-15,0 0 0,-13-1 16,13 14-16,-13-13 0,0 0 0,0 0 15,-13-1-15,0 14 16,0-13 0,-1 13-16,1 0 15,0 0-15,0 13 16,-1-13-16</inkml:trace>
  <inkml:trace contextRef="#ctx0" brushRef="#br0" timeOffset="16403.21">17965 900 0,'0'0'0,"13"13"16,1-13-1,-1 0-15,0 13 16,-13 0 0,0 0-1,13-13 1,-13-13 62</inkml:trace>
  <inkml:trace contextRef="#ctx0" brushRef="#br0" timeOffset="16867.12">17158 1019 0,'66'79'15,"-52"-53"-15,-1 1 0,13 13 0,-12-14 16,-1 1-16,0-1 0,0 14 0,0-27 15,-13 13-15,14-12 0,-1 12 16,-13-13-16,0 1 0,13-1 16,-13 0-16,13-13 0,-13 13 0,14-13 15,-14 13-15,13-13 0</inkml:trace>
  <inkml:trace contextRef="#ctx0" brushRef="#br0" timeOffset="17136.4">18031 1244 0,'0'13'15,"0"0"-15,0 0 0,0 0 16,0 14-16,-13-1 0,13 67 31,-13-80-31,13 0 0,0 1 16,0-1-16,0 0 0,0 0 15</inkml:trace>
  <inkml:trace contextRef="#ctx0" brushRef="#br0" timeOffset="17730.24">18018 1283 0,'13'-13'0,"14"0"31,-14 13-31,0 13 16,1 0-1,-14 0-15,0 1 0,0-1 16,0 0-16,0 0 16,0 1-1,13-14-15,-13 13 16,13 0-16,-13 0 0,13-13 16,-13 14-16,13-14 0,-13 13 15,0 0-15,0 0 0,-13 0 16,0 1-16,13-1 0,-13 0 15,13 0-15,-13-13 0,-1 14 0,1-14 16,13 13-16,-13-13 0,0 0 16,-1-13-16,1 13 0</inkml:trace>
  <inkml:trace contextRef="#ctx0" brushRef="#br0" timeOffset="18323.32">18045 939 0,'0'13'32,"13"1"-17,-13-1-15,0 0 16,0 0-16,13-13 0,-13 14 15,0-1-15,0 0 16,13-26 31,-13-14-31,0 14-16,14 0 15,-14 0 1,13-1-16,0 14 15</inkml:trace>
  <inkml:trace contextRef="#ctx0" brushRef="#br0" timeOffset="18855.05">18296 833 0,'0'27'31,"-13"-14"-15,13 0-16,0 1 0,0-1 0,0 0 16,0 0-16,0 0 0,0 1 15,0-1-15,0 0 16,0 0 0,0 1-16,-27-28 46,14 14-30,0 0 0,0 14-16,-1-14 0,1 13 15,13 0 1,-13-13-16,13 13 0,0 1 16,0-1-1,13-13 1,0 0-16,14-13 15,-14 13-15,0-14 0,0 14 0,14-13 16,-14 0-16,14 13 0,-14-13 16,0 13-16,-13-14 0,13 14 15,1-13-15,-1 13 0,0-13 16,0 26 15,-13 0-15,0 1-1,0-1 1,13-13 0</inkml:trace>
  <inkml:trace contextRef="#ctx0" brushRef="#br0" timeOffset="19266">18547 939 0,'0'13'0,"14"-13"16,-14 14-16,0 12 31,13-26-15,-13 13-16,13-26 46,0 0-46,0 13 32,1-13-32,-1 13 15,0 0 1,-13-14-16,13 14 0,1 0 0</inkml:trace>
  <inkml:trace contextRef="#ctx0" brushRef="#br0" timeOffset="19549.36">18785 913 0,'-26'13'63,"26"0"-47,-13-13-1,26 13 32,0-13-47,0 0 16,1 0-1,-1 0 1,0 0-16,0 0 16</inkml:trace>
  <inkml:trace contextRef="#ctx0" brushRef="#br0" timeOffset="20157.9">17952 661 0,'-13'0'16,"0"0"0,13 14-16,-14-14 0,14 13 0,0 0 15,0 0-15,-13 1 16,26-1 0,-13 0-16,14 0 15,-1 1-15,0-14 16,0-14-1,0 14-15,1-13 16,-14 0-16,0 0 16,-14-1-1,14 1-15,-13 13 16,0 0 0,0 0-1</inkml:trace>
  <inkml:trace contextRef="#ctx0" brushRef="#br0" timeOffset="20593.84">18058 635 0,'13'0'15,"0"26"16,-13-12-15,0-1 0,14-13-1,-1-13 17,-13-1-1,13 14-16,0 0 17,0 0-32,1 0 15,-1-13 1,0 13-16,0-13 16,1 13-1,-14 13 1,13 0-1,-13 1-15,13-14 0,-13 13 16,0 0-16,13-13 0,-13 13 0,13 1 16</inkml:trace>
  <inkml:trace contextRef="#ctx0" brushRef="#br0" timeOffset="21144.21">18296 1389 0,'-13'27'32,"13"-14"-32,0 0 0,0 0 15,0 0 1,0 1-16</inkml:trace>
  <inkml:trace contextRef="#ctx0" brushRef="#br0" timeOffset="21338.34">18230 1296 0,'0'-13'0,"0"26"15,13-26-15,0 0 16,0 13-16,1 0 15,-1-13-15,0 13 16,0 0-16</inkml:trace>
  <inkml:trace contextRef="#ctx0" brushRef="#br0" timeOffset="21662.32">18203 1588 0,'40'0'31,"-27"-14"-31,0 14 16,1-13-16,-1 13 16,0 0-16,14-13 0,-14 0 15,0 13-15</inkml:trace>
  <inkml:trace contextRef="#ctx0" brushRef="#br0" timeOffset="22134.33">18547 1376 0,'-13'0'0,"13"13"32,0 0-17,0 1-15,0-1 16,0 0-16,0 0 31,13-26-15,1 0-1,-1 0 1,0-1 0,0 14-1,0 0 1,1-13 0,-1 13-1,-13-13-15,13 13 0,-13-13 16,0-1-16,13 14 15,-13-13-15,0 0 0,0 0 16,0-1-16,0 1 16,0 0-16,0 0 15,0 0-15,0-1 16,0 1-16</inkml:trace>
  <inkml:trace contextRef="#ctx0" brushRef="#br0" timeOffset="22632.2">18481 159 0,'27'-13'16,"-14"-1"-16,13 14 0,67-26 31,-67 26-31,1 0 16,-14 13-16,13-13 0,-12 13 15,-1 1-15,0-1 0,0 13 0,14 1 16,-14-1-16,0 1 0,1 12 16,-1-12-16,0 12 0,0-12 0,0 13 15,1-1-15,12 1 0,-13 0 16,14 13-16,-1-14 0,1 1 0,-14-14 16,0 14-16,14-13 0,-14 12 0,0-12 15,0-1-15,1 14 0,-1-14 16,0 1-16,-13-14 0,0 13 15,0 14-15,0-27 0,-13 14 16,0-1-16,13-13 0,-14 1 0,-12 12 16,-1 1-16,1-14 0,0 0 15,12 0-15,-12 1 0,-1-14 0,1 0 16,-14 0-16</inkml:trace>
  <inkml:trace contextRef="#ctx0" brushRef="#br0" timeOffset="23254.24">15743 291 0,'-27'0'0,"54"0"0,-67 13 0,27 1 15,26-1 1,-13 0-16,0 0 15,13 0-15,-13 1 0,13-1 16,-13 13-16,14-12 16,-14-1-16,13 13 0,0-13 0,-13 14 15,13 13-15,1-14 0,-14 14 16,13-1-16,13 41 0,-12-40 16,-14 12-16,13-12 0,-13 0 15,13-1-15,-13 1 0,13 40 0,0-41 16,-13-12-16,14 26 15,-1-27-15,0-13 0,0 1 16,-13 12-16,14-13 0,-1-13 0,0 13 16,0-13-16,14 14 0,-14-14 0,0 0 15,0-14-15,1 14 0,12 0 16,-13-13-16</inkml:trace>
  <inkml:trace contextRef="#ctx0" brushRef="#br0" timeOffset="24062.21">7157 1336 0,'0'0'0,"66"-13"0,-39 0 0,65-14 16,-39 14-16,13 0 0,0-14 15,1 14-15,-1 0 0,79-27 16,-79 14-16,1 12 0,38-12 16,-65 26-16,13-13 15,-27 13-15,1-13 0,-14 13 0,0 0 16,1 13-16,-1-13 0</inkml:trace>
  <inkml:trace contextRef="#ctx0" brushRef="#br0" timeOffset="24290.04">7289 1521 0,'-26'14'15,"52"-28"-15,-65 28 0,39-1 16,-14-13-16,41 0 15,-14 0-15,13 0 0,1 0 16,-1 0-16,14-13 0,53 13 16,-54-14-16,14 14 15,-13-13-15,0 13 0,-1-13 0,-12 13 0,-1 0 16,1-13-16,-1 13 0,1 0 16,-14 0-16,13-14 0,-12 14 15,12 0-15,1 0 0,-14-13 0</inkml:trace>
  <inkml:trace contextRef="#ctx0" brushRef="#br0" timeOffset="25755.83">10001 807 0,'40'-13'0,"-14"13"0,-12-13 16,-1 13-16,13-14 0,-12 14 16,12-13-16,-13 0 0,40 0 15,-40 13-15,14-14 0,-14 1 16</inkml:trace>
  <inkml:trace contextRef="#ctx0" brushRef="#br0" timeOffset="25983.75">10200 609 0,'13'-14'15,"13"14"-15,93 14 32,-92-1-32,13 13 15,13 14 1,-27 145 31,-39-172-47</inkml:trace>
  <inkml:trace contextRef="#ctx0" brushRef="#br0" timeOffset="27078.16">11020 423 0,'-13'40'16,"-1"-14"-16,1 1 0,13-14 15,-13 14-15,13-1 16,-13 14-16,13-27 0,0 13 0,0 1 16,0-14-16,0 0 15,13 1 1,0-14-16,0-14 0,1 1 15,-1 13-15,0-13 0,0 13 16,1-13-16,-1-1 16,0 1-16,0 13 15,0 13-15,1 1 16,-14-1 0,13-13-16,-13 13 0,13 0 0,0-13 15,1 14-15,-1-14 16,0 0-16,0 0 15,1-14-15,-1 14 0,13 0 0,-26-13 16,13 13-16,1-13 0,-1 13 0,-13-13 16,0-1-16,13 14 0,-13-13 15,-13 0-15,13 0 0,0 0 0,-27-1 16,14 1-16,0 13 0,0-13 16,0 13-16,-1-13 0,1-1 15,0 14-15,0 0 16,-1-13-16,41 26 47,-14 1-47,0-14 0,1 0 15,12 13-15,-13-13 16,14 13-16,-14-13 0,0 13 0,0-13 16,1 14-16,-1-14 0,0 13 0,0 0 15,1-13-15,-14 13 16,13-13-16,0 13 15,0 1-15,0-28 47,-13 1-47,0 0 0,0 0 16,0 0-16,14 13 0,-14-14 16,0 1-16,13 13 0,-13-13 15,13 0-15,0 13 16,1 0-16,-1 0 15,0 0 1,0 0-16,-13 13 0,14-13 0,-1 13 16,0 0-16,0-13 15,-13 14-15,13-1 16,1-13 0,-14 13-16,13-13 15,0 0 16,0-13-15,-13 0-16,0-1 16,14 14-16,-14-13 0,13-27 15,0 27-15,0-27 16,1 27 0,25-26 15</inkml:trace>
  <inkml:trace contextRef="#ctx0" brushRef="#br0" timeOffset="27710.24">11867 648 0,'26'-13'0,"-26"0"16,13 13-16,-13-13 0,13 13 16,-13-27-16,14 27 0,-14-13 15,0 0 1,0 52 15,0-25-15,0-1-16,0 0 0,0 0 15,0 0-15,13 1 16,0-1-16,0-13 16,1 0-16,-1 0 0,0 0 0,0 0 15,1 0-15,-1-13 0,0-1 0,0 1 16,14 0-16,-14 0 0,0 0 16,0-1-16,-13-12 0,14-1 0,-1-12 15,-13 12-15,0 1 16,0-1-16,13 1 0,-13-1 0,0 14 15,-13 0-15,13-13 0,0 12 16,0 1-16,-13 40 16,13-14-1,0 13-15,0-13 0,-14 14 0,14-1 16,0 40-16,0-26 16,14 26-16,-1-39 15,-13-14-15,13 13 0,0-12 0,1-1 16,-1 0-16,13 0 0,-13-13 15,1 14-15,-1-14 0,0 0 16,0-14-16</inkml:trace>
  <inkml:trace contextRef="#ctx0" brushRef="#br0" timeOffset="28450.19">12502 595 0,'0'0'0,"0"-13"0,-14 13 16,1 0-1,0 0 1,0 0 0,13 13-16,-14 1 0,14-1 15,0 0 1,14 0 15,-1-13-31,0 0 16,0 0-16,1 0 15,12 0 1,-13 0-16,0-13 16,1 13-16,-1 0 0,-13-13 0,13 13 15,0-13-15,1-1 0,-1 1 16,-13 0-16,13 0 0,0-1 0,-13-12 16,14 13-16,-14-14 0,13 1 15,-13-1-15,13-12 0,-13-1 16,13 27-16,-13 0 0,0-14 15,13 14 1,-13 39 0,14-12-16,-14-1 0,13 13 15,-13-13-15,13 14 0,0-1 0,-13-12 16,14 12-16,-14 0 16,13-12-16,0 12 0,-13-13 0,13 27 15,1-13-15,-1-1 16,-13-13-1,-13-13-15,-1 0 16,1 13-16,0-26 16,0 13-16,-1 0 15,1-13-15,0 13 0,0-13 16,13 0-16,0-1 16,0 1-16,13 13 15,-13-13-15,13 0 16,0-1-16,1 1 0,-1 13 0,0-13 15,14 0-15,-1-1 0,-13 14 16,0-13-16,1 13 0,-1 0 16,13 0-16,-12 0 15,12 0-15,-13 13 0,1-13 16,-1 14-16,0-14 16,-13 13-16,13 0 15,-13 0-15,13-13 16,-13 14-16</inkml:trace>
  <inkml:trace contextRef="#ctx0" brushRef="#br0" timeOffset="29003.12">13176 397 0,'0'53'0,"0"-106"0,0 119 15,0-53-15,0 0 0,0 1 16,13 12-16,-13-13 16,14-13-1,-1 0-15,0 14 16,0-28-16,1 14 0,-1 0 0,-13-13 0,13 13 16,0-13-16,1-14 15,-14 14-15,0-13 16,-14 13-16,14-1 0,-13 1 15,0 0-15,0 13 16,-1-13-16,1 13 16,0 0-16,13 13 31,0 0-31,13 0 16,0 1-16,-13-1 0,14 0 15,-1-13-15,0 13 16,0 0-16,1-13 15,-1 14-15,0-14 16,-13 13 0,13-13-16,-26 26 31</inkml:trace>
  <inkml:trace contextRef="#ctx0" brushRef="#br0" timeOffset="29261.95">11509 1111 0,'93'-39'0,"53"-1"15,-54 13-15,1 1 0,26-1 0,-13 27 16,-1-26-16,14 0 15,-39 12-15,-1 1 0,14 0 0,-27-14 16,13 14-16,54 0 0,-80 0 16,0 0-16,13-1 15,-53 14-15,0 0 0,0 0 16</inkml:trace>
  <inkml:trace contextRef="#ctx0" brushRef="#br0" timeOffset="29446.89">11602 1257 0,'0'0'0,"53"-13"0,-13-1 0,-1 1 16,27 0-16,1-14 0,-1 14 16,92-40-16,-78 27 0,12-1 15,-12 1-15,65-27 0,-65 26 16,-14 14-16,66-53 15,-79 40-15,0-1 0</inkml:trace>
  <inkml:trace contextRef="#ctx0" brushRef="#br0" timeOffset="29950.36">13309 556 0,'26'-40'32,"-13"40"-32,0-13 0,1-1 0,12 14 15,-13-13-15,1 13 0,-1-13 16,0 13-16,0 0 0,1-13 0,-1 13 16,0 0-16,0 0 0,0 13 15,1-13-15,-14 13 0,13-13 16,-13 13-16,13-13 0,-13 14 15,0-1-15,13-13 0</inkml:trace>
  <inkml:trace contextRef="#ctx0" brushRef="#br0" timeOffset="36224.04">5569 2315 0,'67'0'32,"-41"0"-32,14 0 0,13-13 15,0 13-15,0 0 0,-1 0 16,1-13-16,0 13 0,-13 0 0,13-14 15,0 14-15,0 0 0,-14 0 0,-12-13 16,13 13-16,-27 0 0,13 0 16,1 0-16</inkml:trace>
  <inkml:trace contextRef="#ctx0" brushRef="#br0" timeOffset="37453.97">7501 2275 0,'40'0'0,"-27"0"0,13-13 15,14 13-15,13 0 0,0 0 16,13 0-16,0-13 0,14 13 0,-28 0 15,1 0-15,13 0 0,-13 0 16,0 0-16,0 0 0,0 0 0,0 0 0,-13 0 16,-14 0-16,14 0 15,-14 0-15,1 0 0,-14 0 0,0 0 16,14 0-16,-14 0 0,0 0 16,0 0-16,1-13 0,-1 13 15</inkml:trace>
  <inkml:trace contextRef="#ctx0" brushRef="#br0" timeOffset="38542.11">10200 2289 0,'66'13'0,"-40"-13"0,1 0 16,12 0-16,14 0 0,14 0 0,-1 0 15,13 0-15,0 0 0,1 0 16,12 0-16,-12 0 0,-1 0 16,0 0-16,1 0 0,-14 0 0,-13-13 15,13 13-15,-13 0 0,0 0 0,0 0 16,0 0-16,-14 0 0,-12 0 16,13 0-16,-14 0 0,1 0 0,-14 0 15,13 0-15,-13-14 0,1 14 16,-1 0-16,0 0 0,0 0 0,1 0 15,-1 0-15,0 0 16,0 0 0,0 0-1</inkml:trace>
  <inkml:trace contextRef="#ctx0" brushRef="#br0" timeOffset="39938.21">15888 1786 0,'-13'26'16,"13"-12"-16,-13 12 15,13 1-15,0-14 0,-13 13 16,13 1-16,-14-1 0,14 1 16,0-1-16,-13 1 0,13-1 0,0 0 15,0 1-15,0-14 0,-13 0 0,13 1 16,0-1-16,0 0 0,0 0 16,0 0-16,0 1 15</inkml:trace>
  <inkml:trace contextRef="#ctx0" brushRef="#br0" timeOffset="41966.67">15928 1786 0,'13'0'16,"0"0"-1,1 0-15,-14 13 0,26-13 16,-13 0-16,1 0 0,25 0 16,-12 0-16,-1 0 0,1 0 15,12-13-15,1 13 0,13 0 16,-13 0-16,12-13 0,1 13 0,0 0 16,0-14-16,-13 14 0,13-13 0,0 13 15,13 0-15,-13 0 0,0-13 16,13 13-16,-13-13 0,0 13 15,13 0-15,40-13 0,-53 13 16,0 0-16,-1-14 0,-12 14 16,13 0-16,0 0 0,0-13 0,-13 13 15,12 0-15,-12 0 0,0-13 0,0 13 16,-1 0-16,1 0 0,0 0 16,-14-13-16,1 13 0,12 0 15,-12 0-15,-1 0 0,14 0 0,0-14 16,-1 14-16,-12 0 0,-14 0 15,13 0-15,1 0 0,-1 0 0,-13 0 16,14 0-16,-14 0 0,14 0 0,-14-13 16,13 13-16,-12 0 15,-1 0-15,13 0 0,-13 0 0,1 0 0,12 0 16,-13 0-16,1 0 0,12 0 16,-13 0-16,1 0 0,12 13 15,0-13-15,-12 0 0,12 0 16,-13 0-16,1 0 0,-1 0 0,0 0 15,13 0-15,-12 0 0,-1 0 16,0 0-16,0 0 0,1 0 0,12 0 16,-13 0-16,1 0 0,-1 0 0,0 0 15,13 0-15,-12 0 0,-1 14 16,0-14-16,14 0 0,-14 0 16,0 0-16,0 0 0,1 0 0,12 0 0,-13 0 15,0 0-15,1 0 16,-1 0-16,0 0 0,0 0 15,1 0-15,-1 0 0,0 0 0,0 13 16,1-13-16,-1 0 0,0 0 0,0 0 16,0 0-16,1 0 15,-1 0-15,0 0 0,0 0 16,1 0-16,-1 0 0,0 0 0,0 0 0,1 13 16,-1-13-16,0 0 15,0 0-15,0 0 0,1 0 0,-1 0 16,0 0-16,0 0 0,1 0 0,-1 0 15,0 0-15,0 13 0,0-13 0,1 0 16,-1 0-16,0 0 16,0 0-16,1 0 0,-1 0 0,0 0 15,0 0-15,1 0 16,-1 14-16,0-14 0,0 0 16,0 0-16,1 0 15,-1 0 16,0 13-31,-13 0 32,0 0-32,0 0 15,-13 1-15,13-1 0,0 0 16,0 0-16,-13 1 0,13-1 16,0 0-16,-14 0 0,14 14 0,0-14 15,0 0-15,-13 14 0,13-14 0,0 0 16,0 0-16,0 1 0,0-1 15,0 13-15,-13-12 0,13-1 16,0 13-16,0-13 16,0 1-16,0-1 0,0 0 15,0 0-15,-13 1 0,13-1 16,0 0-16,0 0 0,0 0 16,0 1-1,0-1 1,0 0 15,0 0 0,-13-13 1,-1 0-17,1 0 1,-13 0-1,-1-13 1,14 13-16,0 0 0,-1 0 16,-12 0-16,13 0 0,0 0 15,-14 0-15,14 0 0,-14 0 0,1 0 16,0 0-16,-1 0 0,-26 0 16,27 0-16,-1 0 0,1 0 15,-14 0-15,14 0 0,-54 0 16,27 0-16,0 0 0,14 0 15,-14 0-15,0 0 0,0 0 0,0 13 0,-13-13 16,13 0-16,0 0 0,0 0 16,13 0-16,-12 0 0,12 0 15,0 14-15,14-14 0,-14 0 0,14 0 16,-14 0-16,13 0 0,1 0 16,-27 0-16,27 0 0,-1 0 15,1 0-15,12 0 0,-12 0 0,0 0 16,12 0-16,-12 0 0,13 0 15,-14 0-15,14 0 0,0 0 0,-1 0 16,-12 0-16,13 0 0,0 0 16,-1 0-16,1 0 0,0 0 0,-14 0 15,14 0-15,0 0 0,0 0 16,-1 0-16,-12 0 0,13 0 0,-14 0 0,14 0 16,0 0-16,-14 0 0,1 0 15,-1 0-15,-12 13 16,12-13-16,1 0 0,-1 0 0,14 0 15,-13 0-15,-1 0 0,1 0 0,13 0 16,-14 0-16,1 0 0,12 0 16,-12-13-16,13 13 0,0 0 15,-27 0-15,13 0 0,14 0 0,-13 0 16,-1 0-16,1 0 16,-1 0-16,1 0 0,-1 0 0,-12 0 0,-1 0 15,0 0-15,-13 0 0,14 0 16,12 0-16,-12 13 0,12-13 15,-13 0-15,14 0 0,-14 0 0,14 0 16,-14 0-16,27 0 0,-14 13 0,1-13 16,-14 0-16,27 0 15,0 0-15,-14 0 0,14 0 16,0 13-16,0-13 0,-14 0 16,14 0-1,0 0-15,0 0 16,-1 0-1,1 14-15,0-14 16</inkml:trace>
  <inkml:trace contextRef="#ctx0" brushRef="#br0" timeOffset="43943.23">1349 2871 0,'27'13'31,"-1"-13"-31,1 0 0,12 13 0,1-13 16,13 13-16,0-13 0,0 14 16,13-14-16,13 13 0,1-13 0,-1 0 15,1 13-15,-1-13 0,0 0 0,1 0 16,-14 0-16,13 0 15,-13-13-15,0 13 0,-13 0 0,0 0 0,-13-13 16,13 13-16,-27 0 0,14 0 0,-27-14 16,14 14-16,-14 0 15,0 0-15,0 0 0,1 0 0,-1 0 16</inkml:trace>
  <inkml:trace contextRef="#ctx0" brushRef="#br0" timeOffset="44618.3">4088 2858 0,'225'0'31,"-172"13"-31,0-13 0,-1 0 0,1 0 0,-13 0 16,13 0-16,-13 0 15,-14 0-15,14 0 0,-14 0 0,1 0 16,-1 0-16,1 0 0,-14 0 0,0 0 15,0 0-15,1 0 0,-1 0 16,0 0-16,0 13 0,0-13 16</inkml:trace>
  <inkml:trace contextRef="#ctx0" brushRef="#br0" timeOffset="45303.07">7038 2871 0,'79'0'15,"-26"-13"-15,0 13 0,13 0 0,14 0 16,-1-14-16,14 14 0,12-13 15,-12 13-15,13 0 0,-13-13 16,12 13-16,-12 0 0,13-13 0,-27 13 16,14 0-16,-14-14 0,-13 14 0,-13 0 15,0-13-15,-13 13 0,-1 0 16,-12 0-16,-14 0 0,14 0 0,-14-13 16,0 13-16,0 0 0,1 0 0,-1 0 15</inkml:trace>
  <inkml:trace contextRef="#ctx0" brushRef="#br0" timeOffset="63789.74">14989 8440 0,'0'-13'0,"-14"13"15,14 13 17,-13 0-32,13 1 15,0-1-15,0 0 0,0 0 16,0 1 0,0-1-16</inkml:trace>
  <inkml:trace contextRef="#ctx0" brushRef="#br0" timeOffset="64095.25">15187 8136 0,'-26'13'16,"26"0"-16,-14 14 0,1-1 15,0 14-15,0 0 0,-1-1 0,-12 41 16,13-41-16,0 14 0,-1-26 16,14 12-16,-13 1 0,0 13 15,13-26-15,0-1 0,0 0 16,-13 14-16,13-27 0,0 1 15,0-1-15,0 0 0,0 0 0,0 1 16,-14-1 0</inkml:trace>
  <inkml:trace contextRef="#ctx0" brushRef="#br0" timeOffset="64466.01">14764 8665 0,'-13'27'0,"-1"-1"15,14-13-15,0 0 0,-13 14 0,13-14 16,0 14-16,0-1 0,0 1 0,0-1 15,0 0-15,0-12 0,13 12 16,-13-13-16,0 1 0,14-1 16,-1 0-16,0 0 0,-13 1 0,13-14 15,0 13-15,1-13 0,-1 0 0,0 0 16,0 0-16,1 0 0,-1 0 16,0 0-16,0 0 0,14-13 0,-14 13 15,0 0-15,0-14 0,1 14 0,-1-13 16,0 13-16,14-13 0,-14 13 15,-13-13-15,13 13 16,0-14-16,0 14 0</inkml:trace>
  <inkml:trace contextRef="#ctx0" brushRef="#br0" timeOffset="66298.67">18759 8321 0,'-13'27'0,"-14"65"32,27-79-32,-13 14 15,13-14-15,-13 27 0,13-27 16,0 0-16,0 0 0,0 1 15,0-1-15,0 0 16,0 0-16,0 1 16,13-14-16,-13 13 15,13-13-15,0 0 0,1 0 16,-1 0-16,0-13 16,0 13-16,1 0 0,-1 0 0,0-14 15,0 14 1,1-13-16</inkml:trace>
  <inkml:trace contextRef="#ctx0" brushRef="#br0" timeOffset="66475.07">18759 8546 0,'-13'-13'0,"39"13"31,-13 0-31,-13-13 15,14 13-15,-1 0 0,0-14 0,0 14 16,1 0-16,-1-13 0,13 13 0,-13 0 0,-13-13 16</inkml:trace>
  <inkml:trace contextRef="#ctx0" brushRef="#br0" timeOffset="66771.2">18746 8361 0,'0'0'16,"13"-13"0,0 13-16,14 0 0,-14-14 0,13 14 15,1 0-15,-1-13 0,1 13 16,12-13-16,-12 13 0,-1-13 16,1 13-16,12-14 0,-25 14 15,-1 0-15,0 0 0,0 0 16,1 14-16,-14-1 15,0 0-15,-14 0 16,14 1-16,-13-1 16,13 13-16,-13-12 0,0-1 0,-1 13 15,1-13-15,0 1 0,13 12 0,-26 1 16,12-14-16,1 0 0,13 0 16</inkml:trace>
  <inkml:trace contextRef="#ctx0" brushRef="#br0" timeOffset="66934.3">18931 8506 0,'40'14'31,"-27"-1"-31,0 0 16,14 0-16,-14-13 15,0 13-15,0-13 0,0 14 0,1-1 16,-1-13-16,0 0 0,14 13 0</inkml:trace>
  <inkml:trace contextRef="#ctx0" brushRef="#br0" timeOffset="67227.25">19381 8334 0,'13'0'0,"0"40"31,-13-27-31,0 1 16,0-1-16,0 0 0,-13 0 0,13 14 0,0-14 15,-13 0-15,13 0 0,0 1 0,0-1 16,0 0-16,13-13 16,-13 13-16,13-13 0,0 0 15,1-13-15,12 13 0,-13 0 16,1-13-16,12 13 0,-13-13 15,0-1-15,1 14 0,-14-13 0,0 0 16,13 13-16,-26-13 0,13-1 16,-14 1-16,-25-13 0</inkml:trace>
  <inkml:trace contextRef="#ctx0" brushRef="#br0" timeOffset="68344.16">807 5728 0,'0'27'0,"0"-14"0,0 0 15,0 0-15,0 1 0,13-1 0,-13 0 16,0 14-16,0-14 0,13 0 16,-13 0-16,14 0 0,-14 1 15,13-1-15,0 0 0,0 0 16,1-13-16,-1 14 15,0-14-15,0 0 0,0 0 0,1 0 16,-1 0-16,-13-14 16</inkml:trace>
  <inkml:trace contextRef="#ctx0" brushRef="#br0" timeOffset="68733.11">926 5913 0,'-13'0'0,"26"0"0,0-13 47,-13 0-47,13 13 0,1 0 15,-1-13-15,-13 0 16,-13-1 15,-1 14-15,1 0-1,0-13-15,13 0 32,13 0-32,0-1 0,1 1 15,-14 0-15,13 13 0,0-13 16,0-1-16,1 1 0,-1 13 16,0 0-16,0 0 15,1 13 1,-1 1-16,-13-1 0,13-13 15,-13 26-15,13 1 0,-13-14 16,0 0-16,13 1 0,-13 12 16,0-13-1</inkml:trace>
  <inkml:trace contextRef="#ctx0" brushRef="#br0" timeOffset="68878.05">1098 5913 0,'-13'-13'31,"39"13"-15,-13 0-16,1 0 16,-1 0-16,0-13 15,0 13-15,1-13 0,-1 13 0,0-13 16</inkml:trace>
  <inkml:trace contextRef="#ctx0" brushRef="#br0" timeOffset="69022.25">1323 5702 0,'0'-27'0,"0"14"16,26 40 15,-26-14-31,14 0 0,-14 0 16,13 0-16,0 14 0,-13-14 15,13 0-15,-13 1 0,14-1 16,-1 0-16,-13 0 0,13 1 0,0-14 16,-13 13-16,13-13 0</inkml:trace>
  <inkml:trace contextRef="#ctx0" brushRef="#br0" timeOffset="69528.39">1601 5768 0</inkml:trace>
  <inkml:trace contextRef="#ctx0" brushRef="#br0" timeOffset="69653.89">1693 5980 0</inkml:trace>
  <inkml:trace contextRef="#ctx0" brushRef="#br0" timeOffset="77044.23">20373 8453 0,'13'-13'0,"-13"40"63,-13-14-63,13 0 15,0 0-15,0 1 0,-13-1 16,13 0-16,0 0 0,-14 0 16,14 1-16,0-1 15,0 0-15,-13-13 0,13 13 16,0 1-16,0-1 15,13-13-15,1 13 16,-1-13-16,0 0 16,0 0-16,1 0 15,-1 0-15,0 0 0,0 0 0,1 0 16,-1 0-16,0 0 16,0 0-16,0 0 0,1 0 15,-1-13-15</inkml:trace>
  <inkml:trace contextRef="#ctx0" brushRef="#br0" timeOffset="77242.16">20466 8586 0,'-14'0'16,"67"-14"-1,-40 14 1,1 0-16,-1 0 16,0 0-16,-13-13 0,13 13 0,1 0 15</inkml:trace>
  <inkml:trace contextRef="#ctx0" brushRef="#br0" timeOffset="77439.28">20479 8453 0,'13'-26'32,"0"26"-32,0 0 15,1 0-15,-1 0 16,0 0-16,0 0 15</inkml:trace>
  <inkml:trace contextRef="#ctx0" brushRef="#br0" timeOffset="77626.92">20796 8440 0,'-13'53'31,"0"-40"-31,13 1 15,-13-1-15,-1 0 0,14 0 16,-13 14-16,0-14 0,13 0 0,-13 0 16,13 1-16,-14-1 0,1 0 15,13 0-15,-13-13 16,13 14-16</inkml:trace>
  <inkml:trace contextRef="#ctx0" brushRef="#br0" timeOffset="77859.16">20624 8520 0,'0'0'15,"0"26"1,14-13 0,-14 0-16,0 1 0,13-14 0,0 13 15,-13 0-15,13 0 0,-13 1 0,13-14 16,-13 13-16,14 0 0,-1 0 15,0 1-15,0-14 16,-13 13-16,14-13 16,-1 0-16</inkml:trace>
  <inkml:trace contextRef="#ctx0" brushRef="#br0" timeOffset="78610.08">21008 8520 0,'-13'0'0,"-1"13"16,1-13 0,13 13-16,-13-13 15,13 13-15,0 0 0,-13 1 0,13-1 0,-13 0 16,13 0-16,-14 1 0,14-1 0,0 0 16,0 0-16,0 1 0,14-1 15,-14 0-15,13 0 16,0-13-16,0 0 15,0 0-15,1 0 16,-1 0-16,0 0 0,0-13 0,1 13 16,-1-13-16,0 0 0,0-1 0,1 1 15,-1 0-15,0 0 0,-13-1 16,0 1-16,13 13 0,-13-13 16,0 0-16,0-1 0,-26 28 46,13-1-46,13 0 16,0 0 0,13 1 15,0-14-31,0 0 16,0 0-16,14 0 15,-14 13 1,0-13-16,-13 13 0,14-13 15,-14 13-15,13 1 0,-13-1 16,0 0 0,0 0-16,13-26 62,-13 0-62,13 0 0,-13-1 0,13 1 16,-13 0-16,14 0 15,-14-1-15,13 1 0,0 0 16,0 13-16,-13-13 0,14 13 0,-1 0 16,-13-14-16</inkml:trace>
  <inkml:trace contextRef="#ctx0" brushRef="#br0" timeOffset="79034.03">21497 8533 0,'-53'39'15,"53"-25"1,-13-1-16,0 0 0,13 0 16,0 1-1,0-1 1,13-13-16,0 0 16,1 0-16,-1 0 0,0-13 0,0 13 15,1 0-15,-14-14 16,13 14-16,0 0 0,0 0 15,1 14 1,-14-1 0,13 0-16,-13 0 15,0 1-15,-13-1 16,13 0 0</inkml:trace>
  <inkml:trace contextRef="#ctx0" brushRef="#br0" timeOffset="79148.28">21643 8533 0,'-13'-13'16</inkml:trace>
  <inkml:trace contextRef="#ctx0" brushRef="#br0" timeOffset="79575.23">21749 8572 0,'-13'14'31,"13"-1"-31,13 0 16,-13 0-16,0 1 16,0-1-16,-13 0 15,13 0-15,0 1 16,0-1 0,26-40 15,-26 14-31,13 13 15,0-13-15,1 0 0,-1-1 0,0 1 16,0 0-16,1 0 16,-28 39 15,14-13-15,0 1-1,14-14-15,-1 0 16,0 0-16,0 0 0,1 0 15,-1 0-15,0-14 0,0 14 0</inkml:trace>
  <inkml:trace contextRef="#ctx0" brushRef="#br0" timeOffset="80095.17">22569 8308 0,'13'13'0,"-13"0"15,0 1-15,-13-1 0,13 0 16,0 0-16,0 1 0,0 12 16,-13-13-16,13 0 0,0 14 0,-14-14 15,14 0-15,-13 1 0,13-1 0,0 0 16,0 0-16,0 0 15,-13-13-15,13 14 0,0-1 16,0 0-16,13-13 31,0 13-15,1-13 15,-1 0-31,0 0 16,0 0-16,1 0 15,-1 0-15,0 0 16,0 0-16</inkml:trace>
  <inkml:trace contextRef="#ctx0" brushRef="#br0" timeOffset="81098.13">22781 8612 0,'13'-13'0,"0"0"16,-13-1-16,0 1 16,13 0-16,-13 0 15,-13 0 1,0 26 15,13 0-31,-13 0 16,13 0-16,0 1 15,0-1 1,13-13-16,-13 13 0,13 0 16,0-13-16,1 0 0,-1 14 15,0-14-15,13-14 16,-12 14-16,-1 0 15,-13-13-15,13 13 0,0-13 16,1 0-16,-14-1 16,13 14-16,-13-13 15,13 13-15,-13-13 32,27 26-17,-27 0 1,13 1-16,-13-1 15,13-13-15,-13 13 16,13-13 0,0 0-16,1 0 15,-1-13 1,0 0 0,0-1-1,1 14 1,-1 0-1,0-13 1,0 13-16,1-13 16,-1 13-16,-13-13 15,13 13-15,-13-13 0,13-1 16,-13 1 0,-26 26 15,26 1-31,-13-1 15,13 0 1,0 0 0,13-13-16,0 0 15,0-13-15,0 13 16,1-13-16,-1 13 0,0-13 0,0-1 16,1-12-16,-1 13 0,13-14 15,-13 1-15,1-1 0,-1 1 0,-13 13 16,13-14-16,0 14 0,-13 0 0,14-1 15,-14 1-15,0 0 0,0 53 32,-14-27-32,14 0 15,0 14-15,-13-14 0,13 0 0,0 14 16,0-14-16,0 0 0,13 13 0,-13-12 16,0-1-16,0 0 15,14 0-15,-14 1 0,0-1 0,13-13 16,-13 13-16,13-13 0,-13 13 15,13-13-15,1 0 16</inkml:trace>
  <inkml:trace contextRef="#ctx0" brushRef="#br0" timeOffset="84653.47">20651 9247 0,'0'-13'0,"0"39"16,0-12-16,0-1 0,0 0 15,0 0-15,-13 1 0,13-1 0,0 13 16,0-13-16,0 1 0,0-1 16,-14 0-16,14 0 0,0 1 0,0-1 15,0 0-15,0 0 16,0 1-16,14-1 16</inkml:trace>
  <inkml:trace contextRef="#ctx0" brushRef="#br0" timeOffset="85571.24">20638 9327 0,'13'-27'15,"0"27"1,0-13-16,0 13 0,1 0 15,-1 0-15,0 0 16,0 0-16,1 13 16,-14 0-1,0 1 1,0-1-16,-14 0 0,14 0 16,0 0-16,14-13 0,-14 14 15,13-1-15,0 0 16,0-13-16,0 13 15,1-13-15,-1 14 0,-13-1 16,13 0-16,-13 0 16,0 1-16,-13-1 15,0 0-15,-1 0 0,1-13 16,13 13-16,-13-13 0,0 14 16,0-14-16,-1 0 0,1 0 15,0 0 1</inkml:trace>
  <inkml:trace contextRef="#ctx0" brushRef="#br0" timeOffset="86083.03">20968 9485 0,'0'-13'31,"0"0"-15,0 0-16,0-1 0,0-12 15,0 13 1,-13-1-1,26 41 32,-13-14-47,13-13 16,1 0 0,12 0-16,-26-13 15,13 13-15,1-13 0,-1 13 16,-13-14-16,13 1 0,0 13 0,-13-13 15,14 13-15,-1-13 0,0 13 16,-13 13 0,13-13-16,-13 13 0,0 0 15,0 1-15,13-1 0,-13 0 16,0 0-16,0 1 0,0-1 0,0 0 16,0 0-16,0 1 15,0-1-15,14-13 0,-14 13 16,13-13-16,0 0 31</inkml:trace>
  <inkml:trace contextRef="#ctx0" brushRef="#br0" timeOffset="86677.16">21325 9353 0,'27'0'47,"-14"-13"-47,0 13 15,1 0-15,-14-13 16,13 13-16,0 0 0,0-14 16,0 14-1,1-13 1,-28 40-1,14-14-15,0 0 16,-13 0-16,13 0 0,0 1 16,-13 12-16,13-13 0,0 1 15,-13-1-15,13 13 0,-13-12 0,13-1 16,-14 0-16,14 0 0,-13 0 16,0 1-1,0-1 1,39-13 46,-13 0-62,1 0 16,-1-13-16,0 13 0,0 0 16,0-14-16,1 14 0,-1 0 15,0 0-15,0-13 0,1 13 16</inkml:trace>
  <inkml:trace contextRef="#ctx0" brushRef="#br0" timeOffset="88235.18">19685 8361 0,'-13'13'47,"13"0"-47</inkml:trace>
  <inkml:trace contextRef="#ctx0" brushRef="#br0" timeOffset="88358.25">19751 8572 0,'-13'0'0</inkml:trace>
  <inkml:trace contextRef="#ctx0" brushRef="#br0" timeOffset="90024.1">20373 8440 0,'13'-13'31,"0"13"-15,1 0-16,-1-13 16,0 13-16,0-13 15,1 13-15,-1 0 0,0 0 16,0 0-16,0 0 16,1 0-16</inkml:trace>
  <inkml:trace contextRef="#ctx0" brushRef="#br0" timeOffset="97955.19">20227 8665 0,'0'-13'16,"-13"0"-1,0 13 1,0 0 0,13 13-16,-14-13 0,1 0 0,0 13 15,0 0-15,0 1 0,-1-1 0,1 0 16,-13 13-16,-1 1 0,14-1 16,0 14-16,-14-13 0,14-1 0,-13 14 15,12-1-15,1 1 0,0-13 0,0 12 16,-1 1-16,1-14 0,0 1 0,13-1 15,0-12-15,-13 12 0,13 0 16,13-12-16,-13 12 0,0-13 16,13 1-16,0-1 0,1 0 0,-14 0 0,13 0 15,0 1-15,0-14 16,1 13-16,-1-13 0,0 0 0,13 0 16,-12 0-16,-1 0 0,0 0 0,0 0 15,1 0-15,-1 0 16,0 0-16,0 0 0,1 0 15</inkml:trace>
  <inkml:trace contextRef="#ctx0" brushRef="#br0" timeOffset="99111.33">20214 8572 0,'-26'0'31,"39"14"0,0-1-31,0-13 16,-13 13 0,14-13-16,-14 13 15,13-13 1,-13 14 15,0-1-31,0 0 16,-13 0-16,13 1 15,-14-1-15,1 0 16,13 0-16,-13 0 0,13 1 0,-13-1 16,13 0-16,-14 0 0,14 1 0,0-1 15</inkml:trace>
  <inkml:trace contextRef="#ctx0" brushRef="#br0" timeOffset="99837.3">20108 9313 0,'14'14'31,"-1"-14"-15,0 13 0,0-13-16,-13 13 0,13-13 15,-13 13 1,14-13-16,-14 13 16,0 1-16,-14-1 15,14 0-15,0 0 0,-13 1 0,0-1 16,13 0-16,-13 0 0,0 1 15,-1-1-15,1 0 0,0 0 16,0 0-16</inkml:trace>
  <inkml:trace contextRef="#ctx0" brushRef="#br0" timeOffset="114488.31">23932 8229 0,'0'-14'0,"-14"28"62,14-1-62,-13 0 0,13 0 0,-13 14 16,13-14-16,-13 13 0,13-12 0,-14 12 15,14 1-15,0-14 0,-13 0 16,13 13-16,0-12 0,0-1 0,13 0 16,-13 0-16,0 1 0,0-1 0,14-13 15,-14 13-15,13 0 0,0 0 16,0-13-16,1 0 15,-1 0-15,0 0 0,0 0 16,0 0-16,-13-13 0,14 13 0,-1 0 16,0-13-16</inkml:trace>
  <inkml:trace contextRef="#ctx0" brushRef="#br0" timeOffset="114755.25">24143 8295 0,'0'-14'0,"13"14"31,1-13-31,-1 13 15,0 0-15,0 0 0,1 0 16,-1 0-16,0 0 0,0 0 0,1 0 16,-1-13-16,0 13 0,0 0 15,0 0-15,1 0 0,-1 0 0,0 0 16</inkml:trace>
  <inkml:trace contextRef="#ctx0" brushRef="#br0" timeOffset="115095.37">24355 8281 0,'-13'27'32,"13"-14"-17,0 0-15,0 1 16,0-1-16,-14 0 0,14 0 16,0 1-16,-13-1 0,0 0 15,0 0-15,13 0 0,-13 1 16,-1-1-16,14 0 0,-13-13 15,0 13-15,13 1 16,-13-14 0,13 13-16,13-13 31,0 0-15,14-13-1,-14 13-15,0 0 0,0 0 16,0 0-16,1 0 0,-1-14 0,0 14 15,0 0-15,-13-13 0,14 13 0,-1 0 16,-13-13-16,13 13 0,0 0 16</inkml:trace>
  <inkml:trace contextRef="#ctx0" brushRef="#br0" timeOffset="115390.38">24474 8083 0,'26'0'0,"-52"0"0,66 0 0,-27 13 16,0-13-16,14 13 0,-1 14 15,-13-14-15,14 14 0,-1-1 0,1 1 16,-14-1-16,0 14 0,0-14 15,-13-13-15,14 14 0,-14-1 0,0 1 16,0-14-16,-14 13 0,14 1 16,-13-1-16,0-12 0,13 12 0,-13-13 15,-14 14-15,14-14 0,0 0 0,-1 0 16,1 1-16,0-1 0,0-13 16</inkml:trace>
  <inkml:trace contextRef="#ctx0" brushRef="#br0" timeOffset="116154.38">22159 9340 0,'0'26'47,"0"-13"-47,0 1 0,0-1 0,0 0 15,0 0-15,0 1 0,0 12 0,0-13 16,0 1-16,0-1 0,0 0 16,0 0-16,0 0 0,0 1 15,0-1-15,-13-13 0,26 13 16</inkml:trace>
  <inkml:trace contextRef="#ctx0" brushRef="#br0" timeOffset="116458.27">22146 9353 0,'13'-13'0,"0"0"15,0 13-15,67 13 32,-67 0-32,0 13 15,-13-12-15,13-1 0,-13 0 0,0 0 16,0 1-16,0-1 0,-13 0 16,13 0-16,-13 1 0,13-1 0,-13 0 15,-1 0-15,14 0 0,-13 1 0,0-14 16,13 13-16,-13-13 0,0 0 15,-1 0-15,1 0 16</inkml:trace>
  <inkml:trace contextRef="#ctx0" brushRef="#br0" timeOffset="116799.06">22027 9221 0,'0'0'0,"-14"0"0,1 13 16,13 0-1,-13 0-15,13 1 0,-13 12 0,13 1 16,-14-1-16,14 0 0,-13 14 16,13-13-16,0-1 0,0 1 0,0-1 15,0-13-15,13 14 0,-13-1 0,14-13 16,-1 1-16,-13-1 0,13 0 0,0 0 16,1-13-16,-1 14 0,0-14 15,0 0-15,14 0 0,-14 0 0,13-14 16</inkml:trace>
  <inkml:trace contextRef="#ctx0" brushRef="#br0" timeOffset="117127.16">22278 9181 0,'13'0'16,"-26"0"-16,39 13 0,-12-13 0,12 14 16,-13-14-16,14 13 0,-1 13 15,1 1-15,-1-14 0,-13 13 0,1 1 16,-1-14-16,0 13 0,-13 1 0,0-14 15,0 14-15,0-14 0,0 13 16,0-12-16,-13 12 0,0-13 16,-1 14-16,1-14 0,13 13 0,-13-12 0,0-1 15,-1 0-15,1 0 16</inkml:trace>
  <inkml:trace contextRef="#ctx0" brushRef="#br0" timeOffset="118269.45">24183 8281 0,'26'-13'31,"-12"13"-31,-1 0 0,0 0 0,14-13 15,-14 13-15,13 0 0,1 0 16,-14 0-16,13 0 0,-12 0 0,12-13 16,-13 13-16,1 0 0,-1 0 0,0 0 15,0 0-15,0 0 0,1 0 16</inkml:trace>
  <inkml:trace contextRef="#ctx0" brushRef="#br0" timeOffset="118555.02">24355 8268 0,'-13'0'0,"-1"13"15,1 1-15,13-1 16,-13 0-16,13 0 0,-13 1 16,13-1-16,-13 0 0,13 14 0,0-14 15,-14 0-15,14 0 0,0 0 0,-13-13 16,13 14-16,0-1 0,0 0 16,-13-13-16,13 13 0,0 1 15,0-1 1</inkml:trace>
  <inkml:trace contextRef="#ctx0" brushRef="#br0" timeOffset="118811.35">24104 8559 0,'52'-13'16,"-38"13"-1,-1 0-15,13-13 0,-12 13 0,12 0 16,-13 0-16,14 0 0,-14 0 0,0 0 16,14 0-16,-14 0 15,0 0-15,0 0 0,1 0 0,-1 0 16,0 0-16</inkml:trace>
  <inkml:trace contextRef="#ctx0" brushRef="#br0" timeOffset="130479.25">20122 10478 0,'13'26'31,"-13"-13"-15,0 0-16,0 1 0,0-1 0,0 0 15,0 14-15,13-14 0,-13 0 0,0 13 16,0-12-16,0-1 0,0 0 0,13 0 15,-13 1-15,0-1 16,0 0-16,0 0 0,0 1 0,0-1 16,0 0-16,0-39 62,0 12-62,13 14 16,-13-13-16,0 0 0,14 0 15,-1-1-15,0 14 0,-13-13 16,13 13-16,1 0 0,-1 0 0,0 0 16,-13 13-16,13-13 0,1 0 15,-1 14-15,-13-1 16,13-13-16,-13 13 0,0 0 0,0 1 16,-13-1-16,0 0 15,-1 0-15,14 0 0,-13-13 16,0 14-16,0-14 0,-1 13 0,1-13 15,0 0-15,0 13 0,-1-13 16,1 0-16</inkml:trace>
  <inkml:trace contextRef="#ctx0" brushRef="#br0" timeOffset="131053.85">20413 10676 0,'-14'13'47,"14"0"-47,0 1 15,0-1-15,14 0 16,-1 0-16,0-13 15,0-13 1,1 13-16,-1-13 16,0 13-16,-13-13 0,13 13 0,-13-14 15,13 14-15,-13-13 0,14 13 16,-14-13-16,13 13 16,0 13-1,-13 0 1,13 1-1,-13-1-15,14-13 16,-1 13-16,13-13 16,-12-13-16,-1 13 15,0-13-15,0-1 0,0 1 16,-13 0-16,14 0 0,-1-1 16,-13-12-16,13 13 0,-13-14 0,13 1 15,-13 13-15,0-1 0,14-12 0,-14 13 16,0 0-16,0-1 0,0 1 15,0 53 17,13-27-32,-13 0 0,0 14 15,0-14-15,0 0 0,13 14 16,-13-14-16,0 0 0,13 13 0,-13-12 16,13-1-16,1 0 15,-1 0-15,0-13 16</inkml:trace>
  <inkml:trace contextRef="#ctx0" brushRef="#br0" timeOffset="131262.26">20704 10544 0,'26'13'31,"1"-26"-31,-14 13 0,0 0 16,13 0-16,-12-14 0,-1 14 0,13 0 15,-12-13-15,12 13 0,-13 0 16,14-13-16,-14 13 0,0 0 0</inkml:trace>
  <inkml:trace contextRef="#ctx0" brushRef="#br0" timeOffset="131921.84">21405 10544 0,'0'26'31,"0"-13"-16,0 1-15,13-14 16,-13 13-16,13-13 16,0 0-16,1 0 15,-1-13-15,0 13 16,0-14-16,-13 1 0,14 13 16,-1 0-16,-13-13 0,13 13 0,-13-13 15,13 13-15,1 13 16,-14 0-1,13-13-15,-13 13 0,0 1 0,0 12 16,0-13-16,0 0 0,-13 14 0,13-14 16,0 0-16,-14 14 0,14-14 0,-13 0 15,13 1-15,-13-1 16,13 0-16,-13 0 0,13 0 16</inkml:trace>
  <inkml:trace contextRef="#ctx0" brushRef="#br0" timeOffset="132223.13">21722 10583 0,'0'-13'16,"-26"40"15,26-14-31,0 0 0,0 0 15,0 0-15,0 1 0,0-1 16,13-13-16,-13 13 0,13-13 0,1 0 16,-1 13-16,0-26 15,0 13-15,0 0 16,-13-13-16,0-14 16,0 14-16,-13 13 15,13-13-15,0 0 0,-13 13 0,13-13 16,-13 13-16,0-14 15,-1 14-15,1 14 16</inkml:trace>
  <inkml:trace contextRef="#ctx0" brushRef="#br0" timeOffset="132673.25">21947 10557 0,'0'-13'15,"-13"39"17,13-13-32,0 1 0,0-1 15,-13 0-15,26 0 0,-13 0 16,13-13-16,-13 14 15,13-14-15,-13 13 0,14-13 16,12-13 0,-13-1-1,1 1-15,-14 0 0,13 0 16,-13 0-16,13-1 16,-13 1-16,0 0 15,13 13 1,-13 13 15,0 0-31,0 1 0,0-1 16,13 0-1,-13 0-15,0 0 32,14-13-32,-1 0 15</inkml:trace>
  <inkml:trace contextRef="#ctx0" brushRef="#br0" timeOffset="132997.24">22265 10530 0,'13'14'31,"-13"-1"-31,0 0 16,0 0-16,0 1 0,-13-14 15,13 13-15,0 0 0,0 0 16,0 0 0,0-39 15,13 26-31,-13-13 15,0 0-15,13-1 0,0 14 16,-13-13-16,14 0 0,-1 0 0,0-1 16,14 1-16,-14 13 0,0-13 0,13 13 15,-12-13-15,-1 13 16</inkml:trace>
  <inkml:trace contextRef="#ctx0" brushRef="#br0" timeOffset="134125.68">22926 10504 0,'0'13'16,"0"0"-16,0 1 15,-13-1-15,13 0 0,0 0 16,0 1-16,0-1 15,0 0-15,0 0 16,0 0 0,13-26 31,-13 0-47,13 13 0,-13-13 15,14 13-15,-1-13 16,0 13 15,0 13-31,1-13 16,-14 13-1,13-13-15,-13 13 0,13-13 16,0 0-16,0 0 16,1 0-1,-1 0 1,0 0-16,0 13 15,1-13 1,-1 0-16,0-13 16,0 13-16,1 0 0,-1 0 15,0-13 1,0 13 0,0 0-16,-13 13 46,0 0-14,14 1-17,-1-14 1,0-14-16,0 14 0,1 0 16,-1-13-16,0 13 15,-13-13-15,13 0 0,-13 0 16,0-1-16,0-12 15,-13 13 1,0-1-16,0 14 16,-1 0-16,1 0 0,0 0 0,0 0 0,-1 0 15,1 14-15,0-14 16,0 13-16,0-13 0,13 13 16,-14-13-16,14 13 0,14-13 15,-1 0 1,0 0-16,0 0 0,0 0 0,1 0 15,12 0-15,-13-13 0,1 13 0,12-13 16,-13 13-16,0-13 0,1-1 0,-1 1 16,0 0-16,0 0 0,1 0 15,-1-1-15,-13 1 0,13 0 0,-13 0 16,13 13-16,-13-14 0,14 14 31,-14 27-15,0-14-16,0 0 0,0 1 15,0-1-15,0 0 0,13 0 16,-13 0-16,0 1 0,0-1 16,0 0-16,13 0 15</inkml:trace>
  <inkml:trace contextRef="#ctx0" brushRef="#br0" timeOffset="134278.13">23429 10557 0,'-27'0'0,"54"0"0,-67-13 0,27 13 0,0 0 16,26-14 31,0 1-32,0 13-15,1 0 0,12-13 0,-13 13 16,14-13-16,-14 13 0,13 0 0,-12-13 16,12 13-16,1-14 0</inkml:trace>
  <inkml:trace contextRef="#ctx0" brushRef="#br0" timeOffset="135130.14">24130 10411 0,'0'0'0,"-26"14"31,26-1-31,-14-13 0,14 13 16,-13 0-16,13 1 0,-13-1 0,13 0 15,-13 0-15,13 0 0,0 1 0,0-1 16,0 0-16,0 0 16,13 1-16,0-1 0,0-13 15,1 0-15,-1 0 16,0 0-16,0 0 0,0-13 16,1 13-16,-1 0 15,0 0-15,0 0 16,-13 13-1,14-13 1,-14 13-16,13 0 16,0-13-1,0 0-15,1 0 16,-1 0-16,0 0 16,-13-13-16,13 0 15,-26 0-15,13-1 16,-13 14-16,13-13 15,-13 13-15,13-13 0,-14 13 16,14-13-16,-13 13 16,13-14-1,27 14 1,-14 0 0,0 14-16,0-14 15,0 13-15,1-13 0,-1 13 16,0-13-16,0 13 15,-13 1-15,14-14 16,-14 13-16,0 0 31,13-26 1,0 0-32,0 13 15,1-14 1,-1 14-1,0 0 1,0 0-16,0 0 16,1 0-16,-1 0 15,0-13-15,14 0 16,-14 13-16</inkml:trace>
  <inkml:trace contextRef="#ctx0" brushRef="#br0" timeOffset="135498.59">24699 10425 0,'0'-14'0,"13"14"31,-26-13-15,0 26 46,-1-13-46,1 14-1,0-14-15,13 13 0,-13 0 16,13 0-16,0 1 16,0 12-1,0-13 1,0 0-16,13-13 0,-13 14 0,0-1 16,13-13-16,-13 13 0,0 0 15,0 1-15,0-1 16,0 0-16,0 0 15,-13-13-15,0-13 47</inkml:trace>
  <inkml:trace contextRef="#ctx0" brushRef="#br0" timeOffset="135670.74">24765 10517 0,'0'13'16,"0"1"0,-13-1-1,13 0-15,0 0 16,-13-13-16,13 14 0,-14-1 16,14 0-16,-13-13 15</inkml:trace>
  <inkml:trace contextRef="#ctx0" brushRef="#br0" timeOffset="135806.25">24778 10398 0,'-13'-13'0,"0"13"16</inkml:trace>
  <inkml:trace contextRef="#ctx0" brushRef="#br0" timeOffset="136378.18">24937 10345 0,'0'53'31,"0"-40"-31,0 1 16,-13-1-16,13 0 0,0 0 16,0 1-16,0-1 0,0 0 15,0 0-15,0 0 16,0 1 0,13-14-1,-39 0 16,12 0-15,1 0 0,0 13-16,0-13 15,-1 13-15,41-13 47,-14 0-31,0 0-16,14-13 15,-14 13 1,0 0-16,0 0 16,-13 13-16,14-13 15,-1 13 1,0-26 31,0 13-47,-13-13 0,14 13 15,-1-13-15,0 13 16,-13-14-16,13 14 16,0-13-16,1 13 0,-1-13 15,0 13-15,0 0 16</inkml:trace>
  <inkml:trace contextRef="#ctx0" brushRef="#br0" timeOffset="136503.34">25188 10478 0,'0'0'16,"14"0"-16,-14-14 31</inkml:trace>
  <inkml:trace contextRef="#ctx0" brushRef="#br0" timeOffset="138853.91">20955 11298 0,'0'26'16,"0"-13"-16,0 1 15,-13 12-15,13-13 0,0 1 16,0-1-16,0 13 0,0-13 0,0 1 15,0-1-15,0 0 0,-13 0 16,13 1-16,0-1 0,0 0 0,0 0 16,0 1-1,13-41 17,-13 14-32,0 0 0,0-14 0,0 14 15,0-14-15,13 1 16,-13 0-16,13-1 0,-13 1 0,13-1 0,-13 14 15,14-14-15,-14 14 0,13 0 0,0 0 16,14 13 15,-27 13-31,13 0 0,-13 0 16,13 1-16,-13-1 0,0 13 16,0-12-16,13-1 0,-13 13 0,0-12 15,0-1-15,14 0 0,-14 0 0,0 0 16,0 1-16,13-1 0,-13 0 15,0 0-15,13 1 0,-13-1 16,13-13 0</inkml:trace>
  <inkml:trace contextRef="#ctx0" brushRef="#br0" timeOffset="139050.1">20995 11483 0,'-14'-13'31,"41"13"-31,-14 0 16,0 0-16,1 0 0,12 0 16,-13-14-16,1 14 0,-1 0 0,13 0 15,-13 0-15,1 0 16,12 0-16</inkml:trace>
  <inkml:trace contextRef="#ctx0" brushRef="#br0" timeOffset="139629.2">21392 11351 0,'-27'0'0,"-13"0"32,27 0-32,13 13 15,0 0 1,0 0-16,0 1 0,13-1 16,-13 0-16,0 0 0,14 0 15,-14 1-15,0-1 0,0 0 0,0 0 16,0 1-16,0-1 0,-14 0 0,14 0 15,-13 1-15,0-1 0,13 0 16,-13 0-16,-14 0 16,27 1-16,-13-14 0,13 13 0,-13-13 15,26-13 17,0 13-32,0-14 15,1 14-15,25-26 16,-25 13-16,12-14 0,1 14 0,-1-13 15,0 12-15,1-12 0,-14-1 0,14 1 16,-14 13-16,0-14 0,0 14 16,-13 0-16,14 13 0,-14-13 0,0-1 15,-27 28 17,27-1-32,-13 0 0,0 0 15,13 1-15,0-1 0,0 0 16,0 0-16,0 0 15,13 1-15,-13-1 16,13-13-16,0 0 0,-13 13 0,14-13 16,-1 0-16,0 0 0,0 0 15,0 0 1,1 13-16</inkml:trace>
  <inkml:trace contextRef="#ctx0" brushRef="#br0" timeOffset="142990.63">21127 12065 0,'0'-13'16,"0"39"15,0-13-15,0 1-16,0-1 16,0 0-16,0 0 0,0 1 0,0-1 15,0 0-15,0 0 0,0 1 0,0-1 16,0 0-16,0 0 0,0 0 15,0 1-15,0-1 16,0 0-16,0 0 16</inkml:trace>
  <inkml:trace contextRef="#ctx0" brushRef="#br0" timeOffset="143345.56">21074 12144 0,'0'-13'0,"13"0"0,27 0 31,-27 13-31,0 0 0,1 0 15,-1 13-15,0-13 16,0 0-16,1 13 0,-1 0 0,0-13 16,-13 14-16,13-1 0,0 0 0,1 0 15,-14 1-15,0-1 16,0 0-16,0 0 0,0 0 0,-14-13 16,14 14-16,-13-1 0,13 0 0,-13 0 15,0 1-15,0-1 16,-1-13-1,14 13-15,-13-13 0,0 0 16</inkml:trace>
  <inkml:trace contextRef="#ctx0" brushRef="#br0" timeOffset="143517.01">21365 12184 0,'13'13'31,"-13"1"-31,0-1 16,0 0-16,0 0 15,0 0-15,0 1 0,0-1 16,-13-13-16,13 13 0</inkml:trace>
  <inkml:trace contextRef="#ctx0" brushRef="#br0" timeOffset="143669.76">21352 12091 0</inkml:trace>
  <inkml:trace contextRef="#ctx0" brushRef="#br0" timeOffset="144178.19">21497 12277 0,'0'-14'0,"40"-25"31,-27 26-15,-26 26 31,13 0-47,-13-13 0,13 13 16,0 14-16,0-14 15,13-13 1,0 0-16,1 0 15,-1-13-15,0 13 0,-13-14 16,13 1-16,0 13 0,1-13 16,-1 0-16,0 0 0,0-1 0,1-12 15,-14 13-15,13-1 0,-13 1 0,13 0 16,-13 0-16,13-1 16,-13 1-16,0 40 46,0-14-46,0 0 16,0 0-16,0 1 0,0-1 0,0 0 16,14 0-16,-14 1 0,13-1 0,-13 0 15,13-13-15,-13 13 0,13-13 16,0 13-16,1-13 16,-1-13-16,0 13 0,0 0 15,-13-13-15</inkml:trace>
  <inkml:trace contextRef="#ctx0" brushRef="#br0" timeOffset="144338.17">21669 12144 0,'40'-13'31,"-13"0"-31,-14 13 15,0 0-15,13-13 0,-12 13 0,12-14 16,1 14-16,-1-13 0</inkml:trace>
  <inkml:trace contextRef="#ctx0" brushRef="#br0" timeOffset="145013.29">22159 11390 0,'13'-13'16,"0"13"-16,1 0 15,-1 0-15,0 0 0,0 0 16,0 0-16,1 13 16,-1 1-16,0-1 15,-13 0-15,13-13 0,-13 26 0,0-12 16,14-1-16,-14 0 0,0 14 15,13-1-15,-13-13 0,13 14 0,-13-1 16,13 1-16,-13 12 0,14-12 0,-14-1 16,13 1-16,-13-1 0,13 14 15,0-14-15,0 14 0,1-14 16,-14 1-16,13-1 0,0 1 0,-13-1 16,13-12-16,-13 12 0,14-13 0,-14 14 15,0-14-15,0 0 0,0 0 16,13 1-16,-26-1 0,13 0 15,0 0-15,-14 1 0,1-1 16,0 0-16,0-13 16,-1 13-16,1-13 0,0 0 0,-13 0 15,12 0-15,-12 0 0,-1 0 0,1-13 16,-1 13-16,-12-13 0</inkml:trace>
  <inkml:trace contextRef="#ctx0" brushRef="#br0" timeOffset="145630.94">20690 11337 0,'-39'0'16,"78"0"-16,-91 0 0,38 14 0,1-14 15,0 13-15,0-13 0,13 13 16,-14 0-16,14 1 0,0 12 0,-13-13 15,13 14-15,0-14 0,0 13 0,13 1 16,-13 13-16,0-1 16,14 1-16,-14 0 0,0-1 0,13 1 0,-13 0 15,0-14-15,0 14 0,0-1 16,0-12-16,0 13 0,0-14 0,0 1 16,0 12-16,0 1 0,0-14 15,0 1-15,-13-1 0,13 1 0,0-1 16,0 1-16,0-1 0,0-13 15,0 14-15,0-14 0,13 0 0,-13 0 16,13 1-16,-13-1 0,13-13 16,1 0-16,-1 0 15,0-13-15,0 13 0,0-14 16,1 1-16</inkml:trace>
  <inkml:trace contextRef="#ctx0" brushRef="#br0" timeOffset="146538.37">19010 9366 0,'40'0'15,"-27"0"1,0 0-16,14 0 0,-14-13 16,14 13-16,-14 0 0,13 0 15,-12 0-15,12 0 0,-13-13 0,0 13 0,1 0 16,-1 0-16,0 0 0,0 0 16,1-13-16,-1 13 15,0 0-15,-13-14 0</inkml:trace>
  <inkml:trace contextRef="#ctx0" brushRef="#br0" timeOffset="146781.14">19288 9194 0,'53'14'16,"-40"-1"-16,14-13 15,-14 13-15,0 0 0,0 0 16,1 14-16,-1-14 0,0 0 16,0 1-16,-13-1 0,14 0 0,-14 0 15,0 0-15,0 14 0,0-14 0,0 0 16,0 1-16,-14-1 0,1 0 16,0 0-16,0 1 0</inkml:trace>
  <inkml:trace contextRef="#ctx0" brushRef="#br0" timeOffset="147350.29">17621 9366 0,'-13'27'31,"13"-14"-31,0 0 0,0 14 0,0-14 16,0 13-16,0-12 0,0 12 16,0 0-16,0-12 0,0 12 15,0-13-15,0 1 0,0-1 0,13 0 16,-13 0-16,0 1 0,0-1 0,13 0 16,1-13-1,-14 13-15,13-13 0,0 0 16,14 0-16,-14-13 0,0 13 15,0 0-15,1-13 16,-1 13-16,0-13 0,0 13 16,-13-14-16</inkml:trace>
  <inkml:trace contextRef="#ctx0" brushRef="#br0" timeOffset="147521.6">17661 9538 0,'13'0'16,"-26"0"-16,39-13 0,-12 13 0,-1 0 15,0-13-15,0 13 0,1 0 16,-1-13-16,0 13 0,0 0 0,-13-14 16</inkml:trace>
  <inkml:trace contextRef="#ctx0" brushRef="#br0" timeOffset="147785.25">17926 9313 0,'26'14'31,"-26"12"-31,0-13 16,0 0-16,0 1 0,0 12 15,0-13-15,0 14 0,-13-14 0,13 14 16,-13-1-16,13 14 0,-14-14 16,1 1-16,13-14 15,-13 0-15</inkml:trace>
  <inkml:trace contextRef="#ctx0" brushRef="#br0" timeOffset="147993.4">17833 9551 0,'40'0'31,"-27"0"-31,0 0 0,0 0 0,1 14 15,-1-14-15,0 13 0,13-13 0,-12 0 16,-1 13-16,13-13 0,-12 0 16,-1 0-16,13 0 0,-12 13 15,-1-13-15,0 0 0</inkml:trace>
  <inkml:trace contextRef="#ctx0" brushRef="#br0" timeOffset="149193.97">18098 9538 0,'26'0'16,"-13"0"15,0 0 0,-13-13 16,0 0-15,0 0-32,0-1 15,0 1-15,0 0 0,0 0 16,0-1-1,0 1-15,-13 0 0,26 39 32,-13-12-17,0 12-15,0-13 0,0 14 16,0-1-16,0 1 0,14-1 0,-14 1 16,0-14-16,0 13 0,0 1 0,0-14 15,0 0-15,13 14 0,-13-14 16,0 0-16,0 0 0,0 1 15,-13-28 17,13 1-32,0 0 0,0-14 15,0 14-15,0-13 0,0-1 0,13 1 16,-13-1-16,13 14 0,-13-13 16,13 12-16,-13 1 0,14 0 0,-1 0 15,0 13 1,-13 13-1,13 0-15,-26 14 16,13-14-16,0 0 16,0 0-16,0 1 15,0-1-15,0 0 16,13 0 0,0-26 15,1 13-31,-14-13 0,0 0 15,13 13-15,-13-14 0,0 1 0,13 13 16,-13-13-16,0 0 0,13-1 16,1 1-16,-1 0 15,0 13 1,0 13 0,1 0-16,-1 1 15,-13-1 1,13-13-16,-13 13 15,13-13 1,0-13 0,1 0-1,-1-1 1,-13 1-16,13 13 16,-13-13-16,13 13 0,-13-13 15,14 13-15,-14-13 16,13-1-16,0 14 15,-13-13-15,13 0 0,1 13 16,-14-13 0,13 26-1,-13 0-15,0 0 16,13 14 0,-13-14-16,0 13 15,0-12 1,0-1-1</inkml:trace>
  <inkml:trace contextRef="#ctx0" brushRef="#br0" timeOffset="149334.12">18561 9393 0,'0'-14'0,"-14"41"47</inkml:trace>
  <inkml:trace contextRef="#ctx0" brushRef="#br0" timeOffset="151458.24">20929 9710 0,'39'0'16,"-26"0"-16,1 0 15,12-13-15,-13 13 0,14 0 0,-14 0 16,14 0-16,-1-13 0,-13 13 0,14 0 15,-14 0-15,0 0 0,0-13 16,1 13-16</inkml:trace>
  <inkml:trace contextRef="#ctx0" brushRef="#br0" timeOffset="151667.1">20995 9750 0,'26'0'32,"-13"0"-32,1 0 0,12 0 0,-13 0 15,1 0-15,12 0 0,-13-13 16,14 13-16,-14 0 0,0 0 0,0 0 16,1 0-16,-1 0 0,0 0 0,0 0 15,0 0-15</inkml:trace>
  <inkml:trace contextRef="#ctx0" brushRef="#br0" timeOffset="156422">23072 11708 0,'0'-13'0,"0"-1"16,0 54 15,0-27-31,-14 1 16,14-1-16,0 13 0,-13-13 0,13 14 16,0-14-16,-13 14 0,13-14 15,0 0-15,0 0 0,0 0 0,0 1 16,0-1-16,-13 0 0,26-13 15,-13 13-15,0 1 0,13-1 16,0-13-16,-13 13 16,14-13-16,-1 0 0,0 0 15,0 0-15,1 0 16,-1 0-16,0 0 0,0 0 0,1 0 16,-1 0-16,0 0 0,0-13 15,0 13 1</inkml:trace>
  <inkml:trace contextRef="#ctx0" brushRef="#br0" timeOffset="156606.29">23111 11906 0,'0'0'0,"14"-13"16,-1 13-16,0 0 0,0-13 0,1 13 15,-1 0-15,0 0 0,0-13 0,0 13 16,1 0-16,12 0 0,-13-14 16,1 14-16,-1 0 0,0 0 0</inkml:trace>
  <inkml:trace contextRef="#ctx0" brushRef="#br0" timeOffset="156937.76">23138 11695 0,'26'-14'31,"-12"14"-15,-1 0-16,0 0 0,13 0 16,-12 0-16,-1 0 0,13 0 0,-12 0 15,12 0-15,0-13 0,-12 13 16,-1 0-16,0 0 0,0 0 0,1 0 15,-1 0-15,0 0 0,0 0 16,1 0-16,-14 13 16,0 1-1,0-1-15,0 0 0,0 0 16,-14 1-16,14-1 0,0 0 16,-13 0-16,13 14 0,0-14 0,-13 13 15,13-12-15,-13-1 0,13 13 0,-14-13 16,14 1-16,0-1 0,-13-13 15</inkml:trace>
  <inkml:trace contextRef="#ctx0" brushRef="#br0" timeOffset="157142.04">23283 11840 0,'14'-26'31,"-1"39"-16,0 0-15,0 0 0,0-13 16,1 14-16,-1-1 0,0-13 0,0 13 16,1 0-16,-1-13 0,0 13 15,0-13-15,1 14 0,-1-14 0,0 0 16,0 0-16,0 13 0,1-26 16</inkml:trace>
  <inkml:trace contextRef="#ctx0" brushRef="#br0" timeOffset="157394.41">23693 11536 0,'0'0'0,"0"-13"0,-13 13 0,0 13 16,13 0-1,-13-13-15,13 13 0,0 14 16,0-14-16,-13 13 0,13-12 0,0 12 15,0 1-15,-14-1 0,14-13 0,0 14 16,0-14-16,0 13 0,0-12 16,14-1-16,-14 0 0,0 0 0,0 1 15,0-1-15,13-13 0,-13 13 16,13 0 0</inkml:trace>
  <inkml:trace contextRef="#ctx0" brushRef="#br0" timeOffset="157577.34">23508 11814 0,'0'0'0,"13"-14"0,1 1 16,-1 13-16,0 0 15,0-13-15,1 13 0,12 0 16,-13 0-16,1 0 0,-1 0 0,0 0 15,0 0-15,0 0 0,1 0 16</inkml:trace>
  <inkml:trace contextRef="#ctx0" brushRef="#br0" timeOffset="157894.23">23786 11748 0,'0'13'31,"13"-13"-31,-13 13 16,0 0-16,0 0 0,0 1 0,0-1 15,0 0-15,0 0 0,13 1 16,-13-1-16,0 0 16,14-39 15,-14 12-16,0 1-15,0 0 0,13 13 0,-13-13 16,13-1-16,-13 1 0,0 0 0,13 0 16,-13 0-16,14 13 31</inkml:trace>
  <inkml:trace contextRef="#ctx0" brushRef="#br0" timeOffset="158670.31">23998 11748 0,'-14'-14'31,"1"28"-31,0-14 16,13 13-16,-13-13 0,13 13 0,-13 0 16,13 0-16,-14-13 0,14 14 0,0-1 15,-13 0-15,13 0 16,0 1-16,13-1 16,-13 0-1,14-13-15,-1-13 16,0 13-1,-13-13-15,13-1 0,-13 1 16,13 0-16,-13 0 16,0-1-16,14 1 15,-14 0-15,0 0 16,13 39 15,-13-13-15,0 1-1,0-1-15,0 0 16,0 0 0,13-13-1,0-13 1,1 0 0,-1 0-1,-13-1 1,13 14-16,0 14 31,-13-1-15,0 0-16,14 0 31,-1-13 16,0-13-32,0 13 1,-13-13-16,13 13 16,1 0-1,-1 13-15,0-13 16,0 0-16,1 0 0,-1 13 16,0-13-16,0 0 15,1 0-15,-1 0 0,0 0 0</inkml:trace>
  <inkml:trace contextRef="#ctx0" brushRef="#br0" timeOffset="159883.4">24342 11880 0,'13'-27'32,"0"27"-17,-13-13-15,13 0 0,-13 0 16,14-1-16,-14 1 15,0 0-15,0 0 16,-14 0 0,-12 26-1,13 0 1,13 0-16,0 0 16,-14-13-16,14 14 0,0-1 15,0 0-15,14-13 16,-14 13-16,13 1 0,0-14 15,0 13 1,1-13-16,-1 0 0,0 0 16,0-13-16,1 13 15,-14-14-15,13 14 0,0-13 16,0 13 0,-13-13-16,13 13 15,-13 13 16,0 0-15,0 1-16,0-1 16,14-13-16,-14 13 15,13 0-15,0-13 16,0 0 0,1-13-16,-1 13 15,-13-13-15,13 13 0,-13-13 16,13 13-16,-13-14 0,0 1 0,0 0 15,0 0-15,0-1 16,-13 1 0,0 26-1,0-13 1,13 14 0,-14-1-1,28-13 1,-1 0-1,0 0-15,0-13 16,0 13-16,1-14 16,-1 1-1,0 13-15,-13-13 16,13 26 15,-13 0 0,14-13-31,-14 14 16,0-1 15,13-13-31,0 0 32,0-13-1,1 13-31,-1 0 47,0 13-32,-13 0 1,26-13 46,-26-13-62,14 0 0,-1-1 16,-13 1-16,13 13 0,-13-13 0,13 13 16,-13-13-16</inkml:trace>
  <inkml:trace contextRef="#ctx0" brushRef="#br0" timeOffset="160438.1">23733 12435 0,'0'27'31,"13"-14"-31,-13 0 16,0 1-16,14-1 0,-14 0 15,13 0-15,-13 0 0,13-13 16,0 0 0,0 0-1,-13-13-15,14 13 0,-14-13 0,13 13 16,-13-13-16,0 0 0,13-1 16,0 1-16,1 0 0,-14 0 15,13 13-15,-13-14 0,13 1 0,0 13 16,1 0-16,-14-13 15</inkml:trace>
  <inkml:trace contextRef="#ctx0" brushRef="#br0" timeOffset="160966.13">24064 12382 0,'-27'14'16,"14"-1"-16,13 0 15,-13-13-15,13 13 0,0 1 16,-13-14-16,13 13 0,0 0 16,0 0-1,13-26 17,0 13-17,0-13-15,1 13 16,-1 0-16,0 0 15,0 0 1,1 13 0,-1-13-16,-13 13 15,0 1-15,0-1 32,26-26-1,-26-1-31,13 1 15,1 0-15,-1 0 16,0-1-16,0 14 0,1-13 16,-1 13-16,0 0 15,0 0 1,1 13 0,-14 1-16,0-1 15,0 0 1,-14 0-1,14 1-15</inkml:trace>
  <inkml:trace contextRef="#ctx0" brushRef="#br0" timeOffset="161097.26">24328 12343 0,'-13'-13'0,"13"-1"31</inkml:trace>
  <inkml:trace contextRef="#ctx0" brushRef="#br0" timeOffset="161829.23">24421 12356 0,'-26'0'32,"26"13"-32,-14 0 15,14 1-15,-13-14 16,13 13-16,0 0 16,0 0-1,13-13 1,1 0-1,-1-13-15,0 13 0,0-13 16,1 13 0,-14-13-16,13 26 31,0 0-15,0-13-1,0 0 1,1-13-16,-1 13 15,-13-13-15,13-1 0,0 14 16,1-13-16,-14 0 0,13 0 0,0 0 16,-13-14-16,13 14 0,-13 0 0,13-1 15,-13-12-15,14 0 16,-1 12-16,-13 1 16,0 0-16,0 0 15,-13 39 1,-1-13-1,14 1-15,-13-1 0,13 0 16,0 0-16,-13 0 0,13 1 16,-13-1-16,13 0 0,0 0 15,0 1-15,-13-14 16,39-14 31,-13 14-47,0 0 15,1 0 1,-14 14-16,13-14 16,-13 13-1,0 0-15,0 0 16,-13 0-16,13 1 16,-14-14-16,1 13 15,0-13 1,13-13 15</inkml:trace>
  <inkml:trace contextRef="#ctx0" brushRef="#br0" timeOffset="162142.43">24791 12118 0,'-13'26'31,"13"-12"-15,0-1-16,-13 0 0,13 0 0,0 1 16,0-1-16,0 0 15,0 0-15,0 0 0,0 1 16,13-1 0,0-26-16,1 13 15,-1 0-15,-13-14 16,13 14-16,0 0 0,14 0 15,-14 0 1,-13 14-16,13-14 16,1 13-16,-1-13 15,0 0 1,0-13-16</inkml:trace>
  <inkml:trace contextRef="#ctx0" brushRef="#br0" timeOffset="164883.04">20585 12171 0,'-27'13'0,"14"0"16,0-13-1,13 14 1,-14-14-16,1 0 15,0 0-15,13 13 16,-13-13-16,-14 0 16,14 0-16,0 0 15,0 0-15,-1 0 0,1 0 16,0 0-16,0 0 0,-1 0 0,-12 0 16,13-13-16,0 13 0,-1 0 15,1 0-15,0 0 0,0-14 16,-14 14-16,14 0 0,0-13 0,-14 13 15,14-13-15,0 13 0,0-13 0,-14 13 16,14-14-16,0 14 0,-1-13 16,-12 13-16,13-13 0,-14 13 0,14-13 15,-13 13-15,-1-14 0,1 14 0,12-13 16,-12 0-16,0 13 0,12-13 16,-12 0-16,-1 13 0,14-14 0,-13 1 15,12 0-15,1 13 0,-13-13 0,13 13 16,-1-14-16,1 1 0,-13 0 15,12 13-15,1-13 0,0-1 16,0 1-16,-1 13 0,1-13 0,0 0 16,0 0-16,0-1 0,-1 1 15,1 0-15,0 0 0,0-1 0,-1 1 16,1-13-16,0 13 0,0-1 0,0 1 16,-1-13-16,1 12 0,0 1 0,0-13 15,-1 12-15,-12 1 0,13-13 16,-14 13-16,14-1 0,0-12 0,-14 13 15,1-1-15,13-12 0,-1 13 0,1-1 16,-13 1-16,12 0 0,1-13 16,0 12-16,0 1 0,-14-13 0,14 12 15,0-12-15,-14 13 0,14-1 16,0 1-16,0 0 0,-1-13 16,1 12-16,13 1 0,-13 0 0,0 0 15,0-1-15,13 1 0,-27-13 16,14-1-16,0 14 0,13 0 15,-14 0-15,1-1 0,13 1 0,-13-13 16,0 12-16,-1 1 0,14 0 0,-13 0 16,0 0-16,13-1 0,-13 1 15,13 0-15,-13 0 0,-1-1 0,14 1 16,-13 0-16,13 0 0,-13-14 0,13 14 16,-13 0-16,13 0 0,-14-1 15,14 1-15,-13 0 0,13 0 16,-13-1-16,13 1 0,0 0 0,-13 0 15,13-1-15,0 1 0,-13 0 0,13 0 16,-14 0-16,14-1 0,0 1 16,0 0-16,-13 0 0,13-1 15,0 1-15,-13 0 0,13 0 0,0 0 16,0-1-16,-13 14 16,13-13-16,0 0 0,0 0 15,0-1-15,-14-12 16,14 13-16,0-1 15,0 1 1,0 0 0,0 0-16,0 0 15,-13 13-15,13-14 16,0 1 0,0 0 15,-13 13 16,0 0-47,13 13 31</inkml:trace>
  <inkml:trace contextRef="#ctx0" brushRef="#br0" timeOffset="165579.18">18521 10266 0,'-13'26'0,"-1"-26"0,14 14 15,-13-14-15,13 13 0,-13 0 16,0 0-16,13 0 0,0 1 16,-14-1-16,1 0 0,13 0 0,-13-13 15,13 14-15,0-1 0,-13 0 0,13 0 16,-13 1-16,13-1 15,-14 0-15,14 0 16,0 0 0,14-39 46,-14 13-62,0 0 0,13-1 16,-13 1-16,0 0 15,13 13-15,-13-13 0,0-1 16,13 1-16,-13 0 16,13 13-16,-13-13 0,0-1 15,14 14-15,-14-13 16,13 0 0,0 13-16,0 0 15,1 0-15,-1 0 16,0 0-16,-13 13 0,13-13 15,1 13-15,-1 1 0,0-14 16,0 13-16,0 0 0,-13 0 0,14-13 16,-1 14-16,-13-1 0,13-13 15,0 13-15,1 0 0,-14 1 16,13-14-16,-13 13 0,13 0 16,-13 0-1,13 0 1,-13 1-16,13-14 0,1 13 15,-1-13 1</inkml:trace>
  <inkml:trace contextRef="#ctx0" brushRef="#br0" timeOffset="167005.24">18600 9538 0,'0'40'15,"0"-27"1,0 0-16,0 1 31,13-41 32,-13 14-48,14 13-15,-14-13 0,13-1 16,0 14 0,0 14 15,1-1-15,-14 0 15,13-13-16,0-13 1,-13 0 0,13 13-16,-13-14 15,13 14 1,1 0 0,-1 14-1,0-14 1,14 0 15,-14-14-15,0 1-16,0 0 15,1 0 17,-14 26-17,0 0 1,13-13-16,-13 13 15,13-13 1,0 0-16,0 0 16,-13-13-16,14 13 0,-14-13 0,13 0 15,0 0 1,-13-1-16,0 1 0,13 0 16,-13 0-16,0-1 0,14 1 0,-14 0 15,0 0-15,0-1 16,13 14-16,-13 27 31,0-14-15,-13 0-16,13 14 15,0-14-15,0 0 16</inkml:trace>
  <inkml:trace contextRef="#ctx0" brushRef="#br0" timeOffset="167130.87">18904 9512 0,'0'-13'0,"27"-1"31,-14 1-31,0 0 0</inkml:trace>
  <inkml:trace contextRef="#ctx0" brushRef="#br0" timeOffset="167786.04">17846 9882 0,'13'13'0,"1"-13"0,-14 14 0,13-14 0,-13 13 15,13 0-15,-13 0 0,0 1 16,13-1-16,-13 0 0,0 0 0,0 0 16,0 1-16,0-1 0,14-13 15,-14 13-15,0-39 47,0 12-47,13 1 16,-13 0-16,13 13 0,-13-13 15,13 0-15,-13-1 0,13 14 0,-13-13 16,14 13-16,-1-13 0,0 13 0,14 0 16,-27 13-1,13-13-15</inkml:trace>
  <inkml:trace contextRef="#ctx0" brushRef="#br0" timeOffset="168249.4">18124 9988 0,'0'-26'16,"0"12"-1,-13 41 32,13-14-47,0 0 16,13 0-16,-13 1 15,13-1-15,0-13 16,1 13 0,-1-13-16,0-13 0,0 13 15,1 0-15,-14-13 16,13 13-16,-13-14 0,13 14 15,-13-13-15,0 0 0,13 13 16,-13-13-16,0 0 0,13 13 16,-13-14-1,14 14 1,-1 14-16,0-14 16,-13 13-16,13-13 0,-13 13 15,0 0-15,0 0 16,0 1-16,0-1 15,-13 0-15,0 0 16,13 1-16,-13-14 0,13 13 16,-14-13-16</inkml:trace>
  <inkml:trace contextRef="#ctx0" brushRef="#br0" timeOffset="168986.16">18415 9975 0,'0'13'47,"-13"0"-31,26 0-16,-13 1 31,13-14-31,0-14 16,1 14-16,-1-13 15,0 13 1,0 0-16,1 13 31,-1 1-15,0-14-1,0 0 1,1 0-16,-1-14 16,0 1-16,0 13 15,-13-13-15,13 0 0,1 0 16,-14-1-16,13 1 0,-13 0 16,0 0-16,0-1 0,13 14 0,-13-13 15,0 0-15,13 0 16,-13 39 15,0-13-31,14 1 16,-14-1-16,0 0 0,0 0 15,13-13-15,-13 14 0,13-1 0,-13 0 16,13-13-16,0 13 0,1-13 16,-1-13-1,0 13-15,0-13 0,1 0 16,-1-1-16,-13 1 0,13 0 15,-13 0-15,13-1 0,-13-12 16,14 13-16,-14-1 0,0 1 16,13 13-16,-13-13 0,13 39 31,-13-12-15,0-1-16,0 0 0,0 0 15,0 1-15,13-1 0,-13 0 0,13 0 16,-13 1-16,14-1 15,-1 0-15,0-13 16,0 0-16,1-13 16</inkml:trace>
  <inkml:trace contextRef="#ctx0" brushRef="#br0" timeOffset="169225.74">18719 9948 0,'66'-13'31,"-52"0"-31,-1 13 0,13 0 16,-12 0-16,12-13 0,-13 13 0,14 0 15,-14-14-15,0 14 0,0 0 0,1-13 16,-1 13-16,0 0 0,0 0 15,-13-13-15,14 13 0,-1 0 16,0 0 0</inkml:trace>
  <inkml:trace contextRef="#ctx0" brushRef="#br0" timeOffset="176258.26">8281 3545 0,'0'0'0,"67"-13"0,-41 13 0,27 0 0,0 0 15,13 0-15,0-13 0,14 13 16,-1 0-16,0 0 0,1-13 0,12 13 15,1 0-15,-14-14 0,1 14 0,-1-13 16,0 13-16,1 0 16,-1-13-16,1 13 0,-14-13 0,-13 13 15,-1 0-15,-12-13 0,0 13 0,-14 0 16,1 0-16</inkml:trace>
  <inkml:trace contextRef="#ctx0" brushRef="#br0" timeOffset="176509.42">9181 3559 0,'27'0'0,"-1"0"0,-13 0 15,27 0-15,-14 0 0,14 0 0,13 0 16,-13 0-16,26 0 0,-13 0 15,0 0-15,13-14 0,-13 14 0,13 0 16,-13 0-16,0 0 0,0 0 0,-1 0 16,-12 0-16,-13 0 0,-1 0 15,1 0-15,-1-13 0,-13 13 0,14 0 16,-14 0-16,0 0 0</inkml:trace>
  <inkml:trace contextRef="#ctx0" brushRef="#br0" timeOffset="178027.16">14962 3545 0,'146'0'15,"-93"0"-15,224-13 16,-197 13-16,-1 0 15,1 0-15,12 0 0,-12 0 0,-14 0 16,13 0-16,-13 0 0,-13-13 16,13 13-16,-13 0 0,0 0 0,0 0 15,-13 0-15,-1 0 0,-12 0 0,-1 0 16,-12 0-16,-1 0 0,0 0 16</inkml:trace>
  <inkml:trace contextRef="#ctx0" brushRef="#br0" timeOffset="178393.36">14975 3704 0,'67'0'0,"-15"0"0,1-13 0,0 13 16,27 0-16,-14-13 0,13 13 15,14 0-15,-14 0 0,14 0 0,-14-14 16,1 14-16,-1 0 0,-26 0 0,13 0 16,-13 0-16,-13 0 0,12 0 15,-12 0-15,-13 0 0,-1 0 0,1 0 16,-14 0-16,13 0 0,-13 14 0,1-14 15,-1 0-15,0 0 16,0 0-16,1-14 16,-1 14 15</inkml:trace>
  <inkml:trace contextRef="#ctx0" brushRef="#br0" timeOffset="179841.24">18574 3519 0,'291'-27'31,"-212"14"-31,14 13 0,-1-13 16,14 13-16,27 0 0,-28 0 0,28-13 15,-28 13-15,1 0 0,0 0 16,0 13-16,0-13 0,0 0 0,-14 0 16,1 0-16,-14 0 0,1 0 15,-14 0-15,-13 0 0,0 0 0,-1 0 16,-12 0-16,-13-13 0,-1 13 0,1 0 15,-14 0-15,13 0 0,-13 13 16,1-13-16</inkml:trace>
  <inkml:trace contextRef="#ctx0" brushRef="#br0" timeOffset="180167.39">19420 3612 0,'291'-27'31,"-211"27"-31,12-13 0,14 13 0,27 0 16,-28 0-16,1-13 0,93 26 15,-107-13-15,-12 0 0,12 0 0,-12 0 16,-14 0-16,0 13 0,-13-13 16,0 0-16,26 0 0,-39 0 15,-27 0-15,13 0 0,1 0 0,-14 0 16,0 0-16,1 0 16,-1 0-16,0 0 0,0 0 0,14 0 0,-14 0 15,0 0-15,14-13 0</inkml:trace>
  <inkml:trace contextRef="#ctx0" brushRef="#br0" timeOffset="181813.89">4471 4101 0,'252'-26'15,"-173"12"1,1 1-16,-1 13 0,14-13 0,-1 13 16,-12-13-16,12 13 0,-12-14 15,12 14-15,-13 0 0,14-13 0,-14 13 16,1-13-16,-1 13 0,-13 0 0,-13-13 16,0 13-16,0 0 15,-13 0-15,-1 0 0,-12 0 0,-1 0 0,1 0 16,-14 0-16,0 0 0</inkml:trace>
  <inkml:trace contextRef="#ctx0" brushRef="#br0" timeOffset="182073.58">5054 4207 0,'92'0'16,"-52"0"-16,13 0 16,0 0-16,13-13 0,13 13 15,1 0-15,-1 0 0,14-14 0,-14 14 0,0 0 16,14 0-16,-14 0 0,-13 0 16,1-13-16,-15 13 0,1 0 0,0 0 15,-13 0-15,-14 0 0,1 0 16,-1 0-16,-12 0 0,12 0 15,-13 0-15,1 0 0,-1 0 0</inkml:trace>
  <inkml:trace contextRef="#ctx0" brushRef="#br0" timeOffset="182703.2">8916 4141 0,'93'-13'0,"-186"26"0,226-26 0,-54-1 16,-13 14-16,14-13 0,-14 13 0,13 0 16,14 0-16,-1-13 0,-12 13 15,12 0-15,1 0 0,-14 13 0,14-13 16,-14 0-16,1 0 0,-1 0 0,-26 0 16,13 0-16,-26 0 0,0 0 15,-1 0-15,-12 0 0,-1-13 16,-13 13-16,14 0 0,-14 0 0,-13-13 15</inkml:trace>
  <inkml:trace contextRef="#ctx0" brushRef="#br0" timeOffset="183026.95">8811 4392 0,'0'0'0,"185"-26"0,-106 26 0,14-14 15,-14 14-15,27-13 16,13 13-16,-13-13 0,-13 0 0,12 13 16,-12 0-16,13-14 0,-27 14 0,14 0 15,-14-13-15,-13 13 0,0 0 16,-13-13-16,-13 13 0,0 0 0,-14 0 15,1 0-15,-1-13 0,-13 13 0,1 0 16,-1 0-16,0 0 0,0 0 16,0 0-16,1 0 0,-1-13 15</inkml:trace>
  <inkml:trace contextRef="#ctx0" brushRef="#br1" timeOffset="197735.96">20201 12052 0,'-27'0'141,"14"-13"-126,0 13 1,0-14-16,13 1 0,-13 0 16,-1 0-1,14-1-15,-13 1 16,13 0-16,-13 13 0,13-13 0,-13-1 16,13 1-16,0 0 0,-14 0 0,1 0 15,13-1 1,-13-12-16,13 13 0,-13-1 0,13 1 15,0 0-15,-14 0 0,14 0 0,-13-1 16,13 1-16,-13-13 0,13 12 16,-13 1-16,13 0 0,0 0 0,-13 13 15,13-14-15,0 1 0,-14 0 0,14 0 16,0 0-16,-13-1 0,13 1 0,-13-13 16,13 12-16,0 1 0,-13 0 15,13 0-15,0-1 0,-14-12 0,14 13 16,0 0-16,-13-1 0,13-12 0,0 13 15,-13-1-15,13-12 16,0 13-16,0-1 0,0 1 0,0-13 16,0 13-16,0-1 0,0 1 0,0-13 15,-13 12-15,13 1 0,0-27 16,0 1-16,0 26 16,0-14-16,13 14 0,-13-14 0,0 14 15,0 0-15,0-13 0,0 12 16,0 1-16,0 0 0,0-14 0,0 14 15,0-13-15,13 12 0,-13-12 0,0 13 16,0 0-16,0-14 0,13 14 16,-13 0-16,0-14 0,0 14 0,0 0 15,14-1-15,-14 1 0,0-13 16,0 13-16,13-1 0,-13-12 16,0 13-16,13-1 0,0-12 15,-13 0-15,0 12 0,14 1 16,-14 0-16,13 0 0,0-1 0,-13 1 15,13 0-15,0 0 0,-13-1 16,14 1-16,-1-13 0,0 13 16,-13-14-16,13 14 0,1 13 0,-14-13 15,13-1-15,-13 1 0,13 0 16,0 0-16,-13-1 0,14 1 0,-14 0 16,13 13-16,-13-13 0,13 0 0,0-1 15,-13 1-15,13 0 0,1 0 16,-1 13-16,-13-14 0,13 1 15,0 0-15,1 0 0,-1-1 16,0 1-16,0 13 0,-13-13 0,14 0 16,-1 0-16,0 13 15,-13-14-15,13 14 0,-13-13 16,13 0-16,1 13 16,-14-13-1,13-1 1,0 14-1,-13-13 17</inkml:trace>
  <inkml:trace contextRef="#ctx0" brushRef="#br1" timeOffset="198085.96">20254 9869 0,'26'-13'15,"-12"13"1,-1 0-16,0 0 15,0 0-15,0 0 0,1 0 16,-1 0-16,0 0 0,0 0 0,1 0 16,-1 0-16,0 0 0,0 13 15,1 0-15,-1 0 16,-13 1-16,0-1 16,0 0-16,0 0 0,0 1 15,0-1-15,0 0 16,0 0-16,0 0 0,0 14 0,0-14 15,0 14-15,0-1 0,13 1 0,-13 12 16,13 1-16</inkml:trace>
  <inkml:trace contextRef="#ctx0" brushRef="#br1" timeOffset="200025.22">3916 3572 0,'0'0'0,"-13"-13"0,13 39 32,0 1-17,0-14-15,0 13 0,0 1 16,0 12-16,0 1 0,-14 13 0,14-13 15,0-1-15,0 1 0,0 0 0,0-14 16,0 1-16,0-14 0,-13 13 16,13 1-16,0-14 0,0 0 0,0 1 15,0-1-15,0 0 0,0 0 16</inkml:trace>
  <inkml:trace contextRef="#ctx0" brushRef="#br1" timeOffset="201517.84">3836 3453 0,'14'0'16,"-14"-13"-16,13 13 16,0 0-16,14 0 0,-14 0 0,13 0 15,1 0-15,-1 0 0,14 0 16,0 0-16,-1 0 0,14 0 0,0 0 16,-13-14-16,13 14 0,0 0 0,0 0 15,-1 0-15,1-13 0,-13 13 16,26 0-16,-13 0 0,0-13 0,0 13 15,0 0-15,13 0 0,-13 0 0,26-13 16,-26 13-16,13 0 0,1 0 16,-15 0-16,1 0 0,14 0 0,-15 0 15,1 0-15,13 0 0,-13 0 0,0 0 16,13 0-16,-13 0 16,0 0-16,-13 0 0,13 0 0,0 0 15,0 0-15,-27 0 0,14 0 0,-14-14 16,14 14-16,-14 0 0,1 0 15,-1 0-15,-12 0 0,12 0 0,-13 0 16,1 0-16,12 0 0,-13 0 0,0 0 16,1 0-16,-1 0 15,0-13-15,0 13 0,1 0 0,-1 0 16,0 0-16,0 0 0,14 0 16,-14-13-1,0 13 1,0 0-16,1 0 0,12 0 31,-13 0-31,14 0 16,-14 0-16,0 0 15,1 0-15,-1 0 16,0 0-16,0 0 0,0 0 16,1 0-16,-1 0 15,0 0-15,0 0 31,1 0-15,-1 0 15,-13 13-15,13 0-16,-13 1 16,0-1-1,0 0-15,0 0 0,0 1 16,0-1-16,0 0 0,13 0 0,-13 0 15,0 14-15,0-14 0,0 0 16,0 1-16,0 12 0,0-13 0,0 1 16,0 12-16,0 14 15,0-27-15,0 0 0,0 14 16,0-14-16,0 13 0,0-12 0,-13-1 16,13 13-16,0-13 0,0 1 0,0-1 15,0 0-15,0 14 0,0-1 16,0-13-16,0 1 15,0-1-15,0 0 0,0 0 0,0 0 16,0 1 0,0-1-16,0 0 15,-13 0-15,13 1 16,0-1 0,0 0-16,0 0 15,0 1-15,0-1 16,0 0-1,0 0 1,0 0 0,0 1-1,-13-14 1,-1 0 0,1 0-1,0 0-15,0 0 0,-1 0 16,-12 0-16,13 0 0,-27 0 0,14 0 15,-27 0-15,-13 0 0,13 13 0,-14-13 16,1 0-16,-13 0 0,0 0 16,12 0-16,1 13 0,13-13 15,0 0-15,1 0 0,12 0 0,13 0 16,-12 0-16,12 0 0,-12 0 0,12 0 16,-13 0-16,14 0 0,-14 0 15,1 0-15,12 0 0,-13 0 0,14 0 16,-14 0-16,-13 0 0,0 0 0,14 0 15,-1 0-15,14 0 0,-14 0 16,13 0-16,1 0 0,0 0 16,12 0-16,-12 0 0,-1 0 0,14 0 0,-13 0 15,12 0-15,-12 0 16,0 0-16,-1 0 0,14 0 0,-14 0 16,1 0-16,-1 0 0,1 0 0,0 0 15,-1 13-15,14-13 0,-14 0 16,1 0-16,0 0 0,-1 0 0,1 0 15,12 0-15,1 14 0,-13-14 0,12 0 16,1 0-16,0 0 0,0 0 0,0 0 16,-1 0-1,1 0-15</inkml:trace>
  <inkml:trace contextRef="#ctx0" brushRef="#br1" timeOffset="209662.26">23535 12105 0,'0'0'15,"39"0"-15,-25 0 16,12 0-16,1 0 0,12 0 15,1 0-15,13 0 0,0-14 0,-14 14 16,14 0-16,0-13 0,-13 13 0,13-13 16,-13 13-16,-1-13 0,1 13 15,-14 0-15,1-13 0,-14 13 0,14 0 16,-14 0-16,0 0 0</inkml:trace>
  <inkml:trace contextRef="#ctx0" brushRef="#br1" timeOffset="209859.78">23627 12131 0,'-13'0'0,"26"0"0,14 0 32,-1 0-32,1 0 0,-1 0 15,14 0-15,-1 0 0,14 0 0,0-13 16,-13 13-16,13 0 0,-13 0 0,-1-13 15,-12 13-15,-1 0 0,1 0 16,-1 0-16,-13 0 0,1 0 0,-1 0 16,0 13-16,0-13 0,-13 13 0</inkml:trace>
  <inkml:trace contextRef="#ctx0" brushRef="#br1" timeOffset="210243.15">24196 12726 0,'0'0'15,"40"0"-15,-14-13 0,-12 13 0,-1 0 0,0-13 16,0 13-16,14 0 16,-14-13-16,0 13 0,0 0 0,1 0 15</inkml:trace>
  <inkml:trace contextRef="#ctx0" brushRef="#br1" timeOffset="210427.02">24156 12806 0,'27'0'0,"79"-13"31,-93-1-31,13 14 0,14 0 16,0-13-16,-14 13 15,-12 0-15,-1 0 0,0 0 16</inkml:trace>
  <inkml:trace contextRef="#ctx0" brushRef="#br1" timeOffset="212058.4">3003 1244 0,'26'13'31,"-12"-13"-16,-1 13-15,13-13 0,1 0 0,-1 0 16,14 0-16,-14 0 0,27 0 0,-13 0 16,0 0-16,13-13 0,-14 13 15,1 0-15,0 0 0,-14-13 0,1 13 16,12 0-16,-25-14 0,12 14 0,0 0 16,-12 0-16,-1 0 0,13-13 15,-12 13-15,-1 0 16,0 0-16</inkml:trace>
  <inkml:trace contextRef="#ctx0" brushRef="#br1" timeOffset="-196714.62">5133 6376 0,'-13'0'0,"39"0"63,-13 0-48,1 0-15,-1 0 16,0 0-16,0 0 15,1 0-15,-1 0 0,0 0 0,0 0 16,0 0-16,1 0 0,-1 0 16,13 0-16,-12 0 0,-1 0 0,13 0 15,-12 14-15,12-14 0,-13 0 0,14 0 16,-14 0-16,0 0 0,14 0 16,-14 0-16,13 0 0,-13 0 15,14 0-15,-14 0 0,14 0 0,-1 0 16,1-14-16,-14 14 0,13 0 15,1 0-15,-1 0 0,1 0 0,-1 0 16,1 0-16,-1 0 0,0 0 0,1 0 16,-1 0-16,-12-13 0,12 13 15,0 0-15,1 0 0,-14 0 0,14 0 16,-14-13-16,13 13 0,-12 0 0,-1 0 16,0 0-16,0 0 0,0 0 15,1 0-15,-1 0 0,0 0 0,0 0 16,1 0-16,-1 0 0,0 0 0,0 0 15,1 0-15,-1 0 0,0 0 16,0-13-16,0 13 0,1 0 16,12 0-16,-13 0 0,1 0 0,-1 0 15,0 0-15,0 0 0,14 0 16,-14 0-16,0 0 0,0 0 0,14 0 16,-14 0-16,0 0 0,14 0 15,-14 0-15,14 0 0,-14 0 0,0 0 16,13 0-16,-12 0 0,12 0 15,-13 0-15,14 0 0,-14 0 0,13 0 16,-12 0-16,12 0 0,1 0 16,-14 0-16,0 0 0,14 0 0,-1 0 0,-13 0 15,14 0-15,-1 0 0,1 0 16,-14 0-16,13 0 0,1 0 16,-1 0-16,1 0 0,-14 0 0,13 0 15,1 0-15,-14 0 0,13 0 16,1 0-16,-14 0 0,14 0 0,-14 0 15,0 0-15,14 0 0,-14 0 0,0 0 16,13 0-16,-12 0 0,-1 0 16,0 0-16,0 0 0,14 0 0,-14 0 15,0 0-15,1 0 0,-1 0 16,0 0-16,0 0 0,0 13 0,1-13 16,-1 0-16,13 0 0,-12 0 15,-1 0-15,13 0 0,-12 0 0,12 0 16,0 0-16,1 0 0,-1 0 15,1 0-15,-14 0 0,14 0 0,-1 0 16,0 0-16,1 0 0,-1 0 16,-12 0-16,12 0 0,-13 0 0,14 0 15,-14 13-15,0-13 0,14 0 16,-14 0-16,0 0 0,0 0 0,1 0 16,-1 0-16,0 0 0,0 0 15,0 13-15,1-13 16,-1 0-1,0 0 1,0 0 31,-13 14-31</inkml:trace>
  <inkml:trace contextRef="#ctx0" brushRef="#br1" timeOffset="-195921.15">9697 6390 0,'53'0'31,"-27"0"-31,14 0 0,13 0 0,0 0 16,0-14-16,0 14 0,0 0 0,0 0 15,13 0-15,-13 0 0,13 0 16,-13 0-16,13 0 0,-13 0 0,-14 0 16,1 0-16,0 0 0,-14 0 15,1 0-15,-1 0 0,1 14 16,-14-14-16,0 0 0,0 0 0,1 0 15,-1 0-15</inkml:trace>
  <inkml:trace contextRef="#ctx0" brushRef="#br1" timeOffset="-193465.72">14803 6443 0,'27'13'15,"-14"0"-15,0-13 16,14 0-16,-1 0 0,1 0 0,12 0 16,14 0-16,0 0 0,0 0 15,0 0-15,13 0 0,-13 0 0,27 0 16,-1 13-16,0-13 0,1 0 16,-1 0-16,0 0 0,1 0 0,-1 14 15,-13-14-15,14 0 0,-1 0 0,0 13 16,1-13-16,-14 0 0,13 13 15,-13-13-15,-13 13 0,27-13 0,-27 0 16,13 13-16,13-13 0,-13 14 16,0-14-16,1 0 0,-14 13 0,-1-13 15,1 0-15,0 13 0,0-13 16,0 0-16,0 0 0,-13 0 0,13 0 16,-27 0-16,14 0 0,-14 0 0,1 0 15,-1 0-15,1 0 0,-1 0 16,1 0-16,-1 0 0,-13 0 0,0 13 15,14-13-15,-14 0 0,0 0 0,1 0 16,-1 0-16,0 0 16,0 0-16,1 0 15,-1 0-15,0 0 32,0 0-1,0 0 0,-13 14 32</inkml:trace>
  <inkml:trace contextRef="#ctx0" brushRef="#br1" timeOffset="-192353.58">20677 6390 0,'40'0'31,"-14"0"-15,14 0-16,13 0 0,0 0 0,0 0 15,13 0-15,0 0 0,13 0 0,1 13 16,-1-13-16,-13 0 0,14 0 16,-1 0-16,-13 0 0,0 0 0,1 0 15,-15 0-15,1 0 0,14 13 0,-15-13 16,1 0-16,0 0 0,-13 0 16,-14 0-16,14 0 0,0 0 15,-14 0-15,1 0 0,-1 0 0,1 0 16,-14 0-16,0 0 0,14 0 15,-14 0-15,0 0 0,0 0 16,0 0-16,1 0 16,-41 13 15,14-13-31,0 0 0,0 0 0,-14 14 16</inkml:trace>
  <inkml:trace contextRef="#ctx0" brushRef="#br1" timeOffset="-190245.31">1508 6932 0,'13'13'0,"14"-13"16,-14 0-16,0 0 0,1 0 0,-1 0 0,13 0 15,1 0-15,12 0 16,1 0-16,0 0 0,13 0 0,13 0 15,-13 0-15,0 0 0,13 14 0,-13-14 16,13 0-16,-13 0 0,26 0 16,0 0-16,1 0 0,-14 0 0,13 0 15,1 0-15,-1 0 0,67 0 16,-67 0-16,0-14 0,1 14 16,-14 0-16,13 0 0,-13 0 15,-13 0-15,27 0 0,-14-13 0,-13 13 0,13 0 16,0 0-16,-13 0 0,0 0 15,0-13-15,13 13 0,-13 0 16,-13 0-16,13 0 0,-1 0 0,-12 0 16,-13 0-16,12 0 0,-12 0 15,12 0-15,-12 0 0,13 13 0,-14-26 16,0 26-16,1-13 0,-1 0 0,1 0 16,-1 0-16,1 0 0,-1 0 15,1 0-15,-14 0 0,13 0 0,-12 0 16,12 0-16,0-13 0,-12 13 15,12 0-15,-13 0 0,1 0 0,12 0 16,-13 0-16,1 0 0,12 0 0,-13 0 16,0 0-16,14 0 0,-14 0 15,0-13-15,14 13 0,-1 0 16,-12 0-16,-1 0 0,0 0 16,13 0-16,-12 0 0,-1 0 0,0 0 15,0-14-15,1 14 0,12 0 16,-13 0-16,1 0 0,-1 0 0,26 0 15,-25 0-15,12 0 0,-13 0 16,1 0-16,12 0 0,-13-13 16,1 13-16,12 0 0,-13 0 0,14 0 15,-14 0-15,13 0 0,-12 0 0,12 0 16,-13 0-16,14 0 16,-14 0-16,13 0 0,-12 0 0,12 0 0,-13 0 15,14 0-15,-14 0 0,0 0 16,14 0-16,-14 0 0,0 0 15,14 0-15,-14 0 0,0 0 0,0-13 16,1 13-16,-1 0 0,0 0 0,0 0 16,0 0-16,14 0 15,-14 0 1,0 0-16,1 0 16,-1 0-1,0 0 1,0-13 15</inkml:trace>
  <inkml:trace contextRef="#ctx0" brushRef="#br1" timeOffset="-189309.16">1204 9525 0,'0'-13'0,"0"39"31,0-13-31,13 14 0,-13-14 16,0 14-16,0-1 15,0 1-15,0-1 0,0 0 0,13 14 0,-13-13 16,-13-1-16,13 0 0,0 1 16,0-1-16,0-12 0,-13 25 15,13-12-15,0-14 0,0 0 16,0 0-16,-13 1 0</inkml:trace>
  <inkml:trace contextRef="#ctx0" brushRef="#br1" timeOffset="-189029.6">1191 9591 0,'-14'0'0,"14"13"0,-13-13 16,13 14-16,-13-1 0,0 0 0,-40 80 47</inkml:trace>
  <inkml:trace contextRef="#ctx0" brushRef="#br1" timeOffset="-188806.54">1151 9538 0,'0'0'16,"26"13"-1,-26 1-15,14-14 16,-14 13-16,13 0 0,-13 0 16,13 1-16,0-1 0,-13 0 0,14 0 15,-1 1-15,-13-1 0,26 13 16,-13-13-16,-13 1 0,14-14 0,-1 13 15</inkml:trace>
  <inkml:trace contextRef="#ctx0" brushRef="#br1" timeOffset="-188602.28">1495 9710 0,'0'66'32,"0"-52"-17,0 25-15,0-26 0,0 1 16,0 12-16,0-13 0,0 1 16</inkml:trace>
  <inkml:trace contextRef="#ctx0" brushRef="#br1" timeOffset="-187879.66">1680 9710 0,'-26'0'15,"-1"40"1,27-27-16,-13 0 16,13 1-16,0-1 0,0 0 0,0 0 15,0 0-15,0 1 0,13-1 16,-13 0-16,13 0 0,1 1 16,-1-14-16,0 0 15,0 0-15,1 0 16,-1 0-16,0-14 0,0 1 15,0 0-15,-13 0 0,0-1 16,0 1-16,0 0 16,0 0-16,0-14 15,-13 14 1,13 0-16,0 39 78,0-12-78,13-1 16,-13 0-16,14-13 0,-14 13 15,13 0 1,0 1-16,-13-1 16,13-13-16,-13 13 15,14-13-15,-14 13 16,13-13-16,-13 14 15,13-1 1,0-13 0,1 0-1</inkml:trace>
  <inkml:trace contextRef="#ctx0" brushRef="#br1" timeOffset="-187618.19">1614 9525 0,'-13'0'0,"39"13"31</inkml:trace>
  <inkml:trace contextRef="#ctx0" brushRef="#br1" timeOffset="-187263.48">1984 9935 0,'-13'-26'0,"13"12"0,0 1 15,0 0-15,0 0 16,0-1-16,0 1 16,-13 0-16,13 0 15,-13 26 17,13 0-32,-14-13 0,14 13 15,0 1-15,0-1 0,0 0 16,14-13-16,-14 13 0,0 1 15,13-14-15,0 13 0,0-13 0,1 0 0,-1 0 16,0 0-16,0 0 0,1 0 16,-1 0-16,0 0 0</inkml:trace>
  <inkml:trace contextRef="#ctx0" brushRef="#br1" timeOffset="-186485.68">2302 9710 0,'-13'13'32,"-1"-13"-32,14 14 0,0-1 15,0 0-15,0 0 0,0 1 16,0 12-16,0-13 0,0 0 16,0 1-16,14-1 0,-14 0 15,0 0-15,13-13 0,-13 14 16,13-14-16,-13 13 15,13-13-15,1 0 16,-1 0-16,-13-13 0,13 13 16,-13-14-16,13 14 15,-13-13-15,13 13 0,1-13 16,-1 13-16,0 0 16,0 0-1,1 13-15,-1-13 16,-13 13-16,13 1 15,-13-1 1,13-13-16,1-13 47,-14-1-47,13 1 16,-13 0-16,13 0 0,-13-1 15,13 1-15,0 13 0,-13-13 16,14 13-16,-1 0 15,0 13 1,0-13 0,1 0-16,-1 0 15,-13-13 1,13 13 0,-13-13-16,13 26 46,-13 0-46,0 0 16,14 1 0,-1-14-1,0 0-15,0 0 16,0 0-16</inkml:trace>
  <inkml:trace contextRef="#ctx0" brushRef="#br1" timeOffset="-186100.56">3836 9565 0,'14'13'0,"-28"-26"0,28 39 16,-14-13-16,0 1 0,0-1 15,13 0-15,-13 0 0,0 14 0,0-14 16,0 27-16,0-27 16,0 0-16,0 0 0,0 1 15,0-1-15,0 0 0,0 0 0,0 0 16</inkml:trace>
  <inkml:trace contextRef="#ctx0" brushRef="#br1" timeOffset="-185880.57">3929 9551 0,'-26'27'15,"12"-27"1,1 13-16,13 0 0,-13 1 0,0-1 15,-1 13-15,14-12 0,-13-1 0,0 0 16,0 0-16,13 0 0,-13 1 16,-1-14-16,14 13 0,-13 0 15</inkml:trace>
  <inkml:trace contextRef="#ctx0" brushRef="#br1" timeOffset="-185722.66">3876 9538 0,'27'13'16,"-14"1"-1,0-1-15,0 0 0,1-13 16,-14 13-16,13 1 0,13-14 0,-13 13 16,1-13-16</inkml:trace>
  <inkml:trace contextRef="#ctx0" brushRef="#br1" timeOffset="-185237.45">4405 9525 0,'-13'13'15,"26"-26"-15,-39 26 0,26 0 0,-13 1 16,13-1-16,0 0 16,0 0-16,0 1 0,13-1 0,-13 0 15,13 14-15,-13-14 0,13 13 16,1-13-16,-1 14 0,-13-14 0,13 14 16,-13-14-16,13 0 0,-13 0 0,0 0 15,0 1-15,-13-1 16,13 0-16,-13 0 0,0-13 0,-1 14 15,1-14-15,0 13 0,-14-13 16,14 0-16,0 0 0,0 0 16,-1 0-16,1 0 0,13-13 15,-13 13-15,13-14 16,13 1-16</inkml:trace>
  <inkml:trace contextRef="#ctx0" brushRef="#br1" timeOffset="-184502.41">4538 9684 0,'13'13'47,"-13"0"-31,0 0-16,0 1 15,0-1-15,0 0 16,13 0-16,-13 1 0,13-1 15,1 0 1,-1-13 0,0-13-16,0 13 15,-13-13-15,13 13 0,-13-14 16,14 14-16,-14-13 0,0 0 16,13 13-16,-13-13 15,0-1-15,13 1 31,0 26 16,-13 1-31,14-14-16,-14 13 16,0 0-16,0 0 15,13 1-15,-13-1 16,13-13-1,0 0 32,0-13-47,-13-1 16,14 14-16,-1-13 16,0 0-1,0 13 1,1 0-1,-14 13-15,13-13 16,0 13 0,0-13 15,1 0 0,-14-13-31,13 13 16,0-13-1,0 13-15,0 0 16,-13-13-16,14 13 0,-1 0 16,0 0-16,0-14 0,1 14 0,12 0 15,-13 0-15,1-13 0</inkml:trace>
  <inkml:trace contextRef="#ctx0" brushRef="#br1" timeOffset="-183882.61">5186 9366 0,'0'0'16,"0"27"15,13-1-31,-13-13 0,13 14 0,-13-1 16,0-12-16,14 12 0,-14 0 15,13 1-15,-13-14 0,0 0 16,13 14-16,-13-1 0,0-12 16,0-1-16,13-13 0,-13 13 0,0 0 15,0-39 16,0 13-15,13-1-16,-13 1 16,14 13-16,-14-13 0,13 13 15,0 0-15,0 0 16,1 0-16,-14 13 16,0 0-1,0 14-15,-14-27 0,1 13 16,0 0-16,0 0 0,-1 1 0,1-1 15,0 0-15,0-13 0,0 13 16,-1-13-16</inkml:trace>
  <inkml:trace contextRef="#ctx0" brushRef="#br1" timeOffset="-183312.26">5464 9578 0,'0'26'47,"0"-12"-32,0-1-15,0 0 0,13-13 16,-13 13-16,13 1 15,0-14-15,1 0 32,-1 0-32,0 0 15,-13-14-15,0 1 16,13 0-16,-13 0 16,0-1-1,13 14-15,-13-13 0,27 26 47,-14 1-31,-13-1-16,0 0 15,13 0-15,-13 1 16,14-1 15,-1-26-15,-13-1-1,13 1-15,-13 0 0,13 13 16,-13-13-16,14 13 0,-14-14 16,0 1-16,13 13 0,0 0 15,-13-13-15,13 26 16,0-13 0,-13 13-16,14 1 15,-14-1 1</inkml:trace>
  <inkml:trace contextRef="#ctx0" brushRef="#br1" timeOffset="-182997.37">5847 9538 0,'0'0'15,"14"13"16,-14 1-31,0-1 16,13 0-16,-13 0 0,0 1 16,13-1-1,-13 0 1,13-26 0,0 13-16,-13-13 15,14 13-15,-14-14 0,13 1 16,0 0-16,-13 0 0,13-1 0,1 1 15,-1 13-15,0-13 0,0-13 16,0 26-16,1-14 0,-1 14 16,-13 14-1</inkml:trace>
  <inkml:trace contextRef="#ctx0" brushRef="#br1" timeOffset="-182441">2368 10411 0,'66'-13'31,"-13"0"-31,13 13 16,14-13-16,-1-1 0,14 1 0,-1 0 16,27 0-16,0 0 0,0-1 0,-26 1 15,13 13-15,-14-13 0,1 0 16,0 13-16,-1-14 0,-12 1 0,39 0 16,-66 13-16,-14 0 0,1 0 15,-14-13-15,-12 13 0,-1 0 16</inkml:trace>
  <inkml:trace contextRef="#ctx0" brushRef="#br1" timeOffset="-182190.82">2474 10557 0,'0'0'0,"26"-13"0,14 13 15,0 0-15,92-27 0,-53 14 16,1 0-16,12 0 0,14-1 16,-13 1-16,-1 0 0,1 0 15,0-14-15,-14 27 0,14-13 0,-27 0 16,13-1-16,-13 1 0,-26 13 0,0-13 16,-1 13-16,-25-13 0,12 13 15,-13 0-15,0 0 0</inkml:trace>
  <inkml:trace contextRef="#ctx0" brushRef="#br1" timeOffset="-180613.45">6257 9472 0,'-13'0'0,"13"13"16,-26 1 0,26-1-16,0 0 0,-14-13 15,14 13 1,14-13 0,12 0-1,-13-13-15,1 13 16,-1 0-16,0 0 0,0 0 15,1 0-15,-1 0 0,0 0 16,0 13-16,0-13 16,1 13-16,-1 1 15,-13-1-15,13-13 0,-13 13 16</inkml:trace>
  <inkml:trace contextRef="#ctx0" brushRef="#br1" timeOffset="-174053.67">7607 6932 0,'26'0'0,"252"-13"31,-199 13-31,1 0 16,12 0-16,1-13 0,13 13 0,-14 0 15,1-14-15,0 14 0,-14 0 0,14-13 16,-14 13-16,0 0 0,1 0 0,-27-13 16,13 13-16,-26 0 0,12 0 15,-12 0-15,-13 0 0,-1 0 0,0 0 16,-12 0-16,-1 0 0,0 0 16,0 0-16,1 0 0,-1 0 15,0 0 1</inkml:trace>
  <inkml:trace contextRef="#ctx0" brushRef="#br1" timeOffset="-172223.25">14751 6787 0,'0'0'16,"39"0"15,1 13-31,-14-13 0,27 0 0,0 0 15,0 13-15,13-13 0,0 0 16,1 13-16,12-13 0,-13 13 16,13-13-16,-12 14 0,12-14 0,-13 0 15,0 13-15,-13-13 0,0 0 0,-13 0 16,13 0-16,-27 13 0,1-13 16,-1 0-16,1 0 0,-14 0 0,13 0 15,-13 0-15,1 0 16,-1 0-16,0 0 0,0 0 15,1 0-15,-1 0 16,0-13 0,0 13 15,0-13 16,-26-1 31,0 14 16,-27 0-63,27 0-31,-13 0 0,12 0 0,-38 14 16,12-14-16,-13 13 0</inkml:trace>
  <inkml:trace contextRef="#ctx0" brushRef="#br1" timeOffset="-171030.61">7210 9353 0,'0'66'0,"0"14"16,0-67-1,0 0-15,0 13 0,0-12 16,0-1-16,0 0 0,0 0 16,0 1-16,13-1 15,-13-40 48,0 14-63,0 0 0,0 0 15,0-1-15,0 1 0,0 0 0,0-13 16,0 12-16,0 1 0,0-13 16,0 12-16,0 1 0,0 0 0,0 0 15,0-1-15,0 1 0,0 0 16,13 0-16,-13 0 15,27 13 1,-14 13 0,-13 0-16,13-13 0,0 13 15,-13 0-15,14 1 0,-1-14 16,0 13-16,0 0 0,1 0 0,-1-13 16,0 14-16,0-1 0,1-13 0,-14 13 15,13-13-15,0 0 0,0 0 16,0 0-16,1 13 0,-14-26 0,26 13 15,-13 0-15,-13-13 16,14 13-16,-14-13 0,13-1 16,-13 1-16,0 0 15,0 0-15,0-1 0,0 1 0,0 0 16,0 0-16,0-14 0,0 14 0,0 0 16,0 0-16,0-1 0,0 1 15,-13 0-15,13 0 0,0 0 16,0-1-1</inkml:trace>
  <inkml:trace contextRef="#ctx0" brushRef="#br1" timeOffset="-170722.73">7660 9181 0,'13'27'0,"-13"-14"16,0 0-16,0 0 16,0 14-16,0-14 0,13 13 15,-13-12-15,0-1 0,13 0 0,-13 0 0,14 0 16,-1 1-16,-13-1 0,13-13 16,0 13-16,1-13 0,-1 0 0,0 0 15,0 0-15,0-13 0,1 13 0,-1-13 16,0 13-16,-13-14 0,13 1 0,-13 0 15,0 0-15,0 0 16,0-1-16,0 1 0,-13 0 16,0 0-16,13-1 0,-13 1 0,-1 0 15,14 0-15,-13 13 0,0-13 16,0-1-16,13 1 0,-13 0 16,13 0-16,-14-1 0</inkml:trace>
  <inkml:trace contextRef="#ctx0" brushRef="#br1" timeOffset="-170178.62">7752 8546 0,'-79'13'15,"158"-26"-15,-211 26 0,79 0 0,0 1 0,-13 12 16,0 1-16,13-1 0,-13 1 15,26 12-15,-13 1 0,14 0 0,-1 13 16,0-14-16,14 14 0,12-13 0,-12 13 16,13 0-16,13-14 0,0 14 0,0 0 15,13 0-15,-13 13 0,26-13 16,1 0-16,-1 0 0,14 0 0,0-13 16,-1 13-16,14-14 0,0 1 15,-13 0-15,13-14 0,0 0 0,0 1 16,0-14-16,13 0 0,-13 1 15,0-14-15,0 0 0,-1 0 0,1-14 16,0 14-16,0-26 0,0 13 0,0-1 16,0-12-16,-13 0 0,13-1 15,-27 1-15,14 12 0,-14-12 0,14 0 16,-14-14-16,1 13 0,-14 1 0,13-14 16,-12 14-16,-1-14 0,0 14 15,0-14-15,-13 0 0,14 1 0,-14-1 16,0 0-16,0 1 0,-14-1 0,1 0 15,0 0-15,-14-12 16,1 12-16,0 0 0,-14 0 0,0 14 16,-13 0-16,0-1 0,14 1 0,-14 12 15,0-12-15,0 13 0,0 13 0,13-14 16,-13 1-16,14 13 0,-1 0 16,14 0-16,-27 13 0,13-13 0,13 14 15,-12-1-15,26 0 0,-14 0 0,14 1 16,13-1-16,-13 0 0,13 0 15,13 1-15</inkml:trace>
  <inkml:trace contextRef="#ctx0" brushRef="#br1" timeOffset="-169833">8837 8652 0,'0'-13'0,"-26"39"31,12 1-31,-12-1 0,13 14 15,-14-14-15,-26 67 0,27-54 16,13 1-16,-1 0 0,-12-14 0,13 14 16,-1-14-16,1 1 0,0-14 15,0 14-15,13-14 0,-13 0 0,13 0 16,0 1-16,-14-1 0,14 0 31</inkml:trace>
  <inkml:trace contextRef="#ctx0" brushRef="#br1" timeOffset="-169173.68">8387 8718 0,'80'53'32,"-41"-27"-32,-12 1 0,12-14 15,1 27-15,0-14 0,39 27 16,-52-40-16,12 14 0,-12-1 16,13-12-16,-14-1 0,14 13 15,-27-13-15,0-13 0,0 14 0,1-1 16,-1-13-16,0 13 15,0-13 1,-13 13-16,14-13 16,-1 0-1,0 14 1,-13-41 265,-13 14-265,13 0-1,-13-1-15</inkml:trace>
  <inkml:trace contextRef="#ctx0" brushRef="#br1" timeOffset="-164818.68">11298 10067 0,'0'-13'16,"0"0"62</inkml:trace>
  <inkml:trace contextRef="#ctx0" brushRef="#br1" timeOffset="-163511.4">11377 10014 0,'-13'-13'0,"26"26"0,-26-39 0,0 26 16,-1 0-16,1 0 15,0 0-15,0 0 0,-14 13 0,14-13 16,-27 13-16,14 14 0,-1-14 0,1 14 16,-14-1-16,27 1 0,-13-14 15,-1 13-15,14 1 0,0-14 0,13 13 16,-14-12-16,14 12 0,-13-13 0,13 1 15,0-1-15,0 0 0,0 0 16,0 0-16,0 1 0,0-1 0,13 0 16,1-13-16,-14 13 0,13 1 0,0-14 15,0 0-15,1 13 0,-1-13 0,13 0 16,-13 0-16,14-13 16,-1 13-16,1-14 0,-14 14 0,14-13 15,-1 0-15,0 13 0,1-13 0,-14-1 16,14 1-16,-1-13 15,-13 13-15,1 13 0,-14-14 16,13 1-16,-13 0 0,13 13 0,-13-13 0,13-1 16,-13 1-1,-13 40 17,13-14-32,0 0 0,-13 0 15,13 1-15,0-1 0,13 0 16,-13 0-16,0 0 15,13 1-15,0-14 0,1 13 16,-1-13 0,0 0-16,0 0 0,-13-13 0,14 13 15,-14-14-15,13 14 0,-13-13 0,13 0 16,-13 0-16,0 0 0,0-1 16,0 1-16,0 0 15,0 0-15,-13-1 16,0 14-1,-1 0 17,41 14-1,-14-14-31,0 0 16,1 13-16,-1-13 15,-13 13-15,13-13 16,-13 13-16,13-13 0,-13 14 15,0-1-15,0 0 16,0 0 0,13-13 15,1-13-15,-1 13-16,0-13 15,0 13-15,1 0 16,-1 0-16,0 0 15,0 0-15,1 0 16,-1 0-16,13 0 16,-13 0-16,-13-13 0,14 13 15</inkml:trace>
  <inkml:trace contextRef="#ctx0" brushRef="#br1" timeOffset="-162365.55">12025 9922 0,'-39'40'31,"25"-27"-31,14 13 0,-13 1 0,0 12 16,0 1-16,13-13 0,-14 12 15,14-12-15,0 12 0,-13 1 0,13-13 16,13-1-16,-13 0 0,0 1 0,0-1 15,0-12-15,0 12 16,14-13-16,-14 14 0,0-14 0,0 0 16,0 0-16,0 1 0,-14-1 15,14 0 1,-13-26 0,0 13-16,13-13 0,-13-1 15,13 1-15,0 0 16,0 0-16,0 0 0,0-1 15,13 1-15,-13 0 0,13 0 0,0-1 16,-13 1-16,14 0 0,-1 0 16,13-1-16,-12 14 0,-1-13 0,0 0 15,0 0-15,1 13 0,-1 0 16,-13-13-16,13 13 16,0 13-1,0-13-15,-13 13 0,0 0 16,0 0-16,14 1 15,-14-1-15,13 0 16,-13 0-16,13-13 16,0 0-16,1 0 0,-1 0 15,0-13-15,0 0 16,1 13-16,-14-13 0,13-1 16,-13 1-16,0 0 0,13 0 15,-13 0-15,-13-1 16,13 1-16,0 0 15,-13 13-15,13-13 0,-14 13 16,1 0-16,0 0 16,0 13-16,-1 0 31,14 0-31,14-13 16,-14 14-1,13-14-15,0 0 16,0 0-16,1 0 15,-1 0-15,-13-14 16,13 14-16,0 0 16,0-13-1,1 13 1,-1 13 0,0 1 15,-13-1-31,13-13 15,-13 13-15,14-13 32,-14 13-17,13-26 1,0 13 0,0-13-1,0 13 1,1 0-16,-14-13 15,13 13 1,0 13 0,0 0 15,1-13-15,-14 13-1,13-13 1,0 0-1,0 0 1,1-13-16,-1 13 16,0-13-1,0 13 1</inkml:trace>
  <inkml:trace contextRef="#ctx0" brushRef="#br1" timeOffset="-161834.53">12925 10014 0,'-13'0'0,"13"14"15,-14-1-15,1 0 0,13 0 0,-13 54 32,13-54-32,0 0 0,0 0 15,0 0-15,0 1 0,0-1 0,0 0 16,0 0 0,-13-26 15,-14 13-31,14-13 15,0 13-15,0 0 0,-1 13 0,1-13 16,0 0-16,0 0 0,-1 13 16,-12-13-16,13 14 0,13-1 0,-13-13 15,-1 13-15,14 0 0,0 1 16,14-14-16,-1 0 16,0 0-16,0 0 0,0 0 15,14 0-15,-14 0 0,14-14 16,-14 14-16,13 0 0,-12 0 0,12-13 15,-13 13-15,0 0 0,1 0 0,-1 0 16,0 0-16,0 0 16,1 0-16,-1 0 0,-13 13 15,13-13-15,-13 14 16,0-1 0,0 0-1</inkml:trace>
  <inkml:trace contextRef="#ctx0" brushRef="#br1" timeOffset="-161217.74">13123 10213 0,'14'-13'0,"-14"26"31,0 0-31,0 0 31,13 1-31,13-14 63,-13-14-63,1 14 15,-1 0 1,-13-13-16,13 13 0,0 0 16,-13 13-16,14-13 15,-14 14-15,0-1 16,13-13-16,-13 13 0,-13 0 0,13 1 16,0-1-16,-14 0 0,14 0 0,-13 0 15,0 1-15,0-1 0,13 0 16,-14 0-16,1 1 0,0-1 15,0-13-15,26-27 32,-13 14-32,0 0 15,13 0-15,0-14 0,1 1 0,-1-1 16,13 1-16,1-1 0,-1 14 0,-12-13 16,12 12-16,-13 14 0</inkml:trace>
  <inkml:trace contextRef="#ctx0" brushRef="#br1" timeOffset="-161099.53">13573 10134 0,'0'-14'15,"0"1"1,-13 13 0,13-13-16</inkml:trace>
  <inkml:trace contextRef="#ctx0" brushRef="#br1" timeOffset="-159397.37">9935 7554 0,'27'13'32,"-1"-13"-32,0 0 0,1-13 15,26 13-15,0 0 0,13 0 0,13 0 16,1-13-16,-1 13 0,0 0 15,14 0-15,-14 0 0,1-14 0,-1 14 16,1 0-16,-1 0 0,-13 0 0,-13 0 16,13 0-16,-13 0 0,-13 0 15,-14 0-15,14 0 0,-14 0 16,1 0-16,-14 0 0,13 14 0,-12-14 16,-1 0-16,0 0 0,0 0 0,1 0 15,-1 0-15,0 0 16,0 0-1</inkml:trace>
  <inkml:trace contextRef="#ctx0" brushRef="#br1" timeOffset="-158487.6">13481 7594 0,'-14'0'0,"28"0"0,12 0 47,0-14-47,1 14 0,26 0 15,0 0-15,0 0 0,26-13 0,-13 13 16,14 0-16,-1-13 0,-13 13 0,13 0 16,1-13-16,-1 13 0,1-14 0,-1 14 15,0 0-15,-13 0 0,14-13 16,-27 13-16,0 0 0,-14 0 16,1 0-16,-14 0 0,1 0 0,-1 0 15,-12 0-15,-1 0 0,0 0 16,0 0-16,1 0 0,-1 0 0,0 0 15,0 0-15,0 0 32,-13 13-32,14-13 15,-14 14-15,13-14 0,-13 13 16,13-13-16</inkml:trace>
  <inkml:trace contextRef="#ctx0" brushRef="#br1" timeOffset="-157833.72">16603 7594 0,'26'0'15,"-13"0"-15,14-14 0,-14 14 16,27 0-16,-1 0 0,14-13 0,0 13 16,0 0-16,0 0 0,13-13 15,-13 13-15,13 0 0,-13 0 0,0 0 16,0-13-16,0 13 0,0 0 0,0 0 16,-14 0-16,1 0 0,-13-14 15,-1 14-15,-13 0 0,14 0 16,-14 0-16,0 0 0,0 0 0,1 0 15,-1 0-15,0 0 16,0 0 0,1 0-16,-1 0 15,0 0 1,-13 14-16,13-14 16,0 13-16,1-13 15,-1 0-15</inkml:trace>
  <inkml:trace contextRef="#ctx0" brushRef="#br1" timeOffset="-157070.29">19209 7607 0,'13'0'16,"0"0"-16,0-13 0,1 13 0,-1 0 16,13 0-16,14 0 0,0-14 15,13 14-15,0 0 0,26 0 16,0 0-16,1 0 0,-1 0 0,0 0 16,1 0-16,-14 0 0,0 0 0,0 0 15,-13 0-15,0 0 0,0 0 16,-13 0-16,-14 0 0,1 0 0,-1 0 15,-13 0-15,14 0 0,-14 0 0,0 0 16,0 0-16,1 0 16,-1 0-1,-13-13 17,26 26-17,-12-13-15,-1 0 0,0 0 16,0 0-16</inkml:trace>
  <inkml:trace contextRef="#ctx0" brushRef="#br1" timeOffset="-156539.65">22053 7501 0,'26'13'16,"-12"-13"-16,-1 0 0,13 0 0,1 0 16,-14 0-16,27 0 0,-14 0 0,14 0 0,-14 0 15,14 0-15,0 0 0,-14 0 16,1 0-16,-1 0 0,1 0 16,-1 0-16,-13 0 0,0 0 0,1 0 15,-1 0-15,0 0 0,0 0 16,-39-13-1,-1 0-15,-12 13 0,-14-14 16</inkml:trace>
  <inkml:trace contextRef="#ctx0" brushRef="#br1" timeOffset="-155480.39">1191 8083 0,'198'0'31,"-145"0"-31,13 0 0,0 0 0,27 0 16,-14 0-16,14 0 0,-1 0 15,-12 0-15,26 0 0,-14 0 0,1 0 16,-1 0-16,1 0 0,0 0 0,-14 13 16,14-13-16,-14 0 0,0 0 0,-26 0 15,13 0-15,-13 0 0,14 0 16,-15 0-16,-12 0 0,0 0 16,0 13-16,-14-13 0,0 0 0,1 0 15,-14 0-15,0 0 0,14 0 16,-14 0-16,0 0 0,0 0 15,1 0-15,-1 0 16,0 0 15</inkml:trace>
  <inkml:trace contextRef="#ctx0" brushRef="#br1" timeOffset="-154315.05">5106 8083 0,'40'0'0,"119"0"31,-106 0-31,0 0 0,13 0 16,-13 0-16,26 0 0,1 13 0,-1-13 15,0 0-15,1 0 0,-1 0 16,-13 0-16,0 0 0,-13 0 0,0 0 16,0 0-16,-13 0 0,-1 0 15,-12 0-15,-1 0 0,1 0 0,-14 0 16,14 0-16,-14 0 0,0 0 15,0 0-15,0 0 0,1 0 16,-1 0-16,0 0 16,0-13-16,1 13 47,-14 13-16</inkml:trace>
  <inkml:trace contextRef="#ctx0" brushRef="#br1" timeOffset="-153539.15">7382 7646 0,'0'0'0,"0"27"0,0-14 16,-13 0-16,13 14 0,0 13 0,-14-1 15,14 1-15,0 0 0,-13-1 16,13 1-16,0 0 0,0-14 16,0 14-16,0-14 0,-13 1 0,26-14 15,-13 13-15,0-12 0,0-1 16,0 0-16,0 0 0,0 1 0,0-1 15</inkml:trace>
  <inkml:trace contextRef="#ctx0" brushRef="#br1" timeOffset="-151696.71">7183 7607 0,'14'-13'0,"78"13"31,-65 0-31,12 0 16,-12 0-16,13 0 0,-14 0 0,27-14 15,0 14-15,0 0 0,0 0 0,0 0 16,0 0-16,13 0 0,-13 0 15,0 0-15,-1 14 0,15-14 0,-15 0 16,1-14-16,14 14 0,-15 0 16,15 0-16,-1 0 0,-13 0 15,0 0-15,13 0 0,-13 0 0,0 0 16,-14 0-16,14 0 0,0 0 0,0 0 16,-13 0-16,13 0 0,-14 0 15,14-13-15,0 13 0,-13 0 0,13 0 16,-27 0-16,27-13 0,-26 13 15,12 0-15,-12 0 0,-1 0 0,14 0 16,-14 0-16,1 0 0,-1 0 16,1-13-16,-1 13 0,14 0 0,-14 0 15,1 0-15,12 0 0,-12 0 0,-1 0 16,14 0-16,-14 0 0,14-14 16,-13 14-16,12 0 0,-12 0 0,12 0 15,1 0-15,0 0 0,0 0 0,-14-13 16,14 13-16,-14 0 0,27 0 15,-13 0-15,-14 0 0,27 0 0,-13 0 16,0 0-16,-1 0 0,-12 0 0,26 0 16,-14 0-16,1 0 0,0 0 15,-14 0-15,14 13 0,-1-13 0,1 0 16,-13 0-16,12 0 0,1 0 0,0 0 16,-1 14-16,14-14 0,-13 0 15,-14 0-15,14 0 0,-13 0 16,12 0-16,1 0 0,-14 0 0,14 0 15,-13 0-15,12 0 0,-12 0 16,-1 0-16,14 0 0,-14 0 0,1 0 16,-1 0-16,1 0 0,-1 0 0,1 0 15,-1 13-15,14-13 0,-14 0 16,1 0-16,-1 0 0,1 0 0,12 0 16,-12 0-16,-1 0 0,1 0 0,-1 0 15,1 0-15,-14 0 0,13 0 16,1 0-16,-1 0 0,-13 0 0,14 13 15,-1-13-15,-12 0 0,12 0 16,-13 0-16,14 0 0,-14 0 16,13 0-16,-12 0 0,12 0 0,-13 13 15,14-13-15,-14 0 0,0 0 0,14 0 16,-14 0-16,0 0 0,14 0 16,-1 0-16,-13 0 15,0 0-15,1 0 0,-1 0 16,0 0-16,0 0 31,1 0-31,-14 14 16,13-1-16,-13 0 15,0 0-15,0 0 0,0 1 16,13-1-16,-13 0 0,0 14 16,0-14-16,0 13 0,0-12 0,0 12 15,0-13-15,0 14 0,0-14 16,0 13-16,0-12 0,0-1 0,0 13 15,0-12-15,13-1 0,-13 0 0,0 0 16,0 0-16,0 1 0,14-1 16,-14 0-16,0 0 0,0 1 0,13-14 15,-13 13-15,0 0 0,0 0 16,0 0 0,0 1-16,0-1 15,-13-13 1,-1 0-1,1 0-15,0 13 0,0-13 16,-1 0-16,-12 0 0,13 0 0,-14 0 16,1 0-16,-1 0 0,1 0 0,-14 0 15,-13 0-15,0 0 0,14 0 16,-14 0-16,-13 0 0,13 0 0,0 0 16,-13 0-16,13 13 0,-13-13 0,13 0 15,-13 0-15,13 0 16,-27 0-16,14 14 0,-13-14 0,26 0 0,-13 0 15,-1 0-15,1 0 0,13 0 16,-26 13-16,13-13 0,-13 0 16,12 0-16,1 13 0,0-13 0,13 0 15,-13 13-15,13-13 0,0 0 0,0 0 16,0 14-16,0-14 0,14 0 16,-14 0-16,0 13 0,0-13 0,0 0 15,0 0-15,13 0 0,-12 13 0,-1-13 16,13 0-16,-13 0 0,13 13 0,1-13 15,-1 0-15,0 0 16,1 13-16,-1-13 0,0 0 0,14 0 16,-14 0-16,0 0 0,14 0 0,-14 0 15,14 0-15,-14 14 0,14-14 16,-14 0-16,14 0 0,-1 0 0,1 0 16,-1 0-16,1 0 0,-1 0 0,1 0 15,-1 0-15,1 0 0,-1 0 16,1 0-16,-1 0 0,1 0 0,0 0 15,-1 0-15,14 0 0,-14 0 0,1 0 16,-1 0-16,1 0 0,0 0 16,-1 0-16,1 0 0,-1-14 0,1 14 15,-1 0-15,1 0 0,-1 0 0,-12 0 16,12 14-16,1-14 0,-14-14 16,14 28-16,-1-14 0,-13 0 15,14 0-15,0 0 0,-1 0 0,1 0 16,-1 0-16,1 0 0,-1 0 0,1-14 15,-1 14-15,1 0 0,-1 0 16,1 0-16,13 0 0,-14 0 16,-26 0-16,27 0 0,13 0 0,-14-13 15,14 13-15,0 0 0,0 0 16,-14 0-16,14 0 0,0 0 0,-1 0 16,1 0-16,0 0 0,0 0 0,-1 0 15,1 0-15,0 0 0,0 0 16,0 0-16,-14 0 0,14 0 0,0 0 15,-14 0-15,1 0 0,12 0 0,-12 0 16,13 0-16,-14 0 0,14 0 16,0 0-16,0 0 0,-1 0 15,1 0-15,0 0 0,0 0 0,-1 13 16,1-13-16,0 0 0,0 0 16,0 14-1</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3.655"/>
    </inkml:context>
    <inkml:brush xml:id="br0">
      <inkml:brushProperty name="width" value="0.025" units="cm"/>
      <inkml:brushProperty name="height" value="0.025" units="cm"/>
      <inkml:brushProperty name="ignorePressure" value="1"/>
    </inkml:brush>
  </inkml:definitions>
  <inkml:trace contextRef="#ctx0" brushRef="#br0">152 16,'-5'-1,"0"0,0 0,0 0,-1 1,1 0,0 0,0 0,-1 0,1 1,0 0,0 0,0 1,0-1,0 1,0 0,0 1,-6 3,8-5,-1 1,1-1,0 1,0 0,0 0,0 0,0 0,1 1,-1-1,1 1,-1-1,1 1,0 0,0 0,0 0,0 0,1 0,-1 1,1-1,0 0,0 1,0-1,0 1,1-1,-1 1,1 3,1-5,0 0,0 0,0 0,0 0,0-1,0 1,0 0,1-1,-1 1,0-1,1 1,0-1,-1 0,1 0,0 0,0 0,-1 0,1 0,0 0,0 0,2 0,51 11,-33-8,-14-2,-1 0,0 0,0 1,0 0,0 0,0 0,-1 1,1 0,-1 0,10 10,-14-12,-1 0,1 0,-1 0,0 1,1-1,-1 0,0 1,0-1,-1 1,1-1,0 1,-1-1,1 1,-1-1,0 1,0 0,0-1,0 1,-1-1,1 1,-1 0,1-1,-1 1,0-1,0 0,0 1,0-1,-1 0,1 1,-1-1,1 0,-1 0,-3 3,1 0,-1-1,1 0,-1 0,0 0,0-1,0 1,0-1,0-1,-7 4,11-6,0 1,0-1,-1 1,1-1,0 0,0 1,0-1,0 0,0 0,0 0,-1 0,1 0,0 0,0 0,0 0,0 0,0 0,-1-1,1 1,0 0,0-1,0 1,0-1,0 1,0-1,0 0,0 1,0-1,1 0,-1 0,0 0,0 0,1 1,-1-1,0 0,1 0,-1 0,1 0,-1-1,1 1,-1 0,1 0,0 0,0 0,0 0,-1 0,1-1,0 1,1 0,-1 0,0 0,0 0,1-3,1-4,0 1,1-1,0 0,0 1,1-1,0 1,1 0,-1 0,1 1,0-1,11-9,-7 6,-1 1,0-1,-1 0,0-1,10-21,-16 29,-1 1,1-1,0 0,-1 0,1 0,-1 0,0 0,0 0,0 0,-1 0,1 0,-1 0,0 0,1 0,-1 1,0-1,-1 0,1 0,0 1,-1-1,0 1,1-1,-1 1,0 0,0 0,0 0,-1 0,1 0,-3-2,-1 1,1-1,-1 1,0 0,-1 1,1-1,0 1,-9-1,6 0,-8-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4.549"/>
    </inkml:context>
    <inkml:brush xml:id="br0">
      <inkml:brushProperty name="width" value="0.025" units="cm"/>
      <inkml:brushProperty name="height" value="0.025" units="cm"/>
      <inkml:brushProperty name="ignorePressure" value="1"/>
    </inkml:brush>
  </inkml:definitions>
  <inkml:trace contextRef="#ctx0" brushRef="#br0">9 4,'0'-3,"0"5,0 9,0 6,0 4,0 1,0 0,0 0,0-1,0 0,0-1,-3-4,-1-1,3 1,2-4</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049"/>
    </inkml:context>
    <inkml:brush xml:id="br0">
      <inkml:brushProperty name="width" value="0.025" units="cm"/>
      <inkml:brushProperty name="height" value="0.025" units="cm"/>
      <inkml:brushProperty name="ignorePressure" value="1"/>
    </inkml:brush>
  </inkml:definitions>
  <inkml:trace contextRef="#ctx0" brushRef="#br0">0 1,'7'0,"5"0,7 0,4 0,1 0,0 0,-1 0,2 0,1 0,2 0,-1 0,2 0,0 0,-3 0,-4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764"/>
    </inkml:context>
    <inkml:brush xml:id="br0">
      <inkml:brushProperty name="width" value="0.025" units="cm"/>
      <inkml:brushProperty name="height" value="0.025" units="cm"/>
      <inkml:brushProperty name="ignorePressure" value="1"/>
    </inkml:brush>
  </inkml:definitions>
  <inkml:trace contextRef="#ctx0" brushRef="#br0">59 0,'-3'5,"0"0,0 0,1 0,-1 1,1-1,1 1,-1-1,1 1,0 0,0-1,0 1,1 0,0 0,1 9,-3 28,-9 11,-11 70,20-109</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6.253"/>
    </inkml:context>
    <inkml:brush xml:id="br0">
      <inkml:brushProperty name="width" value="0.025" units="cm"/>
      <inkml:brushProperty name="height" value="0.025" units="cm"/>
      <inkml:brushProperty name="ignorePressure" value="1"/>
    </inkml:brush>
  </inkml:definitions>
  <inkml:trace contextRef="#ctx0" brushRef="#br0">1 78,'52'-3,"76"-13,2 0,260-25,-372 4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7.484"/>
    </inkml:context>
    <inkml:brush xml:id="br0">
      <inkml:brushProperty name="width" value="0.025" units="cm"/>
      <inkml:brushProperty name="height" value="0.025" units="cm"/>
      <inkml:brushProperty name="ignorePressure" value="1"/>
    </inkml:brush>
  </inkml:definitions>
  <inkml:trace contextRef="#ctx0" brushRef="#br0">261 35,'1'-1,"0"-1,0 1,0 0,0-1,0 1,1 0,-1 0,0 0,1 0,-1 0,1 0,-1 0,1 0,0 1,-1-1,1 0,0 1,-1 0,1-1,0 1,0 0,-1 0,4 0,21-8,-28 3,-10 3,-12 1,10 4,-1 0,0 0,1 2,0 0,0 0,1 2,-1-1,1 2,1 0,-1 0,-20 20,32-27,1-1,-1 1,1 0,-1-1,1 1,0 0,-1 0,1-1,0 1,0 0,0 0,0 0,-1 0,1-1,0 1,0 0,1 0,-1 0,0-1,0 1,0 0,0 0,1 0,-1-1,0 1,1 0,-1 0,1-1,-1 1,1 0,-1-1,1 1,-1-1,1 1,0 0,-1-1,1 1,0-1,-1 0,2 1,38 22,-23-15,-15-7,0 0,0 0,0 1,0-1,-1 0,1 0,0 1,-1-1,0 1,1 0,-1-1,0 1,0 0,1 0,-1 0,-1 0,1-1,0 2,0-1,-1 0,1 0,-1 0,0 3,0-3,-1 0,0 1,0-1,0 0,0 0,0 0,0 0,0 0,-1 0,1 0,-1 0,0-1,1 1,-1-1,0 1,0-1,-3 2,-5 3,-1 0,1-1,-2 0,1-1,0 0,-1-1,-13 2,-21-2,25-2</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8.112"/>
    </inkml:context>
    <inkml:brush xml:id="br0">
      <inkml:brushProperty name="width" value="0.025" units="cm"/>
      <inkml:brushProperty name="height" value="0.025" units="cm"/>
      <inkml:brushProperty name="ignorePressure" value="1"/>
    </inkml:brush>
  </inkml:definitions>
  <inkml:trace contextRef="#ctx0" brushRef="#br0">78 37,'-1'-1,"1"1,-1 0,1-1,-1 1,1 0,-1-1,1 1,-1 0,1 0,-1-1,1 1,-1 0,1 0,-1 0,0 0,1 0,-1 0,1 0,-1 0,1 0,-1 0,0 0,1 0,-1 0,1 1,-1-1,1 0,-1 0,1 0,-1 1,1-1,-1 0,1 1,-1-1,1 1,-1-1,1 0,0 1,-1 0,-24 14,23-13,-1 0,1 1,-1-1,1 1,0-1,0 1,0 0,0-1,0 1,1 0,-1 0,1 0,0 1,0-1,0 0,0 0,0 1,1-1,0 0,-1 1,1-1,0 0,1 1,-1-1,1 1,-1-1,1 0,0 0,0 0,1 1,-1-1,1 0,-1 0,1-1,3 5,-2-3,0 0,0 0,0-1,1 0,-1 1,1-1,0-1,0 1,0 0,0-1,0 0,1 0,-1 0,1-1,-1 1,1-1,0 0,-1-1,1 1,0-1,0 0,-1 0,1 0,0 0,5-2,-6 1,-1 0,1 0,-1 0,0-1,1 1,-1-1,0 0,0 0,0 0,0 0,-1 0,1-1,-1 1,1-1,-1 1,0-1,0 0,0 0,0 0,0 0,-1-1,0 1,1 0,-1-1,0 1,0-6,0 4,-1 0,0 0,-1 0,1 1,-1-1,0 0,0 0,-1 1,1-1,-1 0,0 1,0 0,-1-1,1 1,-1 0,0 0,0 0,-6-5,3 4,-1-1,0 2,0-1,0 1,0 0,-1 0,1 1,-1 0,0 1,0 0,-10-2,0 1</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105"/>
    </inkml:context>
    <inkml:brush xml:id="br0">
      <inkml:brushProperty name="width" value="0.025" units="cm"/>
      <inkml:brushProperty name="height" value="0.025" units="cm"/>
      <inkml:brushProperty name="ignorePressure" value="1"/>
    </inkml:brush>
  </inkml:definitions>
  <inkml:trace contextRef="#ctx0" brushRef="#br0">211 0,'-2'1,"-1"0,0 1,1-1,0 1,-1 0,1-1,0 1,0 0,0 0,0 0,0 1,-3 3,-4 5,-24 19,0 0,-58 68,90-97,0 1,0-1,0 0,0 1,0-1,0 1,0-1,0 1,1-1,-1 1,1-1,-1 1,1 0,-1-1,1 1,0 0,0-1,0 1,0 0,0-1,0 1,1 2,0-3,0 1,0-1,0 0,0 0,0 0,1 1,-1-1,0 0,0 0,1-1,-1 1,1 0,-1 0,1-1,-1 1,1-1,0 1,2-1,11 2,0 0,0-1,30-3,-33 2,103 0,44-3,-142 0,-5-1</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891"/>
    </inkml:context>
    <inkml:brush xml:id="br0">
      <inkml:brushProperty name="width" value="0.025" units="cm"/>
      <inkml:brushProperty name="height" value="0.025" units="cm"/>
      <inkml:brushProperty name="ignorePressure" value="1"/>
    </inkml:brush>
  </inkml:definitions>
  <inkml:trace contextRef="#ctx0" brushRef="#br0">32 0,'0'3,"0"5,0 4,0 3,0 2,0 3,0 0,0 0,-3 0,-1 0,-1 0,2 0,0-1,2 1,-3-4,-1-1,1-3</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2.637"/>
    </inkml:context>
    <inkml:brush xml:id="br0">
      <inkml:brushProperty name="width" value="0.025" units="cm"/>
      <inkml:brushProperty name="height" value="0.025" units="cm"/>
      <inkml:brushProperty name="ignorePressure" value="1"/>
    </inkml:brush>
  </inkml:definitions>
  <inkml:trace contextRef="#ctx0" brushRef="#br0">1 0,'3'7,"1"5,1 4,-2 3,-4-2,-2-1,0 0,0 2,0-4</inkml:trace>
</inkml:ink>
</file>

<file path=ppt/ink/ink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3-20T12:17:13.742"/>
    </inkml:context>
    <inkml:brush xml:id="br0">
      <inkml:brushProperty name="width" value="0.05292" units="cm"/>
      <inkml:brushProperty name="height" value="0.05292" units="cm"/>
      <inkml:brushProperty name="color" value="#0070C0"/>
    </inkml:brush>
  </inkml:definitions>
  <inkml:trace contextRef="#ctx0" brushRef="#br0">7011 4273 0,'-39'0'32,"26"0"-17,39 0 16,0 0-31,1 0 16,-1 13-16,27-13 0,0 0 0,0 0 16,0 0-16,0 0 0,0 0 15,13 0-15,-13 0 0,26 0 0,-13 0 16,14 0-16,-1-13 0,-13 13 0,14 0 16,-27 0-16,13 0 0,13-13 15,-13 13-15,0 0 0,-13 0 16,14 0-16,-15 0 0,15 0 0,-15 0 0,1 0 15,-13 0-15,0 0 0,-1 0 16,-12 0-16,13 0 0,-14 0 0,-13 0 16,14 0-16,-1 0 0,-13 0 15,1 0-15,-1 0 0,0 0 16,0 0-16,1 0 0,-1 0 16,0 0-16,0 0 0,1 0 15,-1 0 1,0 0 15,0 0 0,0-13 16</inkml:trace>
  <inkml:trace contextRef="#ctx0" brushRef="#br0" timeOffset="2526.44">10821 4247 0,'27'0'16,"-14"0"-16,14 0 15,-1 0-15,1 0 0,12 0 16,14 0-16,0 0 0,0 0 0,13 0 16,0 0-16,14 0 0,-1 0 0,0-14 15,1 14-15,-14 0 0,13 0 16,-13 0-16,-13 0 0,0 0 0,0 0 16,0 0-16,-13 0 0,-14 0 0,1 0 15,-1 0-15,1 0 0,-14 0 16,13 0-16,-12 0 0,-1 0 0,0 14 15,0-14-15,0 0 16,1 0 0,-1-14-16,0 14 15,0 0 17,1 0-17,-1 0 32,-26-13 547,-1 13-579,1-13-15,0 13 0</inkml:trace>
  <inkml:trace contextRef="#ctx0" brushRef="#br0" timeOffset="3671.96">8678 3810 0,'0'-26'15,"0"12"-15,14 1 0,-14 0 16,0 0-16,13-80 15,-13 67 1,0-1-16,0 1 0,13-1 0,-13 14 16,0 0-16,0-14 0,0 14 15,0 0-15,13 0 0,-13-1 0,0 1 16,0 0-16,0 0 31</inkml:trace>
  <inkml:trace contextRef="#ctx0" brushRef="#br0" timeOffset="3927.91">8758 3387 0,'-14'0'31,"1"0"-15,0 0-16,0 13 15,0 0-15,-1-13 0,1 13 16,0 1-16,0-1 0,-14 0 16,14-13-16,0 13 0,-1 0 0,1 1 15,0-1-15,0 0 0,0 0 16,-1-13-16,14 14 15,-13-14-15,13 13 0</inkml:trace>
  <inkml:trace contextRef="#ctx0" brushRef="#br0" timeOffset="4170.96">8652 3413 0,'13'0'0,"-26"0"0,39 0 16,-12 0 0,-1 0-16,-13 13 0,13-13 15,0 14-15,0-1 0,1-13 16,-1 13-16,0 0 0,0 0 0,1-13 16,-1 14-16,0-1 0,0-13 0,1 13 15,-1 0-15,0-13 0,-13 14 0,13-14 16,0 0-16,-13 13 0,14-13 15,-1 13-15,0 0 16,0 1-16,1-14 0</inkml:trace>
  <inkml:trace contextRef="#ctx0" brushRef="#br0" timeOffset="4904.1">11562 3770 0,'0'14'15,"14"-28"17,-14 1-17,0 0-15,0 0 0,0-1 16,13-12-16,-13 13 0,0-1 0,0-12 15,13 0-15,-13-1 0,0 1 16,0 12-16,13-12 0,-13-1 16,0 14-16,0 0 0,13 0 0,-13 0 15,0-1-15,0 1 0,0 0 0,0 0 16,14-1 0,-14 1-1</inkml:trace>
  <inkml:trace contextRef="#ctx0" brushRef="#br0" timeOffset="5206.75">11708 3347 0,'-13'-13'16,"-1"13"-16,1 13 16,0-13-16,0 13 15,-1-13-15,1 13 0,0 1 16,0-1-16,0 0 16,-1 0-16,1-13 0,13 14 0,-13-1 15,0 0-15,-1 0 0,1-13 16,13 13-16,-13 1 0,0-14 0,13 13 15,-14-13-15,14 13 0,-13 0 16,0-13 0</inkml:trace>
  <inkml:trace contextRef="#ctx0" brushRef="#br0" timeOffset="5520.22">11589 3360 0,'13'0'0,"0"13"16,0-13-1,1 14-15,-1-14 0,0 13 16,0 0-16,1-13 0,-1 13 0,0-13 15,0 14-15,-13-1 16,14-13-16,-1 13 0,0 0 0,13 0 16,-12-13-16,-1 14 15,0-14-15,-13 13 16,13-13-16,1 13 16,-1 0 15</inkml:trace>
  <inkml:trace contextRef="#ctx0" brushRef="#br0" timeOffset="16192.85">8705 3281 0,'0'13'15,"0"-39"63,0 12-78,13 14 0,-13-13 16,0 0-16,13 0 16,-13-1-16,13 1 15,-13 0-15,14 13 0,-14-13 0,13 0 16,-13-1-16,13 14 0,-13-13 0,13 0 15,1 13-15,-1-13 0,0-1 16,0 14-16,1-13 0,-1 0 16,13 13-16,-13 0 0,1-13 0,-1 13 15,0 0-15,0 0 0,1-14 16,-1 14-16,0 0 0,14 0 0,-14 0 16,0 0-16,0 0 0,0 0 0,1 0 15,-1 0-15,0 0 0,0 0 16,1 14-16,-1-14 0,0 0 15,0 0-15,1 0 0,-1 13 0,0-13 16,0 0-16,0 0 0,1 13 0,-1-13 16,0 0-16,0 13 15,1-13-15,-1 0 0,0 14 16,0-14-16,0 0 16,1 0-16,-1 13 15,0-13-15,0 0 0,1 0 16,-1 0-16,0 13 0,0-13 15,1 0-15,-1 0 16,0 0-16,0 0 0,0 0 16,1 0-16,-1 0 15,0 0-15,0 0 16,1 0-16,-1 0 0,0 0 16,14 0-16,-27-13 15,13 13-15,0 0 0,0-13 16,0 13-16,-13-14 15,14 14-15,-14-13 0,13 0 16,-13 0 0,13-1-16,-13 1 15,13 0 17,-13 0-17,14 13 32,-1 13-31,0-13-16,0 0 15,0 13-15,1-13 16,-1 0-16,0 0 0,0 13 16,1-13-16,-1 0 0,0 0 0,0 14 15,14-14-15,-14 0 16,0 0-16,0 0 0,1 0 0,-1 13 15,0-13-15,14 0 0,-14 0 0,0 0 16,0 0-16,14 0 0,-14 0 16,0 0-16,0 0 0,14 0 0,-14 0 15,14 0-15,-14 0 0,13 0 0,-12 0 16,12 0-16,-13 0 0,0 0 16,14-13-16,-14 13 0,14 0 0,-1 0 15,-13 0-15,14-14 0,-14 14 0,13 0 16,-12-13-16,12 13 0,-13 0 15,14-13-15,-1 13 0,-13 0 16,14-13-16,-14 13 0,14 0 0,-14 0 16,13-13-16,-12 13 0,12-14 15,-13 14-15,14 0 0,-1-13 0,-13 13 16,14-13-16,-1 13 0,-12 0 0,12-13 16,0 13-16,-12 0 0,12-14 15,1 14-15,-14 0 0,13-13 0,-13 13 16,14 0-16,-1 0 0,-12-13 0,12 13 15,1 0-15,-14 0 0,13-13 16,-13 13-16,14 0 0,-1 0 0,-12 0 16,12 0-16,-13 0 0,1 0 0,12 0 15,-13 0-15,14 0 0,-14 0 16,13 0-16,-12 0 0,12 13 16,1-13-16,-14 0 0,13 0 0,-13 13 15,1-13-15,12 13 0,-13 1 0,1-14 16,-1 13-16,0-13 0,0 13 15,1 0-15,-1 1 0,0-1 16,-13 0-16,13-13 0,-13 13 0,13 0 16,1 1-16,-14-1 15,13 0-15,-13 0 16,13-13-16,-13 14 0,13-1 31,1 0 0,-41 0 16</inkml:trace>
  <inkml:trace contextRef="#ctx0" brushRef="#br0" timeOffset="22522.08">2064 4696 0,'39'14'0,"-25"-14"0,-1 0 0,0 0 16,0 0-16,14 0 0,-1 0 15,1 0-15,-1 0 0,1 0 0,-1 0 16,1 0-16,12 0 0,-12 0 16,-1 0-16,-13 0 0,14 0 0,-1 13 15,-12-13-15,-1 0 0,0 0 16,0 0-16,0 0 0,1 0 15,-41 0 1,14 13 0,0-13-16,-14 0 0,1 0 0,-1 13 15,-12-13-15,12 0 0,1 13 16,-14-13-16,27 0 0,-14 0 0,14 0 16,-13 0-16,12 0 0,1 0 0,0 0 15,53 0 16,-27 0-31,13 0 0,1 0 16,13-13-16,-14 13 0,14 0 0,-14 0 16,1 0-16,12 0 0,-25-13 0,12 13 15,0 0-15,-12 0 0,-1 0 16,0 0-16,0 0 0,1 0 0,-67 0 47,26 0-47,1 0 0,13 0 15,-14 0-15,-13 13 0,27-13 0,-13 0 16,12 0-16,-12 0 0,13 0 16,0 0-16,39-13 31,0 13-31,1 0 16,-1 0-16,1-13 0,-1 13 0,14 0 15,-14 0-15,1 0 0,-1 0 0,-12 0 16,12-13-16,-13 13 15,1 0-15,-1 0 0,0 0 0,0 0 16,-66 0 15,40 0-31,-13 13 0,-1-13 0,1 0 16,-1 0-16,1 0 0,13 0 0,-14 0 16,14 0-16,0 0 0,-1 0 15,54 0 1,-27 0-1,14-13-15,-1 13 0,14 0 16,-14-14-16,1 14 0,-1 0 0,1 0 16,-14 0-16,13 0 0,-12-13 0,-1 13 15,0 0-15,-53 0 47,27 0-47,13-13 0,-13 13 16,0 0-16,0 0 0,-1 0 0,1 0 15</inkml:trace>
  <inkml:trace contextRef="#ctx0" brushRef="#br0" timeOffset="23234.08">2315 4233 0,'13'-13'15,"1"13"-15,25 0 16,80 0-1,-92 0-15,-1 0 0,14 0 16,-14 0-16,14 0 0,-13 13 0,-14-13 16,13 0-16,1 0 0,-14 0 15,0 0-15,0 0 0,1 0 0,-1 0 16,0 0-16,-39 14 31,-1-14-31,1 0 0,-1 0 16,1 13-16,-14-13 0,14 0 0,-14 0 15,-13 0-15,27 0 0,-14 0 16,13 0-16,14 0 0,-13 0 0,12 0 16,-12 0-16,13 0 0,0 0 15,52 0 1,-26 0 0,14 0-16,-1 0 0,1-13 15,13 13-15,-14 0 0,0 0 0,1 0 16,-1 0-16,1 0 0,-14-14 15,0 14-15,1 0 0,-1 0 0,0 0 16,-39 14 0,12-14-16,-12 13 15,13-13-15,-14 0 0,1 0 0,-1 13 16,14-13-16,0 0 0,-14 0 16,14 0-16,0 0 0</inkml:trace>
  <inkml:trace contextRef="#ctx0" brushRef="#br0" timeOffset="23854.12">3321 4286 0,'13'13'16,"-13"1"-1,0-1-15,13 0 0,-13 0 16,0 14-16,0-14 0,0 0 15,0 1-15,0-1 0,0 0 16,0 0-16,13-13 0,-13 13 0,0 1 16,0-1-16,13-13 15,1-13 1,-14-1 0,0 1-16,0 0 0,0 0 15,0 0-15,0-1 16,0 1-16,0 0 0,-14 53 47,14-14-47,0-13 0,0 0 15,0 1-15,0-1 0,0 13 0,-13-12 16,13-1-16,0 0 0,0 0 16,0 1-16</inkml:trace>
  <inkml:trace contextRef="#ctx0" brushRef="#br0" timeOffset="24610.99">1852 4445 0,'0'0'0,"-13"0"16,0 0-1,13 13-15,0 0 0,-14-13 16,14 14-16,0-1 0,0 0 16,0 0-16,0 1 0,0-1 0,0 0 15,0 0-15,14 1 0,-14-1 16,0 0-16,0 0 16,0 0-1,0-39 1,0 13-16,0 0 15,-14-1-15,14-12 0,0 13 16,-13-1-16,13 1 0,0 0 0,-13 0 16,13-1-16,0 1 0,-13 0 0,13 0 15,-14 13 1</inkml:trace>
  <inkml:trace contextRef="#ctx0" brushRef="#br0" timeOffset="26563.4">7633 4789 0,'-13'0'31,"53"-13"-15,-14 13-16,-13 0 15,27 0-15,-13 0 0,12 0 0,1 0 0,0 0 16,-1 0-16,-12-14 0,12 14 16,-12 0-16,13 0 0,-14 0 15,0 0-15,1 0 0,-14 0 0,14 0 16,-14 0-16,0 0 0,0 0 0,1 0 15,-1 0-15,-40 14 32,14-14-32</inkml:trace>
  <inkml:trace contextRef="#ctx0" brushRef="#br0" timeOffset="26856.09">7567 4895 0,'-26'0'0,"52"0"0,-66 0 0,67 0 31,-14 0-31,14 0 16,-1 0-16,0 0 0,27-13 0,-13 13 15,13 0-15,0-14 0,-13 1 0,13 13 16,-14-13-16,1 13 0,0 0 16,-14-13-16,0 13 0,1 0 0,-14 0 15,14-14-15,-14 14 0,0 0 0,0 0 16,1 0-16,-1 0 15,0-13-15</inkml:trace>
  <inkml:trace contextRef="#ctx0" brushRef="#br0" timeOffset="31814.12">16259 4736 0,'26'0'0,"-13"0"16,1 0-16,-1 0 0,13 0 0,-13-13 16,14 13-16,-1 0 0,1 0 15,-1 0-15,1 0 0,12 0 0,-12 0 16,-14 0-16,14 0 0,-1 0 0,-13 0 16,1 0-16,-1 0 0,0 0 15,0 0-15,-39 13 31,13-13-31,-1 0 16,-12 0-16,-1 13 0,1-13 0,-1 0 16,1 0-16,-14 13 0,14-13 0,-1 0 15,1 0-15,-1 14 0,14-14 16,0 0-16,0 0 0,0 0 0,-1 13 16,41-13 15,-14 0-31,13 0 0,-12 0 0,12 0 15,-13 0-15,14-13 0,-1 13 0,-12 0 16,-1 0-16,0 0 0,0 0 16,0 0-16,1-14 0</inkml:trace>
  <inkml:trace contextRef="#ctx0" brushRef="#br0" timeOffset="32314.94">16140 4405 0,'0'0'0,"-14"27"31,14-14-31,0 0 16,0 14-16,0-1 0,0-13 16,-13 14-16,13-1 0,0 1 0,0-14 15,0 13-15,0 1 0,0-14 0,0 14 16,0-14-16,0 0 0,0 0 15,0 0-15,0 1 0,0-1 16</inkml:trace>
  <inkml:trace contextRef="#ctx0" brushRef="#br0" timeOffset="32964.08">16192 4313 0,'0'0'0,"27"-14"0,-14 14 15,0-13-15,1 13 0,12 0 16,-13 0-16,14 0 0,-1 0 0,1-13 15,-1 13-15,14 0 0,0 0 0,-1-13 16,1 13-16,0 0 0,-14 0 16,14-13-16,-14 13 0,1 0 0,12 0 15,-12-14-15,-14 14 0,14 0 0,-1 0 16,-13-13-16,0 13 0,1 0 16,-1 0-16,0 0 0,0 0 15,1 0-15,-1 0 16,0 0-1,0 13 1,-13 1 0,0-1-16,0 0 15,0 0-15,0 0 0,0 14 0,0-14 16,0 14-16,0-1 0,0 1 0,0-1 16,13 0-16,-13 1 0,0-1 15,0 1-15,14-1 0,-14 1 0,13-1 16,-13-13-16,0 14 0,13-1 15,-13-12-15,0-1 0,0 13 0,0-13 16,0 1-16,0-1 0,0 0 16,0 0-16,0 1 0,0-1 15,-13-13-15,13 13 16,-13-13-16,-1 13 0,1-13 16,0 0-16,0 0 0,0 14 0,-1-14 15,-12 0-15,-1 0 0,1 0 16,0 13-16,-27-13 0,13 0 0,0 13 15,-13-13-15,14 0 0,-1 0 0,0 13 16,1-13-16,12 0 0,1 13 0,-1-13 16,14 0-16,-14 0 0,14 14 15,0-14-15,0 0 0</inkml:trace>
  <inkml:trace contextRef="#ctx0" brushRef="#br0" timeOffset="34602.94">17449 4776 0,'13'0'16,"1"0"-16,-1 0 0,0 0 15,0 0-15,14-14 0,-1 14 0,14 0 16,0 0-16,13 0 0,0 0 15,-14 0-15,14 0 0,0 0 16,0 0-16,0-13 0,0 13 0,13 0 16,-13 0-16,26 0 0,-26-13 0,13 13 15,-13 0-15,0 0 0,-13 0 16,13 0-16,0 0 0,-14-13 0,-12 13 16,12 0-16,-12 0 0,-1 0 0,1 0 15,-14 0-15,14 0 16,-14 0-16,0 0 0,0 0 0,0 0 0,1 0 15,-54 13 17,27-13-17,0 0-15,-14 0 0,14 0 0,-14 0 16,1 0-16,-1 0 0,-12 0 16,12 13-16,1-13 0,-14 0 0,14 0 15,13 0-15,-14 0 0,14 0 0,-14 0 16,14 0-16,0 0 0,0 0 15,52 0 17,-12 0-32,-14 0 0,14 0 15,-1 0-15,14 0 0,-14 0 16,1 0-16,12 0 0,-12-13 0,-1 13 0,14 0 16,-14 0-16,-12 0 15,12 0-15,0 0 0,-12 0 16,-1 0-16,0 0 0,0 0 0,1 0 0,-1 0 15,0 0-15,0 0 16</inkml:trace>
  <inkml:trace contextRef="#ctx0" brushRef="#br0" timeOffset="36603.83">24117 4802 0</inkml:trace>
  <inkml:trace contextRef="#ctx0" brushRef="#br0" timeOffset="38219.35">952 5212 0,'0'0'0,"40"0"0,-13 0 0,-1-13 16,1 13-16,-1 0 0,27 0 16,0 0-16,0-13 0,0 13 15,0 0-15,0-13 0,-1 13 0,1 0 16,-13-14-16,13 14 0,-13 0 16,-14 0-16,1 0 0,-14 0 0,13 0 15,-13 0-15,1 0 0,-1 0 0,-13 14 16,-13-1-1,-14-13-15,14 0 16,-13 13-16,-14 0 0,0-13 0,-13 14 16,14-14-16,-14 0 0,0 13 15,0-13-15,0 13 0,0-13 0,13 0 16,1 0-16,-1 13 0,13-13 0,1 0 16,13 0-16,-14 0 15,14 0-15,0 0 0,39-13 31,1 13-31,-1 0 0,14-13 16,0 13-16,13-13 0,-1 13 16,1-14-16,-13 14 0,13-13 0,-13 13 15,-1-13-15,-12 13 0,-1 0 0,1-13 16,-1 13-16,-13 0 0,14 0 16,-14-14-16,0 14 0,1 0 0,-1 0 15,0 0-15,0 0 16,-39 0 46,13 0-62,-1 0 16,1 0-16</inkml:trace>
  <inkml:trace contextRef="#ctx0" brushRef="#br0" timeOffset="40335.85">19936 1124 0,'14'0'32,"-14"-13"15,-14 0 15,1 13-15,0 13-31,0-13-16,13 13 15,-14-13-15,14 14 0,-13-14 0,13 13 16,-13 0-16,13 0 0,0 1 15,0-1 1,0 0-16,13-13 0,0 13 16,1-13-16,-1 0 15,0 0-15,0 14 0,1-14 16,-1 0-16,0 0 0,0 0 0,0 0 16,1 13-16,-1-13 0,0 13 15,0-13-15,-13 13 16,0 0-16,14-13 0,-14 14 0,0-1 15,13-13-15,-13 13 0,0 0 16,0 1-16,13-1 16,-13 0-16</inkml:trace>
  <inkml:trace contextRef="#ctx0" brushRef="#br0" timeOffset="40695.67">20267 1124 0,'-26'14'16,"26"-1"-16,0 0 16,0 0-16,0 1 0,0-1 15,0 0-15,-14 0 0,14 1 16,0-1-16,0 0 0,0-39 47,0 12-47,0 1 15,0-13-15,0 12 0,14-12 0,-14 13 16,0-1-16,0-12 0,13 13 16,0 0-16,-13-1 0,13 14 15,-13-13-15,14 13 0,12 13 16,-13-13-16,-13 14 0,13-14 15,1 13-15,-14 0 0,13 0 0,0 0 16,-13 1-16,13-1 0,-13 0 0,0 0 16,14 1-16,-14-1 0,0 0 15</inkml:trace>
  <inkml:trace contextRef="#ctx0" brushRef="#br0" timeOffset="40899.8">20214 1217 0,'13'-13'47,"1"0"-47,-1 13 0,0 0 16,0-14-16,1 14 0,12 0 0,-13-13 15,14 13-15,-14 0 0,13-13 16,-12 13-16,12-13 0,-13 13 0,14 0 15,-1 0-15</inkml:trace>
  <inkml:trace contextRef="#ctx0" brushRef="#br0" timeOffset="41534.01">22423 900 0,'0'0'16,"-66"52"15,53-38-31,0-1 16,13 0-16,-13 14 0,-1-1 15,14-13-15,0 1 0,0-1 16,14 0-16,-1-13 15,0 0-15,0 0 0,1 0 16,-1-13-16,0 13 0,13-13 0,-12-1 16,-1 14-16,13 0 0,-12-13 0,-1 13 15,0 0-15,0 0 0,0-13 16,1 26-16,-1-13 16,0 0-16,-13 13 0,13-13 0,-13 14 0,14-1 15,-14 0-15,13 0 16,-13 0-16,13 1 15,-13-1-15,13-13 16</inkml:trace>
  <inkml:trace contextRef="#ctx0" brushRef="#br0" timeOffset="41791.75">22834 860 0,'0'-13'31,"0"39"-15,0-13-16,0 1 15,0-1-15,0 13 0,0-13 0,0 1 16,0-1-16,0 13 0,0-12 0,0-1 16,-14 13-16,14-12 0,0-1 0,0 0 15,0 0-15,0 0 16,14 1-16,-14-1 15,13-13-15</inkml:trace>
  <inkml:trace contextRef="#ctx0" brushRef="#br0" timeOffset="42362.97">22794 926 0,'13'-13'16,"0"0"-1,1 13-15,-1 0 16,13 0-16,-13 0 16,1 13-16,-1 0 15,-13 0-15,0 0 16,0 1 0,0-1-16,0 0 15,0 0-15,13-13 16,-13 14-16,13-1 0,-13 0 15,14-13-15,-14 13 0,13 1 0,-13-1 16,0 0 0,0 0-16,-13 0 0,13 1 15,-14-14-15,14 13 0,-13 0 0,0 0 16,0 1-16,-1-14 0,1 13 16,0 0-16,-13-13 0,12 0 0,-12 13 15</inkml:trace>
  <inkml:trace contextRef="#ctx0" brushRef="#br0" timeOffset="43324.16">19222 913 0,'-13'0'15,"13"13"-15,0 0 32,0 0-1,0-52 16,0 26-32,0-1-15,0 1 0,0 0 16,-13 13-16,39 13 31,-13-13-15,-13 13-16,13-13 0,-13 14 15,14-14-15,-1 13 0,0-13 16,-13 13-16,13-13 0,1 13 16,-1-13-16,0 0 15,0-13 1,-13 0-16,0 0 16,0-1-16,0 1 0,0 0 15,0 0-15,-13-1 16,13 1-16,0 0 15,0 0-15,0 0 0,13-1 32,1 14-17</inkml:trace>
  <inkml:trace contextRef="#ctx0" brushRef="#br0" timeOffset="43590.15">19407 754 0,'0'0'15,"13"0"1,-13 13-16,0 1 15,0-1-15,14-13 0,-14 13 0,0 0 16,0 0-16,13-13 0,-13 14 0,13-1 16,0 0-16,1-13 15,-1 13-15,0-13 0,0 0 16,0 0-16,1 0 16,-1 0-16,0-13 15,-13 0 1,-13 0-16,13-1 0,-13 1 15,13 0-15,-14 13 16,1-13-16,13 0 0,-13 13 16,0 0-16,0 13 15,-1-13-15,14 13 16</inkml:trace>
  <inkml:trace contextRef="#ctx0" brushRef="#br0" timeOffset="45503.05">19870 688 0,'0'0'0,"-13"0"0,0 0 16,0 13 0,-1-13-16,14 13 0,-13-13 0,13 14 15,-13-1-15,13 0 0,-13-13 16,13 13-16,0 1 15,-14-1-15,28 0 16,-1-13 0,0-13-1,0 13-15,1-13 0,-1 13 16,-13-14 0,13 1-16,0 26 31,-13 1-16,13-14-15,-13 13 16,14-13-16,-1 0 16,0 0-16,0 0 15,1-13 1,-1-1-16,-13 1 0,13 13 16,-13-13-16,0 0 0,13-14 0,-13 14 15,0 0-15,0-14 0,0 14 16,0-13-16,0 12 0,0 1 0,0 0 15,0 0-15,0-1 0,0 1 0,0 0 16,-13 39 15,13-12-31,0-1 0,0 0 16,0 0-16,0 14 16,0-14-16,0 0 0,0 0 0,0 1 15,13-1-15,-13 0 0,0 0 0,13 1 16,-13-1-16,14-13 0,-14 13 0,26-13 15,-13 0 1,1 0-16,-1 0 16,-13-13-16,13 13 0,-13-13 15,13-1 1,-13 41 31,0-14-32,14 0 1,-1-26 0,0 13-16,0 0 15,0-13-15,1 13 0,-1-13 16,-13-1-16,13 14 0,-13-13 16,13 0-16,-13 0 15,0-1 1,0 1-1,-13 40 48,13-14-47,0 0-1,13-13-15,-13 13 16,0 1-1,14-14-15,12 0 16,-13 0 0,-13-14-16,14 14 15,-14-13-15,13 0 16,-13 0-16,0-1 16,0 1-16,0 0 15,0 0 1,0 0-1,-13 13-15,13-14 16,-14 14 0,1 0-16,0 0 47,0 0-32,26 14 32,0-14-47,0 0 16,1 0-16,-1 0 15,0 0-15,-13-14 16,13 14-16,-13-13 16,13 13-16,1-13 0,-14 0 15,0-1-15,13 14 0,-13-13 16,0 0-1,0 0-15,13 13 16,-13 26 15,0-13-31,0 1 16,0-1-16,0 0 0,0 0 16,13 1-16,-13-1 0,0 0 15,0 0 1,14-13-1,-1 0-15,0 0 16,0 0 0,1 0-1,-1 13-15,0-13 16,0 0-16,0 0 0,1 0 16,-1 0-16,0 0 0,0 0 15,1 14-15,-1-14 0,0 0 16</inkml:trace>
  <inkml:trace contextRef="#ctx0" brushRef="#br0" timeOffset="47758.28">22503 476 0,'0'0'0,"-13"-13"0,-1 13 31,1 0-15,13 13-16,-13-13 0,13 13 16,-13-13-16,13 14 0,-14-1 15,14 0-15,0 0 0,0 1 16,0-1-16,14 0 16,-1-13-1,0 0-15,0-13 16,1 13-16,-1-13 15,-13-1-15,13 14 16,-13-13-16,13 13 16,-13-13-16,13 26 31,1 0-31,-1 1 16,0-14-1,-13 13-15,13-13 16,1 0-16,-1 0 0,0-13 15,0 13-15,-13-14 16,14 1-16,-14 0 0,13 0 16,-13-1-16,0 1 0,0-13 0,13 13 15,-13-1-15,0 1 0,0 0 0,0 0 16,0-1-16,0 1 16,0 0-16,-13 39 31,13-12-16,0-1-15,0 0 0,13 0 0,-13 1 16,0-1-16,13-13 0,-13 13 0,0 0 16,13 0-16,1-13 0,-14 14 15,13-14-15,0 0 0,0 13 0,1-13 16,-1 0-16,0-13 0,0 13 0,1 0 16,-1-14-16,0 1 15,0 13-15,0-13 0,1 0 16,-14 0-16,13 13 15,-13-14-15,-13 41 47,13-14-47,0 0 16,0 0-16,13 1 16,0-14-1,0 0-15,1 0 0,12 0 16,-13-14-1,1 14-15,-1-13 0,0 13 16,0-13-16,0 13 0,-13-13 16,14 13-1,-14-13-15,13 13 16,0 0 31,-13 13-32,13-13 1,1 0 0,12 0-16,-13-13 31,-13-1-15,0 1-16,-13 13 15,13-13-15,-13 13 0,13-13 16,-13 13-16,-1 0 0,-12-14 15,13 14-15,-1 14 16,41-14 31,-14 0-47,0-14 16,1 14-16,-1 0 15,-13-13-15,13 13 0,0-13 0,1 0 16,-1 0-16,0 13 0,-13-14 15,13 1-15,0 0 16,1 26 0,-14 0-1,13 1-15,-13-1 16,0 0-16,0 0 0,13 0 16,-13 1-16,0-1 0,13 0 15,-13 0 1,14 1-1,-1-28 1,0 14 15,0 0-31,0 0 16,1 0-16,-1 0 16,0 0-16,0 0 15,1 0-15,-1-13 0,0 13 0,0-13 16,1 13-16,-1 0 0,-13-13 15,13 13-15,-13-14 16,13 1-16,-26 13 31,-13 0-15,26 13 0,-14 1-1,28-1 1,-1-13-1,0 0 1,0 0 0,0 0-16,1 0 0,-1-13 15,0 13-15,0 0 0,-13-14 16,14 14-16,-14-13 0,13 13 16,0-13-16,0 0 0,-13 0 15,14-1-15,-1-12 0,-13 13 0,13-1 16,-13 1-16,13 0 0,-13 0 15,13-1-15,-13 1 16,14 40 0,-14-14-1,0 0-15,0 0 16,0 1-16,0-1 0,0 0 0,0 0 16,13 1-16,-13-1 0,0 0 0,0 0 15,13 0-15,0-13 16</inkml:trace>
  <inkml:trace contextRef="#ctx0" brushRef="#br0" timeOffset="47894.98">23945 370 0,'0'0'0,"13"0"16,-39-13 15,12 26-15</inkml:trace>
  <inkml:trace contextRef="#ctx0" brushRef="#br0" timeOffset="49594.86">20254 1733 0,'0'26'0,"0"-12"0,13-1 0</inkml:trace>
  <inkml:trace contextRef="#ctx0" brushRef="#br0" timeOffset="49754.51">20386 2077 0,'-13'40'31,"13"-27"-15</inkml:trace>
  <inkml:trace contextRef="#ctx0" brushRef="#br0" timeOffset="49907.32">20413 2328 0,'13'14'16,"-13"-1"-16,0 0 15,0 0-15,0 0 16,0 1-16,0-1 0,0 0 0,13 0 15,-13 1-15,0-1 0</inkml:trace>
  <inkml:trace contextRef="#ctx0" brushRef="#br0" timeOffset="50758.75">19751 2527 0,'0'0'0,"-26"-66"31,26 52-31,-14 1 0,14 0 16,-13 0-16,13-1 0,0 1 0,-13 0 15,13 0-15,0 0 0,-13-1 0,13 1 16,-13 0-16,13 0 16,-14-1-16,1 14 31</inkml:trace>
  <inkml:trace contextRef="#ctx0" brushRef="#br0" timeOffset="51007.14">19659 2236 0,'-14'13'31,"1"0"-31,0 0 16,13 1-16,-13-1 0,13 0 16,-14-13-16,14 13 0,0 1 15,-13-14-15,13 13 0,0 0 16,-13-13-16</inkml:trace>
  <inkml:trace contextRef="#ctx0" brushRef="#br0" timeOffset="51582.89">19659 2249 0,'52'13'31,"-38"0"-31,-1-13 16,0 14-16,0-14 0,1 0 0,-1 0 16,0 0-16,0 13 0,1-13 0,-1 0 15,0 0-15,0 0 0,0 0 16</inkml:trace>
  <inkml:trace contextRef="#ctx0" brushRef="#br0" timeOffset="52680.91">23521 1640 0,'14'0'16,"-14"14"15,0-1-31,0 0 16,0 0-16,0 14 0,0-14 0,0 0 15,13 14-15,-13-14 0,0 0 16,0 14-16,0-14 0,0 0 15,0 0-15,0 1 0,0-1 0,0 0 16,0 0-16,0 0 16,0 1-16</inkml:trace>
  <inkml:trace contextRef="#ctx0" brushRef="#br0" timeOffset="53203.39">23482 1852 0,'0'0'16,"-13"-13"-1,26 39 17,0-12-17,-13-1-15,13 0 16,-13 0-16,0 0 16,13 1-16,-13-1 0,0 0 15,14 0-15,-14 1 16,13-14-16,-13 13 0,13 0 15,0-13 1,14 0 0,-27-13-1,13 13-15,0-13 16,1-1-16,-1 14 0,-13-13 16,13 13-16,0-13 0,-13 0 15,13 13-15,-13-14 16,14 14-16,-1-13 15</inkml:trace>
  <inkml:trace contextRef="#ctx0" brushRef="#br0" timeOffset="54119.06">22807 1442 0,'53'-26'0,"-106"52"0,132-52 0,-52 12 0,13 14 15,-1-13-15,1 0 0,0 0 16,-1 13-16,1-14 0,-13 14 0,-14 0 16,0 0-16,0 0 0,0 0 0</inkml:trace>
  <inkml:trace contextRef="#ctx0" brushRef="#br0" timeOffset="54286.15">22781 1495 0,'0'0'0,"-27"13"16,14-13-16,53 0 31,-27 0-31,13-13 16,1 13-16,26-13 0,-14 13 0,1-14 15,13 1-15,0 0 0,-13 0 16,13 0-16</inkml:trace>
  <inkml:trace contextRef="#ctx0" brushRef="#br0" timeOffset="54956">19976 1521 0,'66'-26'15,"-53"26"-15,14-13 16,13-1-16,-1 1 0,1 13 0,0-13 16,13 0-16,-14 0 0,-12 13 0,-1-14 15,1 14-15,-1 0 0</inkml:trace>
  <inkml:trace contextRef="#ctx0" brushRef="#br0" timeOffset="55198.53">20016 1548 0,'26'0'32,"-13"-13"-32,1 13 0,-1 0 15,13-14-15,1 14 0,-1-13 16,1 13-16,-1 0 0,-13-13 15,14 13-15,-1-13 0,-12 13 0,-1 0 16,0-14-16,0 14 0,0 0 16,1 0-16,-14-13 0,13 13 0</inkml:trace>
  <inkml:trace contextRef="#ctx0" brushRef="#br0" timeOffset="56427.63">19526 1098 0,'212'-40'15,"-172"27"-15,13 13 16,13-26-16,0 12 0,0 1 0,0 0 16,0 0-16,-13 13 0,13-14 15,0 14-15,-13-13 0,-13 0 16,13 0-16,-13 0 0,-1-1 0,1 1 15,0 13-15,-1-13 0,1 0 0,-13-1 16,-1-12-16,-13 13 0,14 0 0,-1-1 16,-13-12-16,1 13 0,-1-1 15,0-12-15,0 13 0,1-14 0,-14 1 16,13 13-16,-13-1 0,0-12 0,0-1 16,-13 14-16,13-13 0,-14-1 15,1 14-15,0-13 0,-14-1 0,1 1 16,13-1-16,-14 1 0,-12 13 0,-1-14 15,0 1-15,1 12 16,-14-12-16,-14 13 0,15-1 0,-1 1 16,0 0-16,0 0 0,0 13 0,0-13 15,-13 13-15,13 0 0,-27 13 0,14-13 16,-13 13-16,13 0 0,0 0 16,0 14-16,-1-14 0,1 14 0,0-1 15,0 1-15,0-1 0,13 0 0,-13 1 16,13 13-16,0-14 0,0 0 15,13 14-15,1-13 0,-1 12 0,13 1 16,1-14-16,13 1 0,-14 13 0,14-14 16,13 1-16,-13-1 0,13-13 15,0 14-15,0-1 0,13-13 16,0 14-16,1-1 0,12-13 0,0 14 16,14-14-16,0 14 0,13-14 0,-14 0 15,14 0-15,-13-13 0,13 14 16,0-14-16,0 0 0,0 13 0,0-13 15,0 0-15,-1-13 0,15 13 0,-14 0 16,-1-14-16,1 1 0</inkml:trace>
  <inkml:trace contextRef="#ctx0" brushRef="#br0" timeOffset="57455.47">22503 79 0,'-53'14'0,"106"-28"16,-133 41-16,67-14 0,0 0 0,-13 1 16,-1 12-16,14 0 0,-14-12 0,1 12 15,13-13-15,-1 1 0,1 12 0,13-13 16,-13 14-16,13-14 15,-13 0-15,26 14 0,-13-14 0,13 40 16,27-14-16,-14-12 16,1-1-16,13 1 0,-14-14 15,27 14-15,-13-14 0,-1 13 0,14-13 16,13 1-16,40 12 0,-40-26 16,0 13-16,-13-13 0,14 0 15,-1 0-15,79 0 0,-65-13 16,-14 13-16,13-13 0,-13 13 0,-13-13 15,0-1-15,-13 14 0,13-13 16,0 0-16,-14 13 0,1-13 0,0 0 16,-1-14-16,14 14 0,-26 0 15,12-1-15,1-12 0,-13 13 16,12-1-16,-12 1 0,12 0 0,-25 0 16,12 0-16,-13-1 0,14 1 0,-14 0 15,0 13-15,0-13 0,-13-1 16,14 1-16,-14 0 0,13 0 15,-26 0-15,13-1 0,0 1 0,-14-13 16,1 12-16,-13-12 0,-1-1 16,1 1-16,-14 0 0,0-1 0,1 1 15,-14-1-15,-13 1 0,13 12 0</inkml:trace>
  <inkml:trace contextRef="#ctx0" brushRef="#br0" timeOffset="57542.18">22873 26 0,'0'0'0,"-79"14"0,39-1 0</inkml:trace>
  <inkml:trace contextRef="#ctx0" brushRef="#br0" timeOffset="59438.14">23667 2831 0,'13'0'0,"-13"93"32,-13-67-32,13-13 0,0 14 15,0-14-15,0 13 0,0-12 16,0-1-16,0 0 0,0 0 0,0 1 16,0-1-16,0 0 0,0 0 15,13 1-15,0-1 16,1-13-16,-14 13 0,13-13 15,0 0-15,0 0 0,1 0 16,-1 0-16,0 0 0,0 0 16,0-13-16,1 13 0</inkml:trace>
  <inkml:trace contextRef="#ctx0" brushRef="#br0" timeOffset="59882.96">23786 3043 0,'13'-14'16,"0"14"-16,1 0 0,-14-13 15,13 13-15,0 0 0,0 0 16,1-13-16,-1 13 0,0 0 16,-13-13-16,13 13 0,-13-13 15,-13-1 1,13 1-16,-13 13 0,0-13 15,-1 13-15,1-13 16,0 13-16,0-14 0,-1 14 0,14-13 16,-13 13-16,0-13 15,39 0 1,-12 13-16,-1 0 16,0 0-16,0 0 0,14 0 0,-1 0 15,1-13-15,-14 13 0,13 0 16,-12 0-16,-1 0 0,13 0 0,-12 0 15,-1 0-15,0 0 0,-13 13 16,13-13-16,-13 13 16,0 0-16,0 0 15,-13 1-15,13 12 0,0-13 0,-13 1 16,0 12-16,13-13 0,-14 14 16,14-14-16,-13 0 0,0 0 0,13 1 15,-13-14-15,13 13 0,0 0 16,-14-13-16</inkml:trace>
  <inkml:trace contextRef="#ctx0" brushRef="#br0" timeOffset="60034.56">23958 3149 0,'0'0'0,"-13"-14"0,13 1 16,0 0-16,13 13 15,0 0 1,0 0 0,1 0-1,-1 0-15,0 0 0,0 0 16,1 0-16,-1 0 0,0 0 15,0 0-15,1 0 0,12-13 0,-13 13 16</inkml:trace>
  <inkml:trace contextRef="#ctx0" brushRef="#br0" timeOffset="60491.04">24315 2844 0,'0'0'16,"0"-26"-16,0 13 0,0-1 0,0 1 15,-13 40 16,13-14-31,0 0 0,0 0 16,-13 1-16,13 12 0,0-13 0,-13 14 16,13-1-16,-14-13 0,14 1 15,0 12-15,0-13 0,-13 0 0,13 1 16,0-1-16,0 0 0,-13-13 16,13 13-1,0-39 1,0 13-1,0-1-15,13 1 16,-13 0-16,13 13 0,1-13 16,-1 13-1,0 0 1,0 0-16,0 0 16,1 0-16,-1 13 15,0-13 1,0-13-1,1 13-15,-1 0 16,-13-13-16,13 13 16,-13-14-16,13 14 0,-13-13 0,14 13 15,-14-13-15,13 13 0,0-13 16</inkml:trace>
  <inkml:trace contextRef="#ctx0" brushRef="#br0" timeOffset="61415.83">23958 3387 0,'0'26'31,"13"-13"-31,-13 1 16,0-1-16,0 0 0,13 0 0,-13 0 15,14 1-15,-14-1 16,13-13-16,0 13 16,0-13-16,1-13 15,-1 0-15,-13-1 16,0 1-16,13 0 0,-13 0 16,0 0-16,13-1 0,-13 1 0,0 0 15,14 0-15,-14-1 0,0 1 16,13 0-1,0 13-15,0 0 16</inkml:trace>
  <inkml:trace contextRef="#ctx0" brushRef="#br0" timeOffset="62008.07">24262 3360 0,'-26'27'16,"26"-14"-1,-13-13-15,13 13 0,0 0 16,0 1-16,-14-14 16,28 13-1,-1-26 1,0 13 0,0 0-16,1 0 15,-14-14-15,13 14 16,0 0-16,0 0 15,0 0 1,1 14-16,-1-14 16,0 0-1,0-14 1,-13 1 0,14 13-16,-14-13 0,13 13 15,-13-13-15,13-1 16,0 1-16,1 13 15,-14-13-15,13 13 0,0-13 16,0 13-16,0 0 16,1 0-1,-1 0-15,-13 13 16,13-13-16,-13 13 16,0 0-16,0 1 15,13-14 1,1 0 15,-1-14-31,0 14 16,-13-13-1,13 13-15,0-13 32</inkml:trace>
  <inkml:trace contextRef="#ctx0" brushRef="#br0" timeOffset="68091.11">10464 6059 0,'93'-13'16,"-67"13"-1,1 0-15,12 0 0,1 0 0,13-14 16,0 14-16,0 0 0,0 0 0,13 0 16,-13 0-16,0 0 0,0 0 15,0 0-15,0 0 0,-1 0 0,-12 0 16,-13 14-16,12-14 0,-12 0 0,-14 0 16,13 0-16,-12 0 0,-1 0 15,0 0-15,0 0 0,1 0 0,-54 0 47,27 0-47,-1 0 16,-12 0-16,-14 0 0,14 0 15,-14 13-15,14-13 0,-27 0 16,0 0-16,26 0 0,-12 0 0,12 0 16,-12 13-16,12-13 0,14 0 0,-14 0 15,14 0-15,0 0 0,0 0 16,0 0-16,-1 0 0,67 13 31,-26-26-31,-1 13 16,27 0-16,0 0 0,13 0 0,-13 0 15,26 0-15,1 0 0,79 0 16,-93 0-16,13 0 16,-13 0-16,0 0 0,-13 0 0,0 13 15,0-13-15,-26 0 0,12 0 0,-12 0 16,-1 0-16,-13 0 0,14 0 15,-14 14-15,0-14 0,1 0 0,-1 0 16,0 0-16,0 0 16,0 0-16,1 0 15,-14-14 1</inkml:trace>
  <inkml:trace contextRef="#ctx0" brushRef="#br0" timeOffset="68727.2">10253 5622 0,'-14'0'31,"1"14"-31,13-1 16,0 0-16,-13 14 0,13-1 0,-13 14 0,13-1 15,-14-12-15,14 13 16,-13 12-16,13-25 0,-13 13 0,0-1 16,13-12-16,0-1 0,-13 1 0,13-14 15,0 13-15,0-12 0,0-1 16,0 0-16,0 0 0,0 0 16</inkml:trace>
  <inkml:trace contextRef="#ctx0" brushRef="#br0" timeOffset="70710.02">22609 2262 0,'0'0'0,"-14"27"31,1-14-15,13 0-16,0 0 16,-13 1-16,13-1 0,0 0 0,0 0 15,-13 0-15,13 1 0,0-1 0,13-13 16,-13 13-16,0 0 0,13-13 16,0 0-16,1 0 15,-1 0-15,0-13 16,0 13-16,1-13 0,-1 0 15,0 13-15,0-14 16,14 14 0,-27 14-16,0-1 15,13-13 1,-13 13-16,13 0 0,0-13 16,1 0-16,-1 0 0,0 0 15,0 0-15,1-13 16,-1 0-16,0 13 0,0-13 15,0-1 1,1 14 0,-1 14-1,0-14 1,-13 13 0,13-13-16,1 0 15,-1 0 1,-13-13-1,0-1 1,-13 1-16,-1 13 16,14-13-1,-13 13 1,26-13-16,1 0 16,-1 13-1,-13-14-15,13 14 16,0 0-16,1 0 15,-1 14 1,-13-1 0,13-13-16,0 13 0,0 0 31,1-13-31,-1 13 16,0-13-1,-13-13-15,13 0 16,-26 0 15,13 0-15,0-1 15</inkml:trace>
  <inkml:trace contextRef="#ctx0" brushRef="#br0" timeOffset="71039.45">23217 2209 0,'13'-13'15,"1"26"17,-14 0-32,0 1 0,0-1 0,0 0 15,0 0-15,0 1 0,0-1 16,13 0-16,-13 0 16,0 1-16,-13-14 46,-1 0-46,1 0 16,-40 26 15,40-13-31,13 0 0,13 1 32,1-1-32,-1-13 15,0 0-15,0 0 16,0 0-16,1 0 0,-1 0 0,0-13 15,0 13-15,14 0 0,-14 0 16,0-14-16</inkml:trace>
  <inkml:trace contextRef="#ctx0" brushRef="#br0" timeOffset="71522.89">23932 2077 0,'0'0'0,"-14"26"31,14-12-15,0-1-16,0 0 0,0 0 16,0 1-16,0-1 0,0 0 0,0 0 15,0 0-15,14 1 16,-14-1-16,-14 0 31,1-26-15,-13 13-16,12 0 15,1 0 1,0 13-16,0-13 0,-1 0 16,14 13-16,-13-13 0,13 14 0,-13-14 15,26 13 1,0-13-16,1 0 15,-1 0-15,13-13 0,-12 13 0,-1 0 16,13-14-16,-12 14 0,-1 0 16,13-13-16,-13 13 0,1 0 0,-1 0 15,0 0-15,0 0 0,1 0 16,-1 0-16,0 0 16,0 13-16,1 1 31</inkml:trace>
  <inkml:trace contextRef="#ctx0" brushRef="#br0" timeOffset="72148.82">24236 2222 0,'13'-26'31,"-13"13"-15,-26 39 15,12-13-31,1 1 16,13-1-1,0 0-15,13 0 16,1-13-16,-1 0 15,0 0-15,0 0 16,1-13-16,-1 13 0,0 0 0,0-13 16,14 0-16,-14 13 0,0-14 0,0 1 15,1 0-15,-1-13 0,0 12 16,0 1-16,1-13 0,-14 12 0,13 1 16,-13-13-16,0 13 0,13 13 15,-13-14-15,0 1 0,13 0 16,-26 39 15,13-12-31,0-1 0,0 0 16,0 0-16,0 0 15,0 1-15,13-1 0,-13 0 0,0 0 16,13 1-16,-13-1 16,14-13-16,-1 0 15,0 13-15,0-26 16</inkml:trace>
  <inkml:trace contextRef="#ctx0" brushRef="#br0" timeOffset="72347.67">24342 2064 0,'26'-13'15,"-13"13"1,1-14-16,-1 14 0,13-13 0,-12 13 16,12 0-16,-13-13 0,14 13 15,-1-13-15,-13 13 0,14-14 0,-1 14 16,-13-13-16,1 13 0,-1 0 16</inkml:trace>
  <inkml:trace contextRef="#ctx0" brushRef="#br0" timeOffset="73404">20002 2831 0,'0'0'0,"14"0"0,-14-13 15,-14 39 16,14-12-31,0-1 0,0 0 16,0 0-16,0 0 0,0 1 16,0-1-16,0 0 0,0 0 0,0 1 15,0-1-15,0 0 0,0 0 0,0 0 16,0 1 0,0-54 15,0 27-31,0 0 0,0-1 15,0-12-15,0 13 0,0-14 16,0 14-16,0 0 0,14-14 0,-14 14 16,0 0-16,13 0 0,-13-1 15,13 41 17,-13-14-32,0 0 15,0 1 1,13-14-16,-13 13 0,14 0 15,-1 0-15,0 0 0,-13 1 16,13-1-16,1 0 16,-14 0-16,13 1 0,-13-1 15,0 0 1,0 0-16,-13-13 16,13 13-16,-14-13 15,41-26 16</inkml:trace>
  <inkml:trace contextRef="#ctx0" brushRef="#br0" timeOffset="74030.6">20254 2897 0,'26'-13'0,"-52"26"15,52-39-15,-12 26 0,-14-13 0,-27 26 63,27 0-63,-13-13 0,13 13 0,-13-13 15,13 13-15,0 1 0,0-1 16,0 0-16,0 0 16,13-13-1,0 0-15,0-13 16,1 13-16,-1-13 16,-13 0-16,13 13 0,-13-14 0,13 1 15,-13 0-15,13 13 0,-13-13 16,14 0-1,-1 26 1,0-13 0,0 13-1,1-13-15,-1 0 0,0 0 16,0 0-16,1 0 0,-1 0 16,0 0-16,0-13 15,0 13 1,1 0-16,-1 0 15,-13 13 1,0 0-16,0 0 16,13 1-1,0-1 1,1-26 0,-1 13-16,-13-14 15,0 1-15,13 13 0,-13-13 0,13 0 16,-13-14-16,0 14 0,0-13 15,0 12-15,0 1 0,0 0 0,0-14 16,0 14-16,0 0 0,0 0 16,-13 39 15,13-13-31,0 14 0,0-14 16,-13 0-16,13 14 15,0-14-15,0 0 0,0 14 0,0-14 16,0 0-16,0 0 0,13 1 15</inkml:trace>
  <inkml:trace contextRef="#ctx0" brushRef="#br0" timeOffset="74499.9">20915 2606 0,'-13'27'31,"13"-14"-31,0 13 0,0-12 16,0-1-16,0 13 0,0-13 16,0 14-16,0-14 0,0 0 15,0 1-15,0-1 0,0 0 0,0 0 16,0 1-16,0-1 15,-13-13 1,0 13-16,-1-13 0,1 0 16,0 13-1,0-13-15,-1 13 16,1 1-16,26-1 31,14-26-15,-14 13-16,0-14 0,1 14 0,12-13 15,-13 13-15,1 0 0,-1-13 0,0 13 16,0-13-16,0 13 16,1 0-16,-1 0 15,0 0-15,0 13 16,-13 0 0,14-13-1</inkml:trace>
  <inkml:trace contextRef="#ctx0" brushRef="#br0" timeOffset="74607.75">21114 2752 0</inkml:trace>
  <inkml:trace contextRef="#ctx0" brushRef="#br0" timeOffset="75070.22">21193 2805 0,'0'-14'0,"-26"28"62,26-1-62,-14 0 16,14 0-1,0 1 1,14-14-16,-1 0 16,0 0-16,14-14 15,-14 14-15,0-13 0,0 0 16,0 13-16,1-13 0,-1-1 15,0 1-15,-13-13 0,13 12 0,1 1 16,-14 0-16,13-13 0,-13 12 0,13 1 16,-13 0-16,0 0 0,0-1 15,-13 41 17,13-14-17,0 14-15,0-14 0,0 0 16,0 0-16,0 0 0,0 1 0,0-1 15,13 0-15,-13 0 0,13 1 16,-13-1-16,14 0 0,-1-13 16,-13 13-1</inkml:trace>
  <inkml:trace contextRef="#ctx0" brushRef="#br0" timeOffset="75207.02">21352 2765 0,'-13'-13'31,"26"-1"-15,0 14 0,-13-13-16,13 13 0,1 0 0,12-13 15,-13 13-15,14-13 0,-1 0 16</inkml:trace>
  <inkml:trace contextRef="#ctx0" brushRef="#br0" timeOffset="76062.17">23627 3254 0,'-26'0'0,"13"0"32,-1 0-17,1 0-15,0 0 16,0-13-1,-1 13-15,1 0 0,0-13 0,0 0 16,0 13-16,-1-14 0,1-12 0,0 0 16,-14-1-16,14 1 0,0-1 0,0-13 15,13 14-15,-14-14 0,1 14 16,13-1-16,0 1 0,-13 0 0,13-1 16,0 14-16,0-14 0,-13 14 0,13 0 15,0 0-15,0-1 16,-13-25-1,13 26-15</inkml:trace>
  <inkml:trace contextRef="#ctx0" brushRef="#br0" timeOffset="76287.59">23283 2686 0,'-13'13'31,"0"0"-31,13 0 0,-13-13 16,-1 13-16,1 14 0,0-14 0,0 0 16,0 1-16,-1 12 0,1-13 15,0 1-15,0-1 0,13 0 0,-14 0 16,1 0-16,13 1 0,0-1 15</inkml:trace>
  <inkml:trace contextRef="#ctx0" brushRef="#br0" timeOffset="76460.32">23230 2752 0,'40'26'15,"-27"-26"1,-13 13-16,14-13 0,-1 14 0,0-14 16,0 13-16,0-13 0,1 13 0,-1-13 15,0 13-15,0-13 0,-13 14 16</inkml:trace>
  <inkml:trace contextRef="#ctx0" brushRef="#br0" timeOffset="77210.3">23588 3241 0,'-27'-13'31,"1"26"-31,12-13 0,1 0 16,0 0-16,-13 13 0,-1-13 0,1 0 16,-27 14-16,13-14 0,-13 0 15,0 13-15,14-13 0,-14 0 0,0 0 16,0 0-16,13 0 0,0 0 0,1 0 16,-67 0-16,53 0 15,0-13-15,13 13 0,-13 0 16,14 0-16,-14-14 0,26 14 0,-12 0 15,-1-13-15,14 13 0,-1-13 0,-13 13 16,14-13-16,-1 13 0,-12-14 16,-1 14-16,0-13 0,1 0 0,-1 13 15,0-13-15,1 13 0,-1-13 0,0 13 16,14 0-16,-14 0 0,0-14 16,14 14-16,-14 0 0,14 0 0,13 0 15,-14 0-15,1 0 16,12 0-16,1 0 0,0 0 15,0 0-15,0 0 0,-1 0 16,1 0-16</inkml:trace>
  <inkml:trace contextRef="#ctx0" brushRef="#br0" timeOffset="77702.93">21564 3096 0,'-27'26'31,"27"-13"-31,-13 1 16,13-1-16,-13 0 16,13 0-1,-14-13 1,1 0 15,0 0-31,0-13 16,-1 13-16,1-13 0,0 13 15,0 0 1,13-13-16,-13 13 16,-1 0-16,1 13 15,0-13 1,13 13-16,0 0 16,-13 0-16,26 1 15,-13-1-15,13 0 16,-13 0-1,13-13-15,-13 14 0,14-14 16,-1 0-16,0 13 0,0-13 16,0 13-16,1-13 0,-1 13 15,0-13-15,0 0 0</inkml:trace>
  <inkml:trace contextRef="#ctx0" brushRef="#br0" timeOffset="78043">21669 3254 0</inkml:trace>
  <inkml:trace contextRef="#ctx0" brushRef="#br0" timeOffset="78494.8">21511 3334 0,'-27'-13'15,"14"-1"1,0 14-1,13-13-15,-14 13 0,14-13 16,-13 13-16,13-13 0,-13-1 0,0 1 16,0 13-16,13-13 15,-14 13-15,1-13 16,0-1 0,13 1-1,13 0 1,0 13-16,1-13 0,12 13 0,-13-13 15,27-1-15,0 1 0,-1 0 0,1 0 16,0-14-16,-1 14 0,1 0 0,0-1 16,-1 1-16,1 0 0,-13 13 15,-1-13-15,-13 0 0,1 13 0,-1-14 16,0 14-16,0 0 0,-13-13 0,13 13 16,1-13-16</inkml:trace>
  <inkml:trace contextRef="#ctx0" brushRef="#br0" timeOffset="86338.04">20095 3413 0,'-13'13'0,"26"-26"0,-26 40 16,26-14 0,-13 0-16,13-13 15,1 13-15,-1-13 0,0 13 0,0-13 16,0 14-16,1-14 0,-1 13 16,0 0-16,0-13 0,-13 13 15,14-13-15,-14 14 16,-14-1-16,14 0 15,-13 0-15,0-13 0,13 14 0,-13-14 16,-1 13-16,1-13 0,0 13 16,0-13-16,0 0 0,-1 0 15,1 0-15</inkml:trace>
  <inkml:trace contextRef="#ctx0" brushRef="#br0" timeOffset="87299.33">20254 3426 0,'13'14'31,"-13"-1"-15,13 0-16,-13 0 16,14 0-1,-14 1-15,13-28 63,0 14-63,-13-13 15,13 0-15,-13 0 16,13 13 0,1-13-16,-1 13 15,0 0 1,0 0 0,1 0-1,-1 0 16,0 0-31,-13-14 16,13 14-16,1-13 16,-1 13-1,0 0 1,-13 13 0,13-13-1,0 0 1,1 0-16,-1-13 31,0 13-31,0 0 16,1-13-16,-1 13 15,0 0 1,-13-13-16,13 13 16,1 0-16,-14-14 15,13 14-15,-13-13 16,13 13-16,-13-13 15,0 0 1,-13 13 0,0 0-1,-1 0-15,14 13 16,-13 0 0,26 0-16,-13 1 15,14-1-15,-1-13 16,0 13-1,0-13 1,14-13-16,-14 13 16,-13-13-16,13 13 15,-13-14-15,0 1 16,0 0-16,0 0 16,-13 0-1,0 13 1,13-14-16,-27 28 15</inkml:trace>
  <inkml:trace contextRef="#ctx0" brushRef="#br0" timeOffset="87618.81">20876 3122 0,'0'13'15,"0"1"-15,0 12 16,0 0-16,0-12 0,0 12 16,-14-13-16,14 14 0,-13-1 0,13 1 15,0-14-15,-13 13 0,13-12 16,0 12-16,-13-13 0,13 1 0,0-1 16,0 0-16</inkml:trace>
  <inkml:trace contextRef="#ctx0" brushRef="#br0" timeOffset="88053.84">21034 3228 0,'-26'0'31,"13"0"-31,-1 0 15,1 0-15,13 13 0,-13-13 0,0 13 16,0 1-16,-1-14 16,14 13-16,-13-13 15,13 13-15,0 0 16,0 1-16,0-1 31,13-13-31,1 0 0,-1 0 16,0 0-16,0 0 0,0-13 15,1 13-15,-1 0 0,0-14 16,-13 1-16,13 13 0,1-13 0,-1 0 16,-26 26 31,13 0-32,0 0-15,0 1 16,0-1-1,13-13-15,0 13 0,0-13 16,1 0-16,-1 0 0,0 0 16</inkml:trace>
  <inkml:trace contextRef="#ctx0" brushRef="#br0" timeOffset="91166">23138 3545 0,'-13'27'31,"13"-14"-31,0 0 16,0 1-16,0-1 0,0 0 15,0 0-15,0 0 16,0 1-16,0-1 16,13-26 30,0 13-46,-13-14 0,13 1 16,1 0 0,-1 13-1,-13 13 1,13-13-16,-13 13 16,13 1-16,0-1 15,1 0 1,-1-13-16,0 0 0,0 0 15,1 0-15,-1-13 0,0 13 16,0-13-16,0 13 16,-13-14-16,14 14 0,-14-13 0,13 13 15,-13-13-15,0 0 16,0 0 0,-13 39 15,-1-26-31,14 13 0,0 0 15,0 1-15,14-1 16,-1-13 0,0 0-1,0 0-15,1 0 16,-14-13-16,13-1 16,-13 1-1,0 0-15,-13 13 0,13-13 16,0 0-16,-14 13 15,14-14-15,-13 1 16,40 26 78,-14-13-94,0 14 15,0-14 1,1 13 0,-1-13-16,-13 13 15,13-13 1,0 0 46</inkml:trace>
  <inkml:trace contextRef="#ctx0" brushRef="#br0" timeOffset="91351.16">23627 3466 0,'0'-13'0,"-13"52"31,13-25-31,0-1 16,0 0-16,0 0 0,-13 14 15,13-14-15,0 0 0,0 14 0,0-14 16,0 0-16,0 0 0,0 1 16,0-1-16</inkml:trace>
  <inkml:trace contextRef="#ctx0" brushRef="#br0" timeOffset="91571.77">23574 3638 0,'0'-13'15,"14"13"1,-1 0-1,-13-13-15,13 13 0,14 0 16,-14 0-16,0 0 16,0-14-16,0 14 0,1 0 15</inkml:trace>
  <inkml:trace contextRef="#ctx0" brushRef="#br0" timeOffset="92007.83">23892 3651 0,'-13'0'0,"-1"0"16,14 13-1,0 1-15,14-1 16,-14 0-16,13 0 0,0 1 15,0-1 1,-13 0-16,14-13 16,-14 13-16,0 1 15,-14-14-15,-12 0 16,26 13 0,-13-13-16,-1 0 0,1 0 15,0 0-15,0-13 16</inkml:trace>
  <inkml:trace contextRef="#ctx0" brushRef="#br0" timeOffset="93360.31">23998 3678 0,'13'13'47,"-13"0"-31,0 0-16,0 1 15,0-1 1,13 0 0,-13 0-1,13-26 48,1 13-48,-14-13 1,13 13-16,-13-13 16,13 13-16,0 0 15,1 0 1,-14 13-16,13-13 15,-13 13 1,13-13-16,0 0 63,0 0-48,1 0 16,-1 0-15,0 0-16,0 0 16,1 0-16,-1 0 15,0 0-15,0 0 16,1-13-16,-1 0 16,-13-1-1,0 1 1,-13 13-1,-1 13 17,1-13-17,13 14-15,0-1 16,0 0 0,13-13-16,1 0 15,12 0-15,-13 0 16,0 0-16,1-13 0,-1 0 15,0 13-15,0-14 0,1 14 16,-14-13-16,13 0 0,0 13 0,-13-13 16,13-1-16,-13 1 0,14 0 15,-14 0-15,13 0 0,-13-1 16,0 1-16,13 13 0,-13-13 16,-13 39 15,13-12-31,0-1 0,-13 0 15,13 0-15,-14 0 0,14 1 16,-13-1-16,13 0 0,-13 0 16,13 1-1,0-1-15,13-26 32,0 13-17,1-14-15,-1 14 0,-13-13 16,13 13-16,0 0 0,-13-13 0,13 13 15,1-13-15,-1 13 16,-26 26 15,-1-26-15,1 13-16,0-13 16,13 14-16,-13-14 0,13 13 0,-13-13 15,13 13-15,-14-13 16,28 13 15,-1-13-31,0 0 16,0-13-16,0 13 0,1 0 15,-1-13-15,0 13 16,-13-13-16,13 13 0,1-14 0,-1 1 16,0 13-16,-13-13 15,13 13 1,0 13 15,-13 0-15,0 1-1,0-1 1,0 0-16</inkml:trace>
  <inkml:trace contextRef="#ctx0" brushRef="#br0" timeOffset="93498.67">24725 3612 0,'0'0'0,"-13"-14"0,0 14 31</inkml:trace>
  <inkml:trace contextRef="#ctx0" brushRef="#br0" timeOffset="93769.77">24791 3585 0,'14'13'16,"-14"1"-1,0-1 1,0 0 0,13 0-16,0-13 15,-13 13 1,13-13 0,1-13-1,-1 13-15,0-13 16</inkml:trace>
  <inkml:trace contextRef="#ctx0" brushRef="#br0" timeOffset="94824.02">20280 3201 0,'-13'-13'15,"40"0"1,-14 13-16,0-13 0,13 13 0,14-13 16,0-1-16,0 1 0,-1 0 15,1 0-15,0-1 0,-1 1 0,1 0 16,13 0-16,-13-1 0,-1 1 0,-12 13 16,-1-13-16,1 13 0,-14-13 15,13 13-15,-12 0 0,-1-13 0,0 13 16,0 0-16,0 0 0,1 0 15,-14-14-15,13 14 0,-53 27 47</inkml:trace>
  <inkml:trace contextRef="#ctx0" brushRef="#br0" timeOffset="95402.75">20518 3175 0,'27'0'31,"-14"0"-31,0-13 0,14 13 16,-14 0-16,14-13 0,-1-1 16,0 14-16,1-13 0,-1 13 15,1-13-15,-14 0 0,13 13 0,1 0 16,-14-14-16,14 14 0,-14 0 15,0-13-15,0 13 0,1 0 0,-1 0 16,-13-13-16,13 13 0,0 0 0,0 0 16,1 0-1,-1-13 1,0 13 0,0 0 15,-39 0 203</inkml:trace>
  <inkml:trace contextRef="#ctx0" brushRef="#br0" timeOffset="96431.16">20505 3731 0,'66'-27'15,"-39"14"-15,-1 13 16,1-27-16,12 27 0,-12-13 16,13 0-16,-1 0 0,-12 0 0,12-1 15,-12 14-15,-1-13 0,1 0 0,-1 13 16,1-13-16,-14 13 0,0-14 0,14 14 15,-14 0-15,0 0 16</inkml:trace>
  <inkml:trace contextRef="#ctx0" brushRef="#br0" timeOffset="96966.86">20598 3744 0,'0'0'0,"26"-13"31,-12 13-31,-1-14 0,13 14 0,1-13 16,-1 13-16,14-13 0,-14 0 0,1 13 15,-1-14-15,1 14 0,-1-13 16,1 13-16,-1-13 0,0 13 0,1-13 16,-14 13-16,0-13 0,14 13 0,-14 0 15,0 0-15,1-14 16,-1 14-16,0 0 0,0 0 15,-13-13 1,13 13 0,1 0-1,-1 0 1,0 0 78,-13-13 46,0 0-124</inkml:trace>
  <inkml:trace contextRef="#ctx0" brushRef="#br0" timeOffset="99247.23">19791 2699 0,'-13'-13'16,"-27"13"0,13 0-16,14 0 0,-13 0 15,13 13-15,-14-13 0,14 13 0,0-13 16,-1 13-16,1 0 0,0 1 0,0-1 15,13 0-15,-14 14 0,14-14 16,0 13-16,14-12 0,-14 12 0,0 0 16,13 1-16,-13-1 0,0 1 0,0-1 15,0-13-15,0 1 0,0 12 16,13-13-16,-13 1 0,0-1 16,-13 0-16,13 0 0,-13 1 15,13-1-15,-14 0 16,14 0-16,-13 0 0,13 14 0,-13-14 15,13 27-15,0-14 0,0 1 16,0-1-16,0 14 0,0 0 0,13-14 16,-13 14-16,13-14 0,1-13 15,-14 14-15,13-14 0,0 14 0,0-14 16,-13 0-16,14 0 0,-1-13 0,-13 13 16,13-13-16,-13 14 0,13-14 15,1 0-15</inkml:trace>
  <inkml:trace contextRef="#ctx0" brushRef="#br0" timeOffset="100467.71">18071 3069 0,'-26'13'31,"12"1"-31,1-1 0,-13 13 0,-1 1 16,14-1-16,-13 1 0,12-1 15,1 1-15,-13-1 0,26-13 0,-14 14 16,14-14-16,-13 0 0,13 0 0,0 1 16,13-1-16,1-13 15,-1 0-15,0 0 16,0 0-16,14-13 0,-14-1 0,13 14 15,-12-13-15,12 0 0,-13 13 0,1-13 16,-1 13-16,0-13 0,0 13 16,1 0-16,-1 0 15,0 0-15,-13 13 16,13-13-16,0 13 0,1 0 16,-1 0-16,0-13 15,0 14-15,1-14 0,-1-14 0,0 14 16,0 0-16,0 0 0,1-13 15,-1 13-15,0-13 16,0 0-16,-13 0 16,0-1-16,0 1 15,-13 13-15,13-13 0,-13 13 0,0-13 16,-1 13-16,1 0 0,0-14 16,0 14-16,0 0 0,-1 0 15,1 14-15,26-1 31,1-13-15,-1 0-16,0 0 16,0 0-16,0 0 0,1 0 15,-1 0-15,0 0 16,0 0-16,-13 13 16,14-13-16,-1 0 15,0 0 1,0 0 15,1 0-15,-1-13-16,0 13 0,0-13 15,0 13-15,1 0 16,-14-14-16,13 1 0</inkml:trace>
  <inkml:trace contextRef="#ctx0" brushRef="#br0" timeOffset="101259.95">18547 3082 0,'0'-26'0,"0"52"0,14-39 32,-14 26-17,0 14-15,13-14 0,-13 0 16,0 14-16,0-1 0,0 1 0,13-1 16,-26 1-16,13-1 0,0 1 15,0-1-15,0-13 0,-13 14 0,13-14 16,0 13-16,-14-12 0,14-1 0,0 0 15,-13 0-15,13 0 16,0-52 0,0 26-1,13-1-15,-13 1 0,14 0 16,-1-14-16,0 14 0,0 0 0,0 0 16,-13 0-16,14-1 0,-1 14 0,-13-13 15,13 0-15,0 13 16,-13-13-16,14 13 15,-1 13-15,0 0 16,0 0 0,0-13-1,-13 14-15,14-14 0,-1 0 16,0 0 0,0 0-1,1-14-15,-14 1 0,0 0 16,0 0-1,0-1-15,-14 14 0,14-13 16,-13 13-16,0 0 16,0 0-1,-1 0-15,14 13 16,14-13 15,-1 0-31,13 0 16,-12 0-16,-1 0 15,0-13-15,0 13 16,1 0-16,-1 0 16,0 13-1,0-13-15,0 0 16,1 0-16,-1 0 16,0 0-1,0 0-15,1-13 16,-1 13-16,0 0 31,0 0-31,1 0 16,-1 0-1,0 0 1,0 0 0,0 13-1</inkml:trace>
  <inkml:trace contextRef="#ctx0" brushRef="#br0" timeOffset="102100">18349 3638 0,'40'40'31,"-40"-27"-31,13 0 0,-13 0 0,13-13 16,0 14-16,0-14 0,1 13 16,-1-13-16,0 0 15,0 0 1,1-13-16,-14-1 15,13 14-15,-13-13 0,0 0 16,0 0-16,0-1 16,13 1-16,-13 0 15,13 0-15,1 13 16,-14-13 0,13 13-16</inkml:trace>
  <inkml:trace contextRef="#ctx0" brushRef="#br0" timeOffset="102595">18693 3572 0,'-13'26'0,"-1"-26"15,14 14-15,0-1 0,-13 0 16,13 0 0,13-13 30,1 0-46,-1 0 16,0 0 0,0 0-16,0 0 15,-13 13-15,14-13 16,-1 0-16,-13 14 16,13-14-1,0 0 1,1-14 15,-14 1-15,13 13-16,-13-13 15,13 13-15,-13-13 0,13 13 0,-13-13 16,14 13-16,-1-14 16,0 14-1,0 0-15,0 0 16,1 0-1,-14 14 1,0-1 0,0 0-1</inkml:trace>
  <inkml:trace contextRef="#ctx0" brushRef="#br0" timeOffset="102723.14">18944 3506 0,'0'0'0,"0"-14"16</inkml:trace>
  <inkml:trace contextRef="#ctx0" brushRef="#br0" timeOffset="102982.15">19010 3545 0,'0'14'15,"14"-1"1,-1-13 0,-13 13-1,13-13-15,0 0 16,0 0-1,1 13-15,-1-26 16,0 13 0,0 0-1,1 0-15,-14-13 16</inkml:trace>
  <inkml:trace contextRef="#ctx0" brushRef="#br0" timeOffset="104556.01">17701 3122 0,'-27'13'0,"54"-26"0,-67 26 16,40 1-16,-13-1 0,-1 0 15,14 13-15,0-12 0,0 12 16,14 1-16,-14 12 0,13 1 0,0-14 16,0 14-16,14 0 0,-14-1 0,0 1 15,1-13-15,-1-1 0,0 1 16,-13-14-16,13 0 0,-13 0 0,13 0 15,-13 1-15,14-1 0,-14 0 63,0 0-63,13-13 16,0 27-16,-13-14 15,13 0-15,1 1 0,-1-1 0,0 0 16,14 0-16,-14-13 0,0 13 15,0-13-15,0 0 0,1 0 16,-1 0-16,0 0 0,14 0 0,-14-13 16,0 13-16</inkml:trace>
  <inkml:trace contextRef="#ctx0" brushRef="#br0" timeOffset="105716.93">17621 3598 0,'-39'14'0,"78"-28"0,-92 28 0,40-1 16,0-13-16,-14 0 0,14 0 15,-13 0-15,-1 13 0,-12-13 16,12 0-16,-26-13 0,14 13 0,-14 0 15,13-13-15,-13-1 0,0 1 16,0 0-16,0-14 0,0 14 0,-52-40 16,65 27-16,-13-1 0,13-12 15,-13 12-15,14-12 0,12 12 0,-13-13 16,27 14-16,-13-14 0,-1-26 16,14 26-16,13 1 0,0-1 15,0 0-15,13 1 0,14-14 16,-1 0-16,14 0 0,0 0 0,-1 0 15,94-66-15,-67 66 0,13-13 16,14 13-16,-1 0 0,-12 0 16,12 0-16,1 0 0,-1 14 15,-12-14-15,65-27 0,-78 41 16,-1-1-16,-13 14 0,0-1 16,-14-13-16,14 14 0,0-1 0,-26 1 15,-1 26-15,0-26 16,-12 12-16,-1 14 0,-13-13 15,13 13-15,0-13 0,1 0 16,-1 13-16,-13-14 0,13 14 16,0-13-1,0 13-15</inkml:trace>
  <inkml:trace contextRef="#ctx0" brushRef="#br0" timeOffset="106106.97">17992 1601 0,'39'-13'0,"-25"13"0,12-14 15,-13 14-15,14 0 0,-1 0 16,1-13-16,-1 13 0,1 0 16,-1 0-16,0 0 0,1 13 0,-14-13 15,14 0-15,-1 14 0,-13-1 0,14 0 16,-14 0-16,0 14 0,0-14 15,-13 13-15,14 1 0,-14-1 0,0-13 16,0 14-16,-14-1 0,14 14 0,-13-13 16,13-1-16,-13 14 0,0-14 15,13-13-15,-13 14 0,13-1 16,-14-12-16,14 12 0,0 0 0,-13-12 0,13-1 16,-13 0-16</inkml:trace>
  <inkml:trace contextRef="#ctx0" brushRef="#br0" timeOffset="139218.99">19169 7038 0,'13'-13'0,"-52"26"31,39 0-31,-14 0 0,14 1 0,-13 12 0,0-13 16,13 14-16,-13-1 0,13 1 15,-14-1-15,14-13 0,0 14 0,0-14 16,0 13-16,0-12 0,0 12 15,14-13-15,-14 1 0,13-1 0,-13 0 16,13-13-16,0 13 0,1-13 0,-1 0 16,0 0-16,0 0 0,1 0 15,-1 0-15,0-13 0,13 0 0,-12 13 16,-1-13-16,0-14 0,0 14 0,-13 0 16,14-1-16,-14 1 0,0 0 15,0-13-15,0 12 0,0 1 0,-14 0 16,1-14-16,13 14 0,-13 0 0,0 0 15,-1 0-15,1-1 0,0 14 16,0-13-16,0 13 0,-1 0 16,1 0-16,0 0 0,0 0 15,-1 13-15,1 1 16</inkml:trace>
  <inkml:trace contextRef="#ctx0" brushRef="#br0" timeOffset="139770.12">19513 6972 0,'-13'39'15,"13"-25"-15,0 12 0,0-13 16,-13 14-16,13-1 0,0 14 0,-14 0 15,14-1-15,0-12 0,0-1 16,0-13-16,-13 14 0,13-14 0,0 0 16,0 1-16,0-1 0,0 0 0,0 0 15,0 1-15,0-67 32,13 39-17,-13 1-15,14-13 0,-1 12 0,0 1 16,0-13-16,0 13 0,14-1 15,-14 14-15,14-13 16,-14 26 0,0 1-16,-13-1 15,-13 0-15,0 0 0,-1 0 16,14 14-16,-26-14 0,13 0 0,-1 1 16,1-1-16,0-13 0,13 13 0,-13 0 15,0-13-15,-1 0 16,14 14-16</inkml:trace>
  <inkml:trace contextRef="#ctx0" brushRef="#br0" timeOffset="140259.66">19791 7197 0,'-13'0'15,"26"0"-15,-40 0 0,14 0 16,13 13-16,0 0 16,0 0-16,0 1 15,0-1-15,13-13 0,-13 13 16,0 0-16,0 0 0,0 1 0,0-1 15,-13 0-15,13 0 16,-13-13-16,0 14 0,-1-1 0,1-13 16,0 13-16,0-13 15,0 0-15,-1 0 0,1 0 0,0 0 16,0 0-16,39-13 31</inkml:trace>
  <inkml:trace contextRef="#ctx0" brushRef="#br0" timeOffset="140879.01">19950 7289 0,'0'-13'0,"-27"0"16,14 13-1,0 0 1,-1 13 0,1 0-1,13 0-15,0 1 16,-13-14-16,26 13 0,-13 0 16,0 0-1,13 1 1,1-14-1,-1-14-15,0 14 16,0 0-16,1 0 16,-1 0-1,0 0-15,0 0 16,-13 14-16,13-14 16,1 13-1,-14 0-15,13-13 16,0 0 15,0-13-31,-13 0 16,14-1-16,-14 1 15,13 13-15,-13-13 0,13 0 0,0-1 16,1 14-16,-14-13 16,13 13-16,-13-13 0,13 13 0,0 0 15,0 0 1</inkml:trace>
  <inkml:trace contextRef="#ctx0" brushRef="#br0" timeOffset="141298">20360 7289 0,'0'27'15,"0"-14"1,0 0-16,0 0 0,13-13 15,-13 14-15,0-1 16,13 0-16,0-13 16,1-13-1,-1 0 1,-13-1-16,13 1 0,-13 0 16,13 0-16,-13-1 0,14 1 0,-14 0 15,0 0-15,13 0 0,0-1 16,0 14-16,-13-13 15,13 13-15,1 0 0,-1 0 16,0 0-16</inkml:trace>
  <inkml:trace contextRef="#ctx0" brushRef="#br0" timeOffset="141935.75">20730 7236 0,'-26'-13'15,"12"13"-15,1 0 16,0 13-16,0-13 0,0 14 16,-1-1-16,1-13 15,13 13-15,-13-13 0,13 13 0,0 0 16,0 1 0,13-1-1,0-13 1,1 0-16,-1 0 15,0 0-15,0 0 0,0 0 16,1 0 0,-1-13-16,0 13 0,0 0 15,1-14-15,-1 14 0,0-13 16,-13 0-16,13 13 0,0-13 0,-13 0 16,14-1-16,-1-12 0,-13 13 15,13-14-15,-13 14 0,13-13 0,-13 12 0,14 1 16,-14 0-16,0 0 0,0-1 0,13 1 15,-13 26 17,0 1-32,0-1 0,0 0 15,0 0-15,13 14 0,-13-14 0,0 13 16,0-12-16,0-1 16,0 13-16,0-12 0,0-1 0,0 0 0,13 0 15,-13 0 1,-26-26 15,13 13-31,13-13 0,-14 13 0,1-13 16,0 0-1,0-1 1,26 1 0,0 0-1,14 0 1,-14 13-16,0-14 0,0 14 0,14 0 15,-14-13-15,13 13 0,-12-13 0,12 13 16,1-13-16,-14 13 0,0 0 16,0 0-16,1 0 0</inkml:trace>
  <inkml:trace contextRef="#ctx0" brushRef="#br0" timeOffset="142308.74">21537 7144 0,'-13'0'16,"-14"0"-1,27 13 1,14 0-16,-14 0 0,0 1 16,13-14-16,-13 13 0,0 0 15,13 0-15,-13 1 0,0-1 16,0 0-16,0 0 0,-13 0 16,13 1-16,-13-14 15,-1 13-15,1-13 0,0 13 0,0-13 16,-1 13-16,1-13 0,0 0 15,0 0 1,13-13 0,13 0-16</inkml:trace>
  <inkml:trace contextRef="#ctx0" brushRef="#br0" timeOffset="142490.88">21788 7011 0,'14'27'31,"-14"-14"-31,0 0 0,-14 1 16,14-1-16,0 13 0,0-12 15,0 12-15,-13 0 0,13 1 0,0-1 16,0-12-16,-13 12 0,13-13 0,0 14 16,0-14-16,0 0 0</inkml:trace>
  <inkml:trace contextRef="#ctx0" brushRef="#br0" timeOffset="142994.91">21630 7276 0,'13'-26'32,"-13"12"-32,13 14 15,0 0-15,14-13 16,-14 13-16,14-13 0,-14 13 0,0 0 15,13-13-15,-12 13 0,-1 0 0,0 0 0,0 0 16,1 0 0,-1 0-16,0 13 15,-13 0 1,0 0 0,13 1-16,1-14 15,-1 0-15,0 0 16,13 0-16,-12 0 15,-1-14-15,0 14 16,0-13 0,1 13-16,-1 0 15,-13 13 1,13-13-16,0 14 16,0-14-1,1 0 1,12 0-16,-13 0 15,1 0 1,-1 0-16,0 13 16,-13 0-1,0 0 1,-13 0-16,13 1 0,-13-1 16,13 0-1,-14 0-15</inkml:trace>
  <inkml:trace contextRef="#ctx0" brushRef="#br0" timeOffset="143574.64">19659 7818 0,'0'27'15,"-14"-14"-15,14 0 16,-13 1-16,13 12 0,-13 1 16,13-14-16,-13 13 0,13-13 0,0 1 0,-14 12 15,14-13-15,0 1 16,0-1-16,0 0 0,0 0 0,-13 0 0,13 1 16,0-1-16,13 0 15,1 0 1,-1-13-16,0 0 0,0 0 15,1 0-15,-1 0 0,0 0 0,0 0 16,0-13-16,14 13 0,-14-13 0,0 13 16,1-13-16,-1 13 0,0 0 15,-13-14-15,13 1 0</inkml:trace>
  <inkml:trace contextRef="#ctx0" brushRef="#br0" timeOffset="144134.81">19659 8043 0,'26'-13'16,"-13"13"-1,0 0-15,1-13 0,12 13 16,-26-13-16,13 13 0,1-14 16,-14 1-16,0 0 15,-14 13 1,14-13-16,-13 13 0,13-13 15,-13-1-15,26 1 16,0 0 0,1 13-16,-1 0 15,0-13-15,14 13 0,-14-14 0,13 14 16,1-13-16,-14 13 0,13-13 16,-12 13-16,-1 0 0,0 0 0,0 0 15,0 0-15,1 0 0,-1 13 16,-13 0-1,0 1-15,-13-1 16,13 0-16,0 0 0,-14 1 0,1-1 16,13 13-16,-13-13 0,0 1 0,0-1 15,13 0-15,-14 0 0,1 1 16,13-1-16,-13-13 0,13 13 0,-13-13 0,-1-13 47,14 0-47,0-1 0,14 1 15,-14 0-15,0 0 16,0-1-16,13 14 16,0 14-1,0-14-15,1 13 16,-1-13-16,-13 13 0,26-13 0,-26 13 16,27-13-16,-1 14 0,-13-14 15,1 0-15,-1 0 0,13 0 16,-12 0-16</inkml:trace>
  <inkml:trace contextRef="#ctx0" brushRef="#br0" timeOffset="144536.01">20320 7792 0,'0'-13'0,"0"0"16,-13 13-16,0 13 31,13 0-31,0 0 0,-14 0 0,14 1 16,-13 12-16,13 1 0,-13-1 0,13 14 15,-13-14-15,13 14 0,0 0 16,0-14-16,-14 0 0,14 1 16,0-1-16,0 14 0,0-13 15,0-14-15,-13 0 0,13 0 16,0-39 0,0 13-1,0-1-15,0-12 0,13-67 16,-13 54-16,27-67 15,-14 79-15,14-12 0,-14 12 16,13-13-16,-13 27 16,1 13-16,-1 0 15,-13 13-15,13 1 0,-26 12 16,0 14-16,-1-14 16,1 1-16,-40 39 15,27-53-15,13 0 0,-1 1 16,-12-1-16,13 0 15,-1-13 1</inkml:trace>
  <inkml:trace contextRef="#ctx0" brushRef="#br0" timeOffset="146208.79">20148 8758 0,'0'-14'16,"0"28"-16,-13-41 15,0 40 1,-1-13-16,1 14 0,0-1 15,0 13-15,-1-12 0,1 12 0,0 1 16,0-1-16,-1 0 16,1-12-16,0 12 0,13-13 0,0 1 0,0-1 15,0 0-15,0 0 0,0 1 16,13-14-16,-13 13 0,13-13 0,1 0 16,-1 0-16,0 0 0,0 0 0,1-13 15,-1 13-15,13-14 0,-12 14 16,-1-13-16,0 13 15,0-13-15,0 13 0,1 13 16,-1-13-16,0 13 16,0 1-16,1-1 15,-1 0 1,0-13-16,0 0 0,1 0 16,-1 0-16,0 0 0,0 0 15,0-13-15,1 0 16,-14-1-16,0 1 0,0 0 15,0 0-15,0-1 16,-14 1-16,1 0 0,0 0 16,0 13-16,0 0 0,-1-14 15,1 14-15,0 0 16,0 0-16,-1 0 16,14 14-16,14-1 31,-1-13-31,0 0 0,0 0 15,1 0-15,-1 0 0,0 0 16,0 0-16,14 0 0,-14 13 16,0-13-16,14 0 0,-1 13 15,-13-13-15,1 14 0,-1-14 16,0 13-16,0 0 0,0 0 16,-13 1-16,14-1 0,-14 0 15,0 0-15,0 0 16,0 1-16,0-41 62,13 14-62,-13 0 0,13-14 16,0 14-16,1 0 16,-14 0-16,13 13 15,0 0-15,0 0 16,1 0-16,-1 13 0,0 0 15,0 0-15,-13 1 16,13-1-16,1 0 16,-14 0-16,13 0 15,0 1 1,-13-28 15,0 1-31,13 0 0,-13 0 16,0-14-16,14 14 15,-14 0-15,0 0 0,13-14 16,0 27-16,-13-13 0,13 13 0,0-13 16,1 13-16,-1 0 15,0 0-15,0 0 0,1 13 16</inkml:trace>
  <inkml:trace contextRef="#ctx0" brushRef="#br0" timeOffset="146805.03">20942 9155 0,'13'-14'16,"0"1"-1,-13 0-15,13 13 16,-13-13-16,14-1 0,-14 1 15,13 13-15,-13-13 0,13 0 16,-39 39 15,26-13-15,0 1 0,0-1-16,0 0 0,13 0 15,0-13 1,0 0-16,1 0 0,12-13 15,-13 13-15,1-13 0,12 0 16,-13-1-16,14-12 0,-1 13 0,-13-14 16,1 1-16,-1-1 0,0 1 0,0 13 15,-13-1-15,13-12 0,-13 13 16,0 0-16,14 13 0,-41 13 31,27 0-31,-13 0 0,13 0 16,-13 14-16,13-14 0,-13 0 0,13 1 15,0-1-15,0 0 0,0 0 16,13-13-16,-13 14 0</inkml:trace>
  <inkml:trace contextRef="#ctx0" brushRef="#br0" timeOffset="147811.87">19870 8255 0,'0'-13'15,"-39"52"1,25-25-16,1-1 15,0 13-15,0 1 0,-1-1 0,1 1 16,13-14-16,-13 13 0,13-12 16,-13 12-16,13-13 0,0 1 0,0-1 15,0 0-15,13 0 0,0 0 16,0-13-16,-13 14 0,14-14 16,-1 0-16,0-14 0,0 14 15,14 0-15,-14-13 0,0 13 0,0-13 16,1 13-16,-14-13 0,13 13 0,0 0 15,0-13-15,1 26 16,-1 0 0,-13 0-1,13-13-15,0 13 16,0-13-16,1 0 16,-1-13-16,0 13 15,-13-13-15,13 13 0,-13-13 16,0 0-16,0-1 15,-13 1-15,13 0 0,-13 0 16,0-1 0,-1 14-16,14-13 15,-13 13 1,53 13 0,-27-13-1,0 0-15,-13 14 16,14-14-16,-1 0 0,-13 13 0,13-13 15,-13 13-15,13-13 0,1 0 16,-14 13-16,13-13 16,-13 14-16,13-14 15,0 0 1,-13-14-16,13 14 16,1 0-16,-1 0 15,0 0 1,0 0-16,1 0 15,-1-13 1,0 13-16,0 0 0,1-13 16,-1 13-16,0-13 0</inkml:trace>
  <inkml:trace contextRef="#ctx0" brushRef="#br0" timeOffset="148353.04">20452 8229 0,'0'0'0,"0"-14"0,0 1 16,-13 40 15,13-14-31,0 0 0,0 0 16,0 0-16,0 14 0,0-1 0,0-12 15,0 12-15,0-13 0,13 14 0,-13-14 16,0 0-16,0 0 0,0 1 16,14-1-16,-14 0 15,0 0-15,-14-13 31,-12 0-15,13-13-16,-1 13 16,1-13-16,0 0 15,13-1 1,0 1 0,13 13-16,0 0 15,1-13-15,-1 13 16,0 0-16,0 0 0,1 0 0,-1 0 15,0 0-15,0 0 0,0 0 16,1 13-16,-1-13 16,0 13-16,0 1 0,-13-1 15,14-13-15,-14 13 16,13-13-16,-13 13 16,13-26 15,0 0-31,-13 0 15,0-1-15,14 1 0,-14 0 16,13 0-16,-13 0 0,13-1 16,0 1-16,0 13 31,1 0-31,-1 0 16,0 0-16</inkml:trace>
  <inkml:trace contextRef="#ctx0" brushRef="#br0" timeOffset="148746.12">20902 8374 0,'-13'13'16,"0"-13"-16,-27 53 31,27-40-31,-1 1 16,14-1-16,14 0 16,-14 0-16,13-13 0,0 0 15,0 0-15,14 0 16,-14 0-16,0-13 15,1 0-15,-1 13 0,-13-13 16,13-1-16,-13 1 16,0 0-16,0 0 0,0 0 15,0-1-15,0 1 0,-13 13 0,13-13 16,-13 13-16,-1-13 16,1 13-16,0 13 15</inkml:trace>
  <inkml:trace contextRef="#ctx0" brushRef="#br0" timeOffset="149068.87">21140 8255 0,'0'40'31,"0"-14"-31,0-13 16,0 1-16,-13 12 0,13-13 0,0 14 15,0-14-15,-13 0 0,13 14 0,0-14 16,0 0-16,0 0 0,0 1 16,0-1-16</inkml:trace>
  <inkml:trace contextRef="#ctx0" brushRef="#br0" timeOffset="149271.31">21365 8229 0,'-13'13'31,"0"0"-31,13 0 0,0 0 16,-14 1-16,14-1 0,0 0 0,-13 0 16,13 14-16,0-14 0,-13 0 15,13 1-15,0-1 0,0 0 0,0 13 16,0-12-1,13-14-15</inkml:trace>
  <inkml:trace contextRef="#ctx0" brushRef="#br0" timeOffset="149871.9">21444 8440 0,'0'0'0,"0"-13"0,0 0 16,-13 13-16,13-13 15,-13 13 17,0 13-32,13 0 15,-13-13-15,13 13 0,0 14 16,13-14 0,13-13-1,-13 0-15,1 0 16,-1-13-16,13 13 0,-12-14 0,-1 14 15,0-13-15,14 0 0,-14 13 16,0-13-16,0 13 0,-13-13 0,13 13 16,1-14-16,-1 14 0,-13-13 15,-13 40 17,13-14-32,0 0 15,-14-13-15,14 13 0,0 0 16,0 1-1,14-14 1,12 0-16,-13 0 16,1-14-16,-1 1 0,0 0 15,0 0-15,1 0 0,12-27 16,-13 0-16,0 27 0,1-14 0,-1 1 16,-13 13-16,13-14 0,-13 14 15,0 0-15,0 0 0,13 13 0,-26-14 16,0 28-1,0-1-15,13 13 0,-14-12 16,14-1-16,-13 0 0,13 13 16,0-12-16,0 12 0,0-13 15,13 27-15,1-27 0,-1 14 16,0-14-16,0-13 0,14 13 16,-14 0-16,14-13 0,-1 14 0,0-14 15,1 0-15,-1 0 0</inkml:trace>
  <inkml:trace contextRef="#ctx0" brushRef="#br0" timeOffset="150409.94">22463 8255 0,'0'26'46,"-13"-26"-46,13 14 0,0-1 16,0 0-16,0 0 0,-13 1 16,13-1-16,0 0 0,-14 0 15,14 1-15,0-1 0,0 0 16,0 0-16,-13-13 16,13 13-16,0 1 15,-13-1 16,26 0 32,0-13-63,1-13 0,-1 13 16,0 0-16,0 0 0,1 0 0,-1-13 15,13 13-15,-13 0 0,1-14 16,-1 14-16,0 0 0,0-13 0,1 13 15,-1-13-15</inkml:trace>
  <inkml:trace contextRef="#ctx0" brushRef="#br0" timeOffset="151243.51">22516 8361 0,'-13'-13'0,"26"26"0,-39-26 16,52 13 30,-13 0-46,0 0 0,1 0 0,-1 0 16,0 0-16,0 0 0,1 0 0,-14-14 16,13 14-16,0 0 0,-13-13 15,13 0 1,-26 0 0,13-1-16,13 14 15,-13-13-15,14 0 16,-1 13-16,-13-13 0,13 13 15,0 0-15,0 0 0,-13-13 16,14 13-16,-1 0 0,0 0 16,0 13-16,1-13 15,-14 13-15,0 0 16,0 14-16,-14-14 16,14 0-16,-13 0 0,13 1 15,0-1-15,-13-13 0,13 13 16,-13-13-16,13 13 0,0-39 47,13 13-32,0 13 17,0 0-32,1 0 15,12 0 1,-13 0-16,1 0 15,-1-14-15,13 14 0,-13 0 0,1-13 16,-1 13-16,0-13 0,-13 0 0,13-1 16,1 14-16,-1-13 0,-13 0 15,13 13-15,-13-13 0,13 0 16,-13-1-16,14 14 0,-14 14 31,0-1-15,0 0-16,0 0 0,0 0 15,0 1-15,-14 12 0,14-13 0,0 1 16,-13-1-16,13 0 0,0 0 16,-13 1-16,13-28 31,0 1-15,0-13-16,13 12 0,0-12 15,1-1-15,-1 1 0,-13 13 0,26-14 0,-26 14 16,13 0-16,1 0 0,-1 13 15,-13-14-15,13 14 0,0 14 32,-26 12-32,0-26 15,13 13-15,-13 1 0,-1 12 16,1-13-16,0 0 0,0 1 0,-14-1 16,14 0-16,0-13 0,0 13 0,-1 1 15,1-14-15</inkml:trace>
  <inkml:trace contextRef="#ctx0" brushRef="#br0" timeOffset="152448.12">21471 8996 0,'0'-13'0,"-13"26"47,-1-13-47,14 13 16,-13-13-16,13 13 0,-13 1 15,13-1 1,0 0-16,13-13 31,0 0-15,1 0-16,-1-13 16,0 26 15,0-13-31,1 13 15,-1-13 1,-13 13-16,13-13 16,0-13-16,1 0 0,-1 13 15,-13-13-15,13 0 0,0-1 16,-13 1-16,13 0 0,-13 0 0,14-1 16,-14-12-16,0 13 0,13-1 0,-13 1 15,0 0-15,13 0 0,-13 0 16,0-1-16,13 41 31,-13-14-31,0 0 16,0 14-16,0-14 0,0 0 15,0 0-15,0 14 0,0-14 0,0 0 16,0 1-16,-13-1 0,13 0 16,-13 0-16,13 0 15,-13-13-15,-1 0 16,1-13-1,26 0 17,-13 0-32,14 13 0,-14-13 0,13 13 15,0-14-15,0 14 16,1-13-16,-1 13 16,0 0-16,0 0 0,1 0 15,-1 0-15,-13 13 0,13-13 0,0 14 16,0-1-1,-13 0 1,0 0-16,14-13 0,-14 13 16</inkml:trace>
  <inkml:trace contextRef="#ctx0" brushRef="#br0" timeOffset="152606.9">21828 8903 0,'-13'-13'31</inkml:trace>
  <inkml:trace contextRef="#ctx0" brushRef="#br0" timeOffset="152952.5">21934 8930 0,'-13'26'31,"13"-13"-31,0 1 0,0-1 16,0 13-1,13-12-15,-13-1 16,13-13-1,0-13 1,1 13-16,-14-14 0,13 1 16,-13 0-16,0 0 15,13-1 1,-13 28 31,13-1-32,1 0 1,-1-13 0,0 0-16,0 0 0,0 0 15,-13 13-15</inkml:trace>
  <inkml:trace contextRef="#ctx0" brushRef="#br0" timeOffset="154397.29">22622 9075 0,'-27'-13'47,"14"13"-47,0-13 0,13 0 0,-13-1 16,-1 14-16,1-26 0,13 13 15,0-1-15,-13 1 0,13-13 0,0-1 16,0 14-16,13 0 0,-13-14 16,0 14-16,13 0 0,-13 0 15,14-1-15,-1 1 0,0 0 16,-13 39 0,0-12-16,-13-1 15,0 0-15,-14 14 0,14-1 16,-13 0-16,12 1 0,-12-14 0,13 14 15,-1-14-15,14 0 0,-13 0 0,0-13 0,13 14 16,-13-14-16,13 13 0,-13 0 16,26-13-1,0 0 1,0 0-16,0 0 0,14 0 16,-14 0-16,14-13 0,-1 13 0,0-13 15,1 13-15,-1-27 0,14 27 0,-27-13 16,14 0-16,-1 13 0,1-14 15</inkml:trace>
  <inkml:trace contextRef="#ctx0" brushRef="#br0" timeOffset="155290.74">23151 8678 0,'-26'-13'31,"12"26"-31,14 1 16,-13-14-16,0 13 0,0 13 0,-1-13 15,1 1-15,-13 12 0,13 1 16,-1-1-16,14-13 0,-13 1 0,13 12 16,0-13-16,-13 0 0,26 1 0,-13-1 15,0 0-15,13 0 16,1-13-16,-1 14 0,0-14 15,0 0-15,0 0 0,1-14 0,-1 14 16,13 0-16,-12 0 16,-1-13-16,13 13 0,-12 0 0,-1-13 15,0 13-15,13-13 0,-12 13 0,-1-14 16,0 14-16,-13-13 0,13 13 16,-13-13-16,14 13 0,-1-13 15,-40 13 32,14 13-47,0-13 0,0 13 16,-1 0-16,14 1 15,-13-14-15,13 13 16,0 0-16,13-13 16,1 0-1,-1 0-15,0 0 16,0-13-16,1 13 0,-1-13 15,0 13-15,-13-14 0,13 1 0,0 13 16,-13-13-16,14 13 16,-14-13-16,13 13 15,-13 13 1,0 0 0,0 0-1,0 1-15,13-1 31,14-13-15,-27-13-16,13 13 16,-13-14-16,13 14 15,0 0-15,-13-13 16,14 26 15,-1 1-15,0-14-1,0 0 17,0 0-32,-13-14 15,14 14-15,-1 0 16,0 0 31,-26 27-32,13-14 1</inkml:trace>
  <inkml:trace contextRef="#ctx0" brushRef="#br0" timeOffset="156696.07">23760 8890 0,'-14'-13'16,"1"0"0,0 26-1,0-13-15,-1 13 16,1-13-16,13 13 15,-13-13-15,13 13 16,13 1 0,0-14-1,1 0 1,-1 0-16,0 0 16,0 0-1,1 0-15,-1 0 16,-13 13-16,26-26 15,-13 13-15,1 0 16,-1-14-16,0 14 0,-13-13 16,13 13-16,1-13 0,-1 13 0,0-13 0,-13 0 15,13-1-15,-13 1 0,14-13 16,-14 12-16,13 1 0,-13 0 16,0 0-16,13 13 0,-13-14 0,0 1 15,13 13-15,-13-13 0,0 26 31,0 0-31,0 1 16,0-1-16,0 0 0,0 0 0,0 1 16,0 12-16,0-13 0,0 1 0,-13-1 15,13 0-15,0 0 16,0 0-16,-13-13 0,13 14 0,0-1 16,-13-40 30,26 14-46,0 0 16,-13 0-16,13 13 0,-13-13 16,13 13-16,1-14 0,-1 14 15,0-13-15,0 13 16,1 0-16,-1 13 16,0 1-1,-13-1 1,0 0-16,13-13 0,-13 13 15,0 0 1</inkml:trace>
  <inkml:trace contextRef="#ctx0" brushRef="#br0" timeOffset="156812.64">24183 8771 0,'0'-13'0,"-13"13"32</inkml:trace>
  <inkml:trace contextRef="#ctx0" brushRef="#br0" timeOffset="157164.12">24209 8771 0,'14'13'0,"-28"0"16,14 1 0,0-1-1,0 0-15,0 0 16,14 1 0,-1-14-1,0-14-15,0 1 16,1 0-16,-1 0 15,-13-1 1,13 14 0,-13 14 15,13-14-15,14 0-1,-14 0 1,0-14-16,0 14 0,1 0 15,-1-13-15,0 13 16</inkml:trace>
  <inkml:trace contextRef="#ctx0" brushRef="#br0" timeOffset="158338.91">20743 9618 0,'-13'39'31,"13"-25"-31,-13-1 0,13 13 0,-13-13 16,13 14-16,-14-1 0,14 1 0,-13-14 16,13 0-16,0 14 0,0-14 0,0 0 15,13 0-15,-13 1 16,14-1-16,-1-13 0,0 0 0,0 0 15,1 0-15,-1 0 0,0-13 0,0 13 16,0 0-16,1-14 0,-1 14 16,0 0-16,0-13 0,1 13 15,-1 0-15,-13 13 16,13 1-16,-13-1 16,13-13-16,-13 13 0,0 0 15,14-13-15,-1 14 16,0-14-16,0 0 15,0 0-15,1 0 0,-1 0 16,0 0-16,-13-14 0,13 14 0,-13-13 16,0 0-16,14 13 0,-14-13 15,0-1-15,-14 14 0,14-13 0,0 0 16,-13 0-16,0-1 0,0 14 16,13-13-16,-14 13 0,1 0 15,0-13-15,26 26 47,0-13-47,1 0 16,-1 0-16,0 13 0,0-13 15,1 0-15,-1 0 0,0 0 16,0 0-16,1 14 16,-1-28-16,0 14 15,0 0-15,0 14 31,1-14-15,-1 0-16,0 0 31,0 0-31,1 0 16,-1-14-16</inkml:trace>
  <inkml:trace contextRef="#ctx0" brushRef="#br0" timeOffset="159446.93">21378 9499 0,'-13'39'16,"13"-12"-16,-13-14 15,13 13-15,0 1 0,0 13 16,0-1-16,0 1 0,0-14 15,0 14-15,0 0 0,0-14 0,0 1 16,0-1-16,0 1 0,0-14 0,0 13 16,-13-13-16,13 1 0,0-1 15,0 0-15,-14 0 0,14-39 47,0 13-47,0-1 0,14 1 0,-1 0 16,-13-13-16,13 12 0,0 1 0,1 0 15,-1 0-15,-13-1 16,13 1-16,-13 0 0,13 13 0,-13-13 16,13 13-16,-13-14 0,14 14 15,-14 14 1,0-1 0,13 0-16,0 0 15,0-13 1,14 0-1,-14-13-15,0 0 16,1 0-16,-14-1 16,0 1-16,0 0 15,0 0-15,0 0 0,-14 13 16,14-14-16,-13 14 0,0 0 16,0-13-16,-1 26 15,1-13-15,0 0 0,0 14 16,-1-1-1,28 0-15,-1-13 16,0 0-16,0 0 16,14 0-16,-14-13 15,0 13-15,1 0 0,-1 0 0,0-13 16,0 13-16,-13-14 0,13 14 16,1 0-16,-1-13 15,0 26 16,-13 1-15,0-1-16,0 0 16,0 0-1,13-13-15,-13 13 16,14-13-16,-1 0 31,0 0-15,0 0-1,-13-13-15,14 13 0,-1-13 32,-13 0-17,13 13 1,0 0 31,-13 13-32,13 0 1,1-13 15,-1 0-15,0-13 0,0 13-1,1 0 1,-1-13-16,0 13 15,0 0-15,1 0 16,-1-13-16,0 13 16,0 0-16,0-14 0,1 14 15,-1 0-15</inkml:trace>
  <inkml:trace contextRef="#ctx0" brushRef="#br0" timeOffset="160075.99">22146 9631 0,'-14'0'16,"-25"13"0,25 0-16,1 1 15,0-1-15,13 0 0,-13 0 0,0 0 16,13 1-16,-14-1 16,14 0-16,0 0 0,14-13 0,-14 14 15,13-14-15,0 0 16,0 0-16,0 0 0,1-14 15,-1 14-15,0-13 0,0 0 16,1 0-16,-1-1 0,0 1 0,-13-13 16,13-1-16,1 14 0,-14-13 15,13 12-15,0-12 0,-13 13 16,0-1-16,13 1 0,-13 0 0,0 0 16,-26 39 15,26-13-31,-13 1 0,13-1 15,0 0-15,-14 0 0,14 1 0,0-1 16,-13 0-16,13 0 0,0 1 16,0-1-16,0 0 0,13-13 0,-13 13 15,14-13-15,-1 0 16,13 0-16,-13 0 16,1 0-16,-1 0 15,-13-13-15,13 26 16,0-13-16,1 13 15,-1 1 1,-13-1-16</inkml:trace>
  <inkml:trace contextRef="#ctx0" brushRef="#br0" timeOffset="160186.81">22437 9551 0</inkml:trace>
  <inkml:trace contextRef="#ctx0" brushRef="#br0" timeOffset="160865.76">22476 9684 0,'0'26'32,"0"-13"-17,0 1 1,0-1-1,0 0-15,27-26 79,-14 0-64,0 13-15,0 0 16,1 0-1,-14-14-15,13 14 16,0 0-16,0 0 16,1 0-16,-1 0 15,13-13 1,-12 13-16,-1 0 16,0 0-16,0 0 0</inkml:trace>
  <inkml:trace contextRef="#ctx0" brushRef="#br0" timeOffset="161167.16">22781 9657 0,'-14'14'32,"28"-1"-17,-14 0-15,0 0 16,0 0-16,0 1 0,0-1 15,0 0-15,0 0 0,0 1 0,-14-1 16,14 0-16,-13 0 0,13 0 0,-13 1 16,0-1-16,-1 0 15,1-13-15,13 13 0,-13-13 16,0 0-16,0 0 16,13-13-16,13 0 15,-13 0-15,13-1 0,0 1 16,0 13-16,1-13 0,-1 0 0,13 0 15,1-1-15,-14 1 16,14 0-16,-1 0 0</inkml:trace>
  <inkml:trace contextRef="#ctx0" brushRef="#br0" timeOffset="161627.78">23416 9512 0,'0'26'0,"0"-13"15,-14 1-15,14-1 0,0 0 0,0 0 16,-13 1-16,13-1 0,0 13 16,0-12-16,0-1 0,0 0 0,13 0 15,-13 0-15,0 1 0,14-14 16,-14 13-1,13-26 1,0 13-16,-13-14 0,13 1 0,-13 0 16,14 0-16,-14 0 0,13-14 15,-13 1-15,13 12 0,0-12 16,-13 13-16,13-1 0,-13 1 0,14 0 16,-14 0-16,13 13 0,-13-13 0,13 13 15</inkml:trace>
  <inkml:trace contextRef="#ctx0" brushRef="#br0" timeOffset="162164.84">23760 9512 0,'-53'26'31,"39"-13"-31,14 1 15,-13-1-15,0 0 16,13 0-16,-13-13 0,13 14 0,0-1 16,0 0-1,13-13 1,0-13 0,0 13-16,1-13 0,-1 13 15,0 0-15,0 0 0,14 0 16,-14 0-1,0 0-15,-13 13 16,13-13-16,-13 13 0,0 0 16,0 1-1,0-1-15,0 0 16,14-39 31,-1 26-47,-13-14 0,13 1 0,0 0 15,1 0-15,-14-1 0,13 1 0,0 0 16,0 13-16,1-13 16,-1 13-16,0 13 15,0-13-15,-13 13 16,0 0-16,13-13 0,-13 14 16,0-1-16,0 0 15,0 0-15,14 1 31</inkml:trace>
  <inkml:trace contextRef="#ctx0" brushRef="#br0" timeOffset="162274.81">24051 9432 0</inkml:trace>
  <inkml:trace contextRef="#ctx0" brushRef="#br0" timeOffset="162924.01">24143 9485 0,'-13'14'0,"13"-1"16,-13 13 0,13-13-16,0 1 15,0-1-15,13 0 16,0-13 0,0-13-1,1 13-15,-1-13 16,0 13-16,0-14 31,1 28-15,-1-14 15,0 0-15,-13-14-16,13 14 0,-13-13 15,14 13-15,-14-13 0,0 0 16,13 0-16,-13-1 0,13 1 0,-13 0 0,13 0 15,-13-1-15,0 1 0,13 0 16,-13 0-16,0-1 0,0 1 16,0 0-16,0 0 15,-13 26 1,13 0 0,-13-13-16,13 13 0,0 1 15,-13-1-15,13 0 16,13-13-1,0 13 1,0-13-16,1 0 31,-14 14-31,13-14 16,-13 13-16,0 0 16,0 0-16,0 1 15,-13-14-15,13 13 0,-14-13 16,14 13-16,-13-13 0,13 13 15</inkml:trace>
  <inkml:trace contextRef="#ctx0" brushRef="#br0" timeOffset="163215.01">24553 9181 0,'-39'53'31,"39"-40"-31,-14 0 0,14 1 0,-13-1 16,13 0-16,0 0 0,-13 1 0,13-1 15,0 0-15,0 0 0,0 0 16,13-13 0,0 0-16,1 0 0,-1 0 15,-13-13-15,13 13 16,0 0-16,1 0 0,-1 0 15,-13 13-15,13-13 16,-13 14-16,13-14 16,0 0-16,14 0 15,-14 0-15,0 0 0,14 0 16,-14-14-16,14 14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452"/>
    </inkml:context>
    <inkml:brush xml:id="br0">
      <inkml:brushProperty name="width" value="0.025" units="cm"/>
      <inkml:brushProperty name="height" value="0.025" units="cm"/>
      <inkml:brushProperty name="ignorePressure" value="1"/>
    </inkml:brush>
  </inkml:definitions>
  <inkml:trace contextRef="#ctx0" brushRef="#br0">0 0,'4'0,"4"0,7 0,1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788"/>
    </inkml:context>
    <inkml:brush xml:id="br0">
      <inkml:brushProperty name="width" value="0.025" units="cm"/>
      <inkml:brushProperty name="height" value="0.025" units="cm"/>
      <inkml:brushProperty name="ignorePressure" value="1"/>
    </inkml:brush>
  </inkml:definitions>
  <inkml:trace contextRef="#ctx0" brushRef="#br0">0 1,'7'0,"8"0,6 0,2 0,0 0,0 0,-1 0,0 0,-2 0,0 0,-4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6.638"/>
    </inkml:context>
    <inkml:brush xml:id="br0">
      <inkml:brushProperty name="width" value="0.025" units="cm"/>
      <inkml:brushProperty name="height" value="0.025" units="cm"/>
      <inkml:brushProperty name="ignorePressure" value="1"/>
    </inkml:brush>
  </inkml:definitions>
  <inkml:trace contextRef="#ctx0" brushRef="#br0">0 59,'0'-4,"0"-3,4-2,4 2,4 1,3 2,2-2,2 1,1 0,1 2,-5 1</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8.614"/>
    </inkml:context>
    <inkml:brush xml:id="br0">
      <inkml:brushProperty name="width" value="0.025" units="cm"/>
      <inkml:brushProperty name="height" value="0.025" units="cm"/>
      <inkml:brushProperty name="ignorePressure" value="1"/>
    </inkml:brush>
  </inkml:definitions>
  <inkml:trace contextRef="#ctx0" brushRef="#br0">398 0,'-182'165,"62"-61,85-77,28-23,0 1,1 0,-1 0,1 1,0 0,0 0,-6 8,12-13,0-1,-1 1,1 0,-1 0,1-1,0 1,0 0,-1 0,1 0,0 0,0-1,0 1,0 0,0 0,0 0,0 0,0 0,0-1,0 1,1 0,-1 0,0 0,1-1,-1 1,0 0,1 0,-1-1,2 2,23 14,36-1,87-5,-30-3,79 1,-179-8</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9.232"/>
    </inkml:context>
    <inkml:brush xml:id="br0">
      <inkml:brushProperty name="width" value="0.025" units="cm"/>
      <inkml:brushProperty name="height" value="0.025" units="cm"/>
      <inkml:brushProperty name="ignorePressure" value="1"/>
    </inkml:brush>
  </inkml:definitions>
  <inkml:trace contextRef="#ctx0" brushRef="#br0">214 1,'-115'309,"59"-142,43-131,-14 59,25-81</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0.362"/>
    </inkml:context>
    <inkml:brush xml:id="br0">
      <inkml:brushProperty name="width" value="0.025" units="cm"/>
      <inkml:brushProperty name="height" value="0.025" units="cm"/>
      <inkml:brushProperty name="ignorePressure" value="1"/>
    </inkml:brush>
  </inkml:definitions>
  <inkml:trace contextRef="#ctx0" brushRef="#br0">1 235,'277'-20,"-77"2,712-37,199-11,259 31,-1114 25,3 0,263 11,-442-12,-6 1,-57 1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2.830"/>
    </inkml:context>
    <inkml:brush xml:id="br0">
      <inkml:brushProperty name="width" value="0.025" units="cm"/>
      <inkml:brushProperty name="height" value="0.025" units="cm"/>
      <inkml:brushProperty name="ignorePressure" value="1"/>
    </inkml:brush>
  </inkml:definitions>
  <inkml:trace contextRef="#ctx0" brushRef="#br0">131 1,'-8'2,"1"1,0 0,0 1,0-1,0 2,1-1,0 1,0-1,0 2,-7 7,8-7,0 0,0 0,0 0,1 1,0 0,1 0,-1 0,1 0,1 0,-1 1,1-1,0 1,0 11,1-16,1 1,0-1,0 0,0 0,1 0,-1 0,1 0,-1 0,1 0,0 0,0 0,1 0,-1 0,0 0,1-1,0 1,0 0,0-1,0 0,0 1,0-1,0 0,1 0,-1 0,1 0,0-1,-1 1,1-1,0 0,0 1,0-1,0-1,0 1,0 0,6 0,-3 0,0-1,-1 0,1 0,0 0,0-1,0 0,-1 0,1 0,0-1,-1 1,1-1,-1-1,0 1,8-6,-11 7,0-1,1 1,-1-1,-1 0,1 0,0 0,0 0,-1 0,1 0,-1 0,0 0,1-1,-1 1,0-1,0 1,-1-1,1 1,-1-1,1 1,-1-1,0 0,0 1,0-1,0 1,0-1,0 0,-1 1,1-1,-1 1,0-1,0 1,0-1,0 1,-2-3,1 2,0 0,0 0,-1 0,1 0,-1 0,1 1,-1-1,0 1,0 0,0 0,0 0,-1 0,1 1,-1-1,1 1,-1 0,1 0,-1 0,-5-1,-8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3.681"/>
    </inkml:context>
    <inkml:brush xml:id="br0">
      <inkml:brushProperty name="width" value="0.025" units="cm"/>
      <inkml:brushProperty name="height" value="0.025" units="cm"/>
      <inkml:brushProperty name="ignorePressure" value="1"/>
    </inkml:brush>
  </inkml:definitions>
  <inkml:trace contextRef="#ctx0" brushRef="#br0">8 0,'-3'0,"-2"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4.560"/>
    </inkml:context>
    <inkml:brush xml:id="br0">
      <inkml:brushProperty name="width" value="0.025" units="cm"/>
      <inkml:brushProperty name="height" value="0.025" units="cm"/>
      <inkml:brushProperty name="ignorePressure" value="1"/>
    </inkml:brush>
  </inkml:definitions>
  <inkml:trace contextRef="#ctx0" brushRef="#br0">131 2,'0'-1,"1"1,-1 0,0 0,0 0,1 0,-1 0,0 0,1 0,-1 0,0 0,1 0,-1 0,0 0,1 0,-1 0,0 0,0 0,1 0,-1 0,0 0,1 0,-1 0,0 1,0-1,1 0,-1 0,0 0,0 0,1 1,-1-1,0 0,0 0,0 1,1-1,-1 0,0 0,0 1,0-1,0 0,0 0,0 1,1-1,-1 0,0 1,0-1,0 1,-12 12,-22 10,27-19,-1 0,1 1,0-1,1 2,-1-1,1 1,-7 7,13-11,-1-1,0 0,0 1,1-1,-1 0,1 1,-1-1,1 1,-1-1,1 0,0 1,0-1,0 1,0-1,0 1,0-1,0 1,1 2,0-2,0 1,0-1,0 1,1-1,0 0,-1 0,1 0,0 1,0-2,0 1,0 0,0 0,4 2,17 10,25 18,-45-31,-1 1,0 0,0 0,1 0,-1 0,-1 1,1-1,0 1,-1-1,1 1,-1-1,1 1,-1 0,1 4,-2-5,0 0,-1 0,1 0,-1 0,1 0,-1 0,0 0,1-1,-1 1,0 0,0 0,0-1,-1 1,1 0,0-1,-1 1,1-1,-1 0,1 1,-1-1,0 0,1 0,-1 0,0 0,0 0,0-1,0 1,0 0,0-1,0 0,-2 1,-9 2,0 0,-1 0,-15 0,6-2,2-1</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5.377"/>
    </inkml:context>
    <inkml:brush xml:id="br0">
      <inkml:brushProperty name="width" value="0.025" units="cm"/>
      <inkml:brushProperty name="height" value="0.025" units="cm"/>
      <inkml:brushProperty name="ignorePressure" value="1"/>
    </inkml:brush>
  </inkml:definitions>
  <inkml:trace contextRef="#ctx0" brushRef="#br0">0 21,'10'0,"7"0,3 0,-1-3,-1-1,0-1,0 2,1 0,3 2,1 0,-3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B8FF0985-4DD9-4444-90FD-F3D97D2F778D}" type="datetimeFigureOut">
              <a:rPr lang="en-US" smtClean="0"/>
              <a:t>3/26/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56871FE-075C-493B-85AE-CB41313C4FA9}" type="slidenum">
              <a:rPr lang="en-US" smtClean="0"/>
              <a:t>‹#›</a:t>
            </a:fld>
            <a:endParaRPr lang="en-US"/>
          </a:p>
        </p:txBody>
      </p:sp>
      <p:sp>
        <p:nvSpPr>
          <p:cNvPr id="8" name="fl" descr="                              Dell - Internal Use - Confidential&#10;"/>
          <p:cNvSpPr txBox="1"/>
          <p:nvPr/>
        </p:nvSpPr>
        <p:spPr>
          <a:xfrm>
            <a:off x="0" y="8737600"/>
            <a:ext cx="7010400" cy="592470"/>
          </a:xfrm>
          <a:prstGeom prst="rect">
            <a:avLst/>
          </a:prstGeom>
          <a:noFill/>
        </p:spPr>
        <p:txBody>
          <a:bodyPr vert="horz" rtlCol="0">
            <a:spAutoFit/>
          </a:bodyPr>
          <a:lstStyle/>
          <a:p>
            <a:pPr algn="l"/>
            <a:r>
              <a:rPr lang="en-US" sz="850" b="1" i="0" u="none" baseline="0">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87437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a:t>
            </a:fld>
            <a:endParaRPr lang="en-US"/>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5</a:t>
            </a:fld>
            <a:endParaRPr lang="en-US"/>
          </a:p>
        </p:txBody>
      </p:sp>
    </p:spTree>
    <p:extLst>
      <p:ext uri="{BB962C8B-B14F-4D97-AF65-F5344CB8AC3E}">
        <p14:creationId xmlns:p14="http://schemas.microsoft.com/office/powerpoint/2010/main" val="1650524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2</a:t>
            </a:fld>
            <a:endParaRPr lang="en-US"/>
          </a:p>
        </p:txBody>
      </p:sp>
    </p:spTree>
    <p:extLst>
      <p:ext uri="{BB962C8B-B14F-4D97-AF65-F5344CB8AC3E}">
        <p14:creationId xmlns:p14="http://schemas.microsoft.com/office/powerpoint/2010/main" val="3283731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91847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217567891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78062111"/>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54111004"/>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24378676"/>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0" y="271463"/>
            <a:ext cx="4295219"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4320"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24754075"/>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6"/>
            <a:ext cx="4865304"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246284866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664797"/>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274320" y="1113348"/>
            <a:ext cx="4297680" cy="238842"/>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7822964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77540280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2"/>
            <a:ext cx="8229600" cy="63779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78809198"/>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3/26/2022</a:t>
            </a:fld>
            <a:endParaRPr lang="en-US" sz="900" dirty="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3/26/2022</a:t>
            </a:fld>
            <a:endParaRPr lang="en-US" sz="900" dirty="0">
              <a:solidFill>
                <a:schemeClr val="bg2">
                  <a:lumMod val="50000"/>
                  <a:lumOff val="50000"/>
                </a:schemeClr>
              </a:solidFill>
              <a:latin typeface="+mn-lt"/>
            </a:endParaRPr>
          </a:p>
        </p:txBody>
      </p:sp>
      <p:sp>
        <p:nvSpPr>
          <p:cNvPr id="22" name="TextBox 21"/>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4" name="TextBox 23"/>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5" name="TextBox 24"/>
          <p:cNvSpPr txBox="1"/>
          <p:nvPr/>
        </p:nvSpPr>
        <p:spPr>
          <a:xfrm>
            <a:off x="8733880" y="4951976"/>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sp>
        <p:nvSpPr>
          <p:cNvPr id="2" name="MSIPCMContentMarking" descr="{&quot;HashCode&quot;:-1912962988,&quot;Placement&quot;:&quot;Footer&quot;}">
            <a:extLst>
              <a:ext uri="{FF2B5EF4-FFF2-40B4-BE49-F238E27FC236}">
                <a16:creationId xmlns:a16="http://schemas.microsoft.com/office/drawing/2014/main" id="{F328E8F9-C379-4B42-A39A-E2B6F2E173A0}"/>
              </a:ext>
            </a:extLst>
          </p:cNvPr>
          <p:cNvSpPr txBox="1"/>
          <p:nvPr userDrawn="1"/>
        </p:nvSpPr>
        <p:spPr>
          <a:xfrm>
            <a:off x="-71846" y="4769553"/>
            <a:ext cx="1185008"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Trainer : Arun</a:t>
            </a:r>
            <a:endParaRPr lang="en-US" sz="700" dirty="0">
              <a:solidFill>
                <a:srgbClr val="7F7F7F"/>
              </a:solidFill>
              <a:latin typeface="Calibri" panose="020F0502020204030204" pitchFamily="34" charset="0"/>
            </a:endParaRPr>
          </a:p>
        </p:txBody>
      </p:sp>
      <p:sp>
        <p:nvSpPr>
          <p:cNvPr id="10" name="MSIPCMContentMarking" descr="{&quot;HashCode&quot;:-1912962988,&quot;Placement&quot;:&quot;Footer&quot;}">
            <a:extLst>
              <a:ext uri="{FF2B5EF4-FFF2-40B4-BE49-F238E27FC236}">
                <a16:creationId xmlns:a16="http://schemas.microsoft.com/office/drawing/2014/main" id="{D04AD605-86D5-49BD-9594-34302F56EB58}"/>
              </a:ext>
            </a:extLst>
          </p:cNvPr>
          <p:cNvSpPr txBox="1"/>
          <p:nvPr userDrawn="1"/>
        </p:nvSpPr>
        <p:spPr>
          <a:xfrm>
            <a:off x="-1" y="4931136"/>
            <a:ext cx="1665509"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Statistics for Data Science</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367" r:id="rId1"/>
    <p:sldLayoutId id="2147484244" r:id="rId2"/>
    <p:sldLayoutId id="2147484245" r:id="rId3"/>
    <p:sldLayoutId id="2147484246" r:id="rId4"/>
    <p:sldLayoutId id="2147484247" r:id="rId5"/>
    <p:sldLayoutId id="2147484460" r:id="rId6"/>
    <p:sldLayoutId id="2147484249" r:id="rId7"/>
    <p:sldLayoutId id="2147484250" r:id="rId8"/>
    <p:sldLayoutId id="2147484463" r:id="rId9"/>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hyperlink" Target="https://scherlund.blogspot.com/2018/01/ai-and-machine-learning-give-new.html"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www.collectedny.org/careerposts/assessing-job-offers/" TargetMode="External"/><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s://www.pexels.com/photo/university-entrance-arch-247823/" TargetMode="External"/><Relationship Id="rId4" Type="http://schemas.openxmlformats.org/officeDocument/2006/relationships/image" Target="../media/image13.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20.png"/><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3" Type="http://schemas.openxmlformats.org/officeDocument/2006/relationships/customXml" Target="../ink/ink3.xml"/><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customXml" Target="../ink/ink4.xml"/><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3" Type="http://schemas.openxmlformats.org/officeDocument/2006/relationships/hyperlink" Target="http://capitalcurrent.ca/opioid-overdoses-dwarf-covid-19/" TargetMode="External"/><Relationship Id="rId2" Type="http://schemas.openxmlformats.org/officeDocument/2006/relationships/image" Target="../media/image23.jpg"/><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customXml" Target="../ink/ink5.xml"/><Relationship Id="rId4" Type="http://schemas.openxmlformats.org/officeDocument/2006/relationships/hyperlink" Target="https://creativecommons.org/licenses/by-nc-nd/3.0/"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customXml" Target="../ink/ink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customXml" Target="../ink/ink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customXml" Target="../ink/ink8.xml"/><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8.jpeg"/><Relationship Id="rId4" Type="http://schemas.openxmlformats.org/officeDocument/2006/relationships/image" Target="../media/image5.png"/><Relationship Id="rId9" Type="http://schemas.openxmlformats.org/officeDocument/2006/relationships/hyperlink" Target="http://dangerouslee.biz/insurance-agency-seo/"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png"/><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customXml" Target="../ink/ink9.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customXml" Target="../ink/ink1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customXml" Target="../ink/ink11.xml"/><Relationship Id="rId2" Type="http://schemas.openxmlformats.org/officeDocument/2006/relationships/image" Target="../media/image32.png"/><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33.xml.rels><?xml version="1.0" encoding="UTF-8" standalone="yes"?>
<Relationships xmlns="http://schemas.openxmlformats.org/package/2006/relationships"><Relationship Id="rId3" Type="http://schemas.openxmlformats.org/officeDocument/2006/relationships/hyperlink" Target="https://blog.scielo.org/en/2015/03/27/peer-review-modalities-pros-and-cons/" TargetMode="External"/><Relationship Id="rId2" Type="http://schemas.openxmlformats.org/officeDocument/2006/relationships/image" Target="../media/image35.png"/><Relationship Id="rId1" Type="http://schemas.openxmlformats.org/officeDocument/2006/relationships/slideLayout" Target="../slideLayouts/slideLayout4.xml"/><Relationship Id="rId5" Type="http://schemas.openxmlformats.org/officeDocument/2006/relationships/image" Target="../media/image38.png"/><Relationship Id="rId4" Type="http://schemas.openxmlformats.org/officeDocument/2006/relationships/customXml" Target="../ink/ink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6.jpg"/><Relationship Id="rId11" Type="http://schemas.openxmlformats.org/officeDocument/2006/relationships/image" Target="../media/image40.png"/><Relationship Id="rId5" Type="http://schemas.openxmlformats.org/officeDocument/2006/relationships/notesSlide" Target="../notesSlides/notesSlide5.xml"/><Relationship Id="rId10" Type="http://schemas.openxmlformats.org/officeDocument/2006/relationships/customXml" Target="../ink/ink13.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11" Type="http://schemas.openxmlformats.org/officeDocument/2006/relationships/image" Target="../media/image42.png"/><Relationship Id="rId5" Type="http://schemas.openxmlformats.org/officeDocument/2006/relationships/notesSlide" Target="../notesSlides/notesSlide6.xml"/><Relationship Id="rId10" Type="http://schemas.openxmlformats.org/officeDocument/2006/relationships/customXml" Target="../ink/ink14.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ustomXml" Target="../ink/ink15.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customXml" Target="../ink/ink16.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www.publicdomainpictures.net/view-image.php?image=176108&amp;picture=fast-sport-car" TargetMode="External"/><Relationship Id="rId2" Type="http://schemas.openxmlformats.org/officeDocument/2006/relationships/image" Target="../media/image3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flickr.com/photos/emptyjames/4768555013" TargetMode="External"/><Relationship Id="rId2" Type="http://schemas.openxmlformats.org/officeDocument/2006/relationships/image" Target="../media/image39.jpeg"/><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customXml" Target="../ink/ink17.xml"/></Relationships>
</file>

<file path=ppt/slides/_rels/slide41.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0.jpeg"/><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customXml" Target="../ink/ink18.xml"/></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customXml" Target="../ink/ink1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40.jpeg"/><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customXml" Target="../ink/ink20.xml"/></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customXml" Target="../ink/ink2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customXml" Target="../ink/ink22.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www.publicdomainpictures.net/view-image.php?image=120577&amp;picture=forklift-truck-loading-up" TargetMode="External"/><Relationship Id="rId2" Type="http://schemas.openxmlformats.org/officeDocument/2006/relationships/image" Target="../media/image41.jpeg"/><Relationship Id="rId1" Type="http://schemas.openxmlformats.org/officeDocument/2006/relationships/slideLayout" Target="../slideLayouts/slideLayout3.xml"/><Relationship Id="rId5" Type="http://schemas.openxmlformats.org/officeDocument/2006/relationships/image" Target="../media/image55.png"/><Relationship Id="rId4" Type="http://schemas.openxmlformats.org/officeDocument/2006/relationships/customXml" Target="../ink/ink23.xml"/></Relationships>
</file>

<file path=ppt/slides/_rels/slide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customXml" Target="../ink/ink2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6" Type="http://schemas.openxmlformats.org/officeDocument/2006/relationships/image" Target="../media/image420.png"/><Relationship Id="rId21" Type="http://schemas.openxmlformats.org/officeDocument/2006/relationships/customXml" Target="../ink/ink34.xml"/><Relationship Id="rId42" Type="http://schemas.openxmlformats.org/officeDocument/2006/relationships/image" Target="../media/image500.png"/><Relationship Id="rId47" Type="http://schemas.openxmlformats.org/officeDocument/2006/relationships/customXml" Target="../ink/ink47.xml"/><Relationship Id="rId63" Type="http://schemas.openxmlformats.org/officeDocument/2006/relationships/customXml" Target="../ink/ink55.xml"/><Relationship Id="rId68" Type="http://schemas.openxmlformats.org/officeDocument/2006/relationships/image" Target="../media/image63.png"/><Relationship Id="rId16" Type="http://schemas.openxmlformats.org/officeDocument/2006/relationships/image" Target="../media/image370.png"/><Relationship Id="rId11" Type="http://schemas.openxmlformats.org/officeDocument/2006/relationships/customXml" Target="../ink/ink29.xml"/><Relationship Id="rId24" Type="http://schemas.openxmlformats.org/officeDocument/2006/relationships/image" Target="../media/image41.png"/><Relationship Id="rId32" Type="http://schemas.openxmlformats.org/officeDocument/2006/relationships/image" Target="../media/image450.png"/><Relationship Id="rId37" Type="http://schemas.openxmlformats.org/officeDocument/2006/relationships/customXml" Target="../ink/ink42.xml"/><Relationship Id="rId40" Type="http://schemas.openxmlformats.org/officeDocument/2006/relationships/image" Target="../media/image490.png"/><Relationship Id="rId45" Type="http://schemas.openxmlformats.org/officeDocument/2006/relationships/customXml" Target="../ink/ink46.xml"/><Relationship Id="rId53" Type="http://schemas.openxmlformats.org/officeDocument/2006/relationships/customXml" Target="../ink/ink50.xml"/><Relationship Id="rId58" Type="http://schemas.openxmlformats.org/officeDocument/2006/relationships/image" Target="../media/image58.png"/><Relationship Id="rId66" Type="http://schemas.openxmlformats.org/officeDocument/2006/relationships/image" Target="../media/image62.png"/><Relationship Id="rId74" Type="http://schemas.openxmlformats.org/officeDocument/2006/relationships/image" Target="../media/image66.png"/><Relationship Id="rId5" Type="http://schemas.openxmlformats.org/officeDocument/2006/relationships/customXml" Target="../ink/ink26.xml"/><Relationship Id="rId61" Type="http://schemas.openxmlformats.org/officeDocument/2006/relationships/customXml" Target="../ink/ink54.xml"/><Relationship Id="rId19" Type="http://schemas.openxmlformats.org/officeDocument/2006/relationships/customXml" Target="../ink/ink33.xml"/><Relationship Id="rId14" Type="http://schemas.openxmlformats.org/officeDocument/2006/relationships/image" Target="../media/image360.png"/><Relationship Id="rId22" Type="http://schemas.openxmlformats.org/officeDocument/2006/relationships/image" Target="../media/image400.png"/><Relationship Id="rId27" Type="http://schemas.openxmlformats.org/officeDocument/2006/relationships/customXml" Target="../ink/ink37.xml"/><Relationship Id="rId30" Type="http://schemas.openxmlformats.org/officeDocument/2006/relationships/image" Target="../media/image440.png"/><Relationship Id="rId35" Type="http://schemas.openxmlformats.org/officeDocument/2006/relationships/customXml" Target="../ink/ink41.xml"/><Relationship Id="rId43" Type="http://schemas.openxmlformats.org/officeDocument/2006/relationships/customXml" Target="../ink/ink45.xml"/><Relationship Id="rId48" Type="http://schemas.openxmlformats.org/officeDocument/2006/relationships/image" Target="../media/image530.png"/><Relationship Id="rId56" Type="http://schemas.openxmlformats.org/officeDocument/2006/relationships/image" Target="../media/image570.png"/><Relationship Id="rId64" Type="http://schemas.openxmlformats.org/officeDocument/2006/relationships/image" Target="../media/image61.png"/><Relationship Id="rId69" Type="http://schemas.openxmlformats.org/officeDocument/2006/relationships/customXml" Target="../ink/ink58.xml"/><Relationship Id="rId77" Type="http://schemas.openxmlformats.org/officeDocument/2006/relationships/customXml" Target="../ink/ink62.xml"/><Relationship Id="rId8" Type="http://schemas.openxmlformats.org/officeDocument/2006/relationships/image" Target="../media/image330.png"/><Relationship Id="rId51" Type="http://schemas.openxmlformats.org/officeDocument/2006/relationships/customXml" Target="../ink/ink49.xml"/><Relationship Id="rId72" Type="http://schemas.openxmlformats.org/officeDocument/2006/relationships/image" Target="../media/image65.png"/><Relationship Id="rId3" Type="http://schemas.openxmlformats.org/officeDocument/2006/relationships/customXml" Target="../ink/ink25.xml"/><Relationship Id="rId12" Type="http://schemas.openxmlformats.org/officeDocument/2006/relationships/image" Target="../media/image350.png"/><Relationship Id="rId17" Type="http://schemas.openxmlformats.org/officeDocument/2006/relationships/customXml" Target="../ink/ink32.xml"/><Relationship Id="rId25" Type="http://schemas.openxmlformats.org/officeDocument/2006/relationships/customXml" Target="../ink/ink36.xml"/><Relationship Id="rId33" Type="http://schemas.openxmlformats.org/officeDocument/2006/relationships/customXml" Target="../ink/ink40.xml"/><Relationship Id="rId38" Type="http://schemas.openxmlformats.org/officeDocument/2006/relationships/image" Target="../media/image48.png"/><Relationship Id="rId46" Type="http://schemas.openxmlformats.org/officeDocument/2006/relationships/image" Target="../media/image520.png"/><Relationship Id="rId59" Type="http://schemas.openxmlformats.org/officeDocument/2006/relationships/customXml" Target="../ink/ink53.xml"/><Relationship Id="rId67" Type="http://schemas.openxmlformats.org/officeDocument/2006/relationships/customXml" Target="../ink/ink57.xml"/><Relationship Id="rId20" Type="http://schemas.openxmlformats.org/officeDocument/2006/relationships/image" Target="../media/image39.png"/><Relationship Id="rId41" Type="http://schemas.openxmlformats.org/officeDocument/2006/relationships/customXml" Target="../ink/ink44.xml"/><Relationship Id="rId54" Type="http://schemas.openxmlformats.org/officeDocument/2006/relationships/image" Target="../media/image560.png"/><Relationship Id="rId62" Type="http://schemas.openxmlformats.org/officeDocument/2006/relationships/image" Target="../media/image60.png"/><Relationship Id="rId70" Type="http://schemas.openxmlformats.org/officeDocument/2006/relationships/image" Target="../media/image64.png"/><Relationship Id="rId75" Type="http://schemas.openxmlformats.org/officeDocument/2006/relationships/customXml" Target="../ink/ink61.xml"/><Relationship Id="rId1" Type="http://schemas.openxmlformats.org/officeDocument/2006/relationships/slideLayout" Target="../slideLayouts/slideLayout3.xml"/><Relationship Id="rId6" Type="http://schemas.openxmlformats.org/officeDocument/2006/relationships/image" Target="../media/image320.png"/><Relationship Id="rId15" Type="http://schemas.openxmlformats.org/officeDocument/2006/relationships/customXml" Target="../ink/ink31.xml"/><Relationship Id="rId23" Type="http://schemas.openxmlformats.org/officeDocument/2006/relationships/customXml" Target="../ink/ink35.xml"/><Relationship Id="rId28" Type="http://schemas.openxmlformats.org/officeDocument/2006/relationships/image" Target="../media/image430.png"/><Relationship Id="rId36" Type="http://schemas.openxmlformats.org/officeDocument/2006/relationships/image" Target="../media/image470.png"/><Relationship Id="rId49" Type="http://schemas.openxmlformats.org/officeDocument/2006/relationships/customXml" Target="../ink/ink48.xml"/><Relationship Id="rId57" Type="http://schemas.openxmlformats.org/officeDocument/2006/relationships/customXml" Target="../ink/ink52.xml"/><Relationship Id="rId10" Type="http://schemas.openxmlformats.org/officeDocument/2006/relationships/image" Target="../media/image340.png"/><Relationship Id="rId31" Type="http://schemas.openxmlformats.org/officeDocument/2006/relationships/customXml" Target="../ink/ink39.xml"/><Relationship Id="rId44" Type="http://schemas.openxmlformats.org/officeDocument/2006/relationships/image" Target="../media/image510.png"/><Relationship Id="rId52" Type="http://schemas.openxmlformats.org/officeDocument/2006/relationships/image" Target="../media/image550.png"/><Relationship Id="rId60" Type="http://schemas.openxmlformats.org/officeDocument/2006/relationships/image" Target="../media/image59.png"/><Relationship Id="rId65" Type="http://schemas.openxmlformats.org/officeDocument/2006/relationships/customXml" Target="../ink/ink56.xml"/><Relationship Id="rId73" Type="http://schemas.openxmlformats.org/officeDocument/2006/relationships/customXml" Target="../ink/ink60.xml"/><Relationship Id="rId78" Type="http://schemas.openxmlformats.org/officeDocument/2006/relationships/image" Target="../media/image68.png"/><Relationship Id="rId4" Type="http://schemas.openxmlformats.org/officeDocument/2006/relationships/image" Target="../media/image310.png"/><Relationship Id="rId9" Type="http://schemas.openxmlformats.org/officeDocument/2006/relationships/customXml" Target="../ink/ink28.xml"/><Relationship Id="rId13" Type="http://schemas.openxmlformats.org/officeDocument/2006/relationships/customXml" Target="../ink/ink30.xml"/><Relationship Id="rId18" Type="http://schemas.openxmlformats.org/officeDocument/2006/relationships/image" Target="../media/image380.png"/><Relationship Id="rId39" Type="http://schemas.openxmlformats.org/officeDocument/2006/relationships/customXml" Target="../ink/ink43.xml"/><Relationship Id="rId34" Type="http://schemas.openxmlformats.org/officeDocument/2006/relationships/image" Target="../media/image46.png"/><Relationship Id="rId50" Type="http://schemas.openxmlformats.org/officeDocument/2006/relationships/image" Target="../media/image54.png"/><Relationship Id="rId55" Type="http://schemas.openxmlformats.org/officeDocument/2006/relationships/customXml" Target="../ink/ink51.xml"/><Relationship Id="rId76" Type="http://schemas.openxmlformats.org/officeDocument/2006/relationships/image" Target="../media/image67.png"/><Relationship Id="rId7" Type="http://schemas.openxmlformats.org/officeDocument/2006/relationships/customXml" Target="../ink/ink27.xml"/><Relationship Id="rId71" Type="http://schemas.openxmlformats.org/officeDocument/2006/relationships/customXml" Target="../ink/ink59.xml"/><Relationship Id="rId2" Type="http://schemas.openxmlformats.org/officeDocument/2006/relationships/image" Target="../media/image45.png"/><Relationship Id="rId29" Type="http://schemas.openxmlformats.org/officeDocument/2006/relationships/customXml" Target="../ink/ink38.xml"/></Relationships>
</file>

<file path=ppt/slides/_rels/slide49.xml.rels><?xml version="1.0" encoding="UTF-8" standalone="yes"?>
<Relationships xmlns="http://schemas.openxmlformats.org/package/2006/relationships"><Relationship Id="rId3" Type="http://schemas.openxmlformats.org/officeDocument/2006/relationships/customXml" Target="../ink/ink63.xml"/><Relationship Id="rId2" Type="http://schemas.openxmlformats.org/officeDocument/2006/relationships/image" Target="../media/image57.png"/><Relationship Id="rId1" Type="http://schemas.openxmlformats.org/officeDocument/2006/relationships/slideLayout" Target="../slideLayouts/slideLayout3.xml"/><Relationship Id="rId4" Type="http://schemas.openxmlformats.org/officeDocument/2006/relationships/image" Target="../media/image7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www.bettertechtips.com/bestbuy/dell-lightweight-laptop/" TargetMode="External"/><Relationship Id="rId2" Type="http://schemas.openxmlformats.org/officeDocument/2006/relationships/image" Target="../media/image58.jpeg"/><Relationship Id="rId1" Type="http://schemas.openxmlformats.org/officeDocument/2006/relationships/slideLayout" Target="../slideLayouts/slideLayout3.xml"/><Relationship Id="rId6" Type="http://schemas.openxmlformats.org/officeDocument/2006/relationships/image" Target="../media/image73.png"/><Relationship Id="rId5" Type="http://schemas.openxmlformats.org/officeDocument/2006/relationships/customXml" Target="../ink/ink64.xml"/><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26" Type="http://schemas.openxmlformats.org/officeDocument/2006/relationships/customXml" Target="../ink/ink77.xml"/><Relationship Id="rId21" Type="http://schemas.openxmlformats.org/officeDocument/2006/relationships/image" Target="../media/image80.png"/><Relationship Id="rId42" Type="http://schemas.openxmlformats.org/officeDocument/2006/relationships/customXml" Target="../ink/ink85.xml"/><Relationship Id="rId47" Type="http://schemas.openxmlformats.org/officeDocument/2006/relationships/image" Target="../media/image93.png"/><Relationship Id="rId63" Type="http://schemas.openxmlformats.org/officeDocument/2006/relationships/image" Target="../media/image101.png"/><Relationship Id="rId68" Type="http://schemas.openxmlformats.org/officeDocument/2006/relationships/customXml" Target="../ink/ink98.xml"/><Relationship Id="rId84" Type="http://schemas.openxmlformats.org/officeDocument/2006/relationships/customXml" Target="../ink/ink107.xml"/><Relationship Id="rId89" Type="http://schemas.openxmlformats.org/officeDocument/2006/relationships/image" Target="../media/image113.png"/><Relationship Id="rId112" Type="http://schemas.openxmlformats.org/officeDocument/2006/relationships/image" Target="../media/image124.png"/><Relationship Id="rId16" Type="http://schemas.openxmlformats.org/officeDocument/2006/relationships/customXml" Target="../ink/ink72.xml"/><Relationship Id="rId107" Type="http://schemas.openxmlformats.org/officeDocument/2006/relationships/customXml" Target="../ink/ink119.xml"/><Relationship Id="rId11" Type="http://schemas.openxmlformats.org/officeDocument/2006/relationships/image" Target="../media/image75.png"/><Relationship Id="rId32" Type="http://schemas.openxmlformats.org/officeDocument/2006/relationships/customXml" Target="../ink/ink80.xml"/><Relationship Id="rId37" Type="http://schemas.openxmlformats.org/officeDocument/2006/relationships/image" Target="../media/image88.png"/><Relationship Id="rId53" Type="http://schemas.openxmlformats.org/officeDocument/2006/relationships/image" Target="../media/image96.png"/><Relationship Id="rId58" Type="http://schemas.openxmlformats.org/officeDocument/2006/relationships/customXml" Target="../ink/ink93.xml"/><Relationship Id="rId74" Type="http://schemas.openxmlformats.org/officeDocument/2006/relationships/customXml" Target="../ink/ink101.xml"/><Relationship Id="rId79" Type="http://schemas.openxmlformats.org/officeDocument/2006/relationships/customXml" Target="../ink/ink104.xml"/><Relationship Id="rId102" Type="http://schemas.openxmlformats.org/officeDocument/2006/relationships/customXml" Target="../ink/ink116.xml"/><Relationship Id="rId5" Type="http://schemas.openxmlformats.org/officeDocument/2006/relationships/image" Target="../media/image720.png"/><Relationship Id="rId90" Type="http://schemas.openxmlformats.org/officeDocument/2006/relationships/customXml" Target="../ink/ink110.xml"/><Relationship Id="rId95" Type="http://schemas.openxmlformats.org/officeDocument/2006/relationships/image" Target="../media/image116.png"/><Relationship Id="rId22" Type="http://schemas.openxmlformats.org/officeDocument/2006/relationships/customXml" Target="../ink/ink75.xml"/><Relationship Id="rId27"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customXml" Target="../ink/ink88.xml"/><Relationship Id="rId64" Type="http://schemas.openxmlformats.org/officeDocument/2006/relationships/customXml" Target="../ink/ink96.xml"/><Relationship Id="rId69" Type="http://schemas.openxmlformats.org/officeDocument/2006/relationships/image" Target="../media/image104.png"/><Relationship Id="rId113" Type="http://schemas.openxmlformats.org/officeDocument/2006/relationships/customXml" Target="../ink/ink122.xml"/><Relationship Id="rId80" Type="http://schemas.openxmlformats.org/officeDocument/2006/relationships/image" Target="../media/image109.png"/><Relationship Id="rId85" Type="http://schemas.openxmlformats.org/officeDocument/2006/relationships/image" Target="../media/image111.png"/><Relationship Id="rId12" Type="http://schemas.openxmlformats.org/officeDocument/2006/relationships/customXml" Target="../ink/ink70.xml"/><Relationship Id="rId17"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customXml" Target="../ink/ink83.xml"/><Relationship Id="rId59" Type="http://schemas.openxmlformats.org/officeDocument/2006/relationships/image" Target="../media/image99.png"/><Relationship Id="rId103" Type="http://schemas.openxmlformats.org/officeDocument/2006/relationships/customXml" Target="../ink/ink117.xml"/><Relationship Id="rId108" Type="http://schemas.openxmlformats.org/officeDocument/2006/relationships/image" Target="../media/image122.png"/><Relationship Id="rId54" Type="http://schemas.openxmlformats.org/officeDocument/2006/relationships/customXml" Target="../ink/ink91.xml"/><Relationship Id="rId70" Type="http://schemas.openxmlformats.org/officeDocument/2006/relationships/customXml" Target="../ink/ink99.xml"/><Relationship Id="rId75" Type="http://schemas.openxmlformats.org/officeDocument/2006/relationships/image" Target="../media/image107.png"/><Relationship Id="rId91" Type="http://schemas.openxmlformats.org/officeDocument/2006/relationships/image" Target="../media/image114.png"/><Relationship Id="rId96" Type="http://schemas.openxmlformats.org/officeDocument/2006/relationships/customXml" Target="../ink/ink113.xml"/><Relationship Id="rId1" Type="http://schemas.openxmlformats.org/officeDocument/2006/relationships/slideLayout" Target="../slideLayouts/slideLayout3.xml"/><Relationship Id="rId6" Type="http://schemas.openxmlformats.org/officeDocument/2006/relationships/customXml" Target="../ink/ink67.xml"/><Relationship Id="rId15" Type="http://schemas.openxmlformats.org/officeDocument/2006/relationships/image" Target="../media/image77.png"/><Relationship Id="rId23" Type="http://schemas.openxmlformats.org/officeDocument/2006/relationships/image" Target="../media/image81.png"/><Relationship Id="rId28" Type="http://schemas.openxmlformats.org/officeDocument/2006/relationships/customXml" Target="../ink/ink78.xml"/><Relationship Id="rId36" Type="http://schemas.openxmlformats.org/officeDocument/2006/relationships/customXml" Target="../ink/ink82.xml"/><Relationship Id="rId49" Type="http://schemas.openxmlformats.org/officeDocument/2006/relationships/image" Target="../media/image94.png"/><Relationship Id="rId57" Type="http://schemas.openxmlformats.org/officeDocument/2006/relationships/image" Target="../media/image98.png"/><Relationship Id="rId106" Type="http://schemas.openxmlformats.org/officeDocument/2006/relationships/image" Target="../media/image121.png"/><Relationship Id="rId114" Type="http://schemas.openxmlformats.org/officeDocument/2006/relationships/image" Target="../media/image125.png"/><Relationship Id="rId10" Type="http://schemas.openxmlformats.org/officeDocument/2006/relationships/customXml" Target="../ink/ink69.xml"/><Relationship Id="rId31" Type="http://schemas.openxmlformats.org/officeDocument/2006/relationships/image" Target="../media/image85.png"/><Relationship Id="rId44" Type="http://schemas.openxmlformats.org/officeDocument/2006/relationships/customXml" Target="../ink/ink86.xml"/><Relationship Id="rId52" Type="http://schemas.openxmlformats.org/officeDocument/2006/relationships/customXml" Target="../ink/ink90.xml"/><Relationship Id="rId60" Type="http://schemas.openxmlformats.org/officeDocument/2006/relationships/customXml" Target="../ink/ink94.xml"/><Relationship Id="rId65" Type="http://schemas.openxmlformats.org/officeDocument/2006/relationships/image" Target="../media/image102.png"/><Relationship Id="rId73" Type="http://schemas.openxmlformats.org/officeDocument/2006/relationships/image" Target="../media/image106.png"/><Relationship Id="rId78" Type="http://schemas.openxmlformats.org/officeDocument/2006/relationships/customXml" Target="../ink/ink103.xml"/><Relationship Id="rId81" Type="http://schemas.openxmlformats.org/officeDocument/2006/relationships/customXml" Target="../ink/ink105.xml"/><Relationship Id="rId86" Type="http://schemas.openxmlformats.org/officeDocument/2006/relationships/customXml" Target="../ink/ink108.xml"/><Relationship Id="rId94" Type="http://schemas.openxmlformats.org/officeDocument/2006/relationships/customXml" Target="../ink/ink112.xml"/><Relationship Id="rId99" Type="http://schemas.openxmlformats.org/officeDocument/2006/relationships/image" Target="../media/image118.png"/><Relationship Id="rId101" Type="http://schemas.openxmlformats.org/officeDocument/2006/relationships/image" Target="../media/image119.png"/><Relationship Id="rId4" Type="http://schemas.openxmlformats.org/officeDocument/2006/relationships/customXml" Target="../ink/ink66.xml"/><Relationship Id="rId9" Type="http://schemas.openxmlformats.org/officeDocument/2006/relationships/image" Target="../media/image74.png"/><Relationship Id="rId13" Type="http://schemas.openxmlformats.org/officeDocument/2006/relationships/image" Target="../media/image76.png"/><Relationship Id="rId18" Type="http://schemas.openxmlformats.org/officeDocument/2006/relationships/customXml" Target="../ink/ink73.xml"/><Relationship Id="rId39" Type="http://schemas.openxmlformats.org/officeDocument/2006/relationships/image" Target="../media/image89.png"/><Relationship Id="rId109" Type="http://schemas.openxmlformats.org/officeDocument/2006/relationships/customXml" Target="../ink/ink120.xml"/><Relationship Id="rId34" Type="http://schemas.openxmlformats.org/officeDocument/2006/relationships/customXml" Target="../ink/ink81.xml"/><Relationship Id="rId50" Type="http://schemas.openxmlformats.org/officeDocument/2006/relationships/customXml" Target="../ink/ink89.xml"/><Relationship Id="rId55" Type="http://schemas.openxmlformats.org/officeDocument/2006/relationships/image" Target="../media/image97.png"/><Relationship Id="rId76" Type="http://schemas.openxmlformats.org/officeDocument/2006/relationships/customXml" Target="../ink/ink102.xml"/><Relationship Id="rId97" Type="http://schemas.openxmlformats.org/officeDocument/2006/relationships/image" Target="../media/image117.png"/><Relationship Id="rId104" Type="http://schemas.openxmlformats.org/officeDocument/2006/relationships/image" Target="../media/image120.png"/><Relationship Id="rId7" Type="http://schemas.openxmlformats.org/officeDocument/2006/relationships/image" Target="../media/image730.png"/><Relationship Id="rId71" Type="http://schemas.openxmlformats.org/officeDocument/2006/relationships/image" Target="../media/image105.png"/><Relationship Id="rId92" Type="http://schemas.openxmlformats.org/officeDocument/2006/relationships/customXml" Target="../ink/ink111.xml"/><Relationship Id="rId2" Type="http://schemas.openxmlformats.org/officeDocument/2006/relationships/customXml" Target="../ink/ink65.xml"/><Relationship Id="rId29" Type="http://schemas.openxmlformats.org/officeDocument/2006/relationships/image" Target="../media/image84.png"/><Relationship Id="rId24" Type="http://schemas.openxmlformats.org/officeDocument/2006/relationships/customXml" Target="../ink/ink76.xml"/><Relationship Id="rId40" Type="http://schemas.openxmlformats.org/officeDocument/2006/relationships/customXml" Target="../ink/ink84.xml"/><Relationship Id="rId45" Type="http://schemas.openxmlformats.org/officeDocument/2006/relationships/image" Target="../media/image92.png"/><Relationship Id="rId66" Type="http://schemas.openxmlformats.org/officeDocument/2006/relationships/customXml" Target="../ink/ink97.xml"/><Relationship Id="rId87" Type="http://schemas.openxmlformats.org/officeDocument/2006/relationships/image" Target="../media/image112.png"/><Relationship Id="rId110" Type="http://schemas.openxmlformats.org/officeDocument/2006/relationships/image" Target="../media/image123.png"/><Relationship Id="rId61" Type="http://schemas.openxmlformats.org/officeDocument/2006/relationships/image" Target="../media/image100.png"/><Relationship Id="rId82" Type="http://schemas.openxmlformats.org/officeDocument/2006/relationships/image" Target="../media/image110.png"/><Relationship Id="rId19" Type="http://schemas.openxmlformats.org/officeDocument/2006/relationships/image" Target="../media/image79.png"/><Relationship Id="rId14" Type="http://schemas.openxmlformats.org/officeDocument/2006/relationships/customXml" Target="../ink/ink71.xml"/><Relationship Id="rId30" Type="http://schemas.openxmlformats.org/officeDocument/2006/relationships/customXml" Target="../ink/ink79.xml"/><Relationship Id="rId35" Type="http://schemas.openxmlformats.org/officeDocument/2006/relationships/image" Target="../media/image87.png"/><Relationship Id="rId56" Type="http://schemas.openxmlformats.org/officeDocument/2006/relationships/customXml" Target="../ink/ink92.xml"/><Relationship Id="rId77" Type="http://schemas.openxmlformats.org/officeDocument/2006/relationships/image" Target="../media/image108.png"/><Relationship Id="rId100" Type="http://schemas.openxmlformats.org/officeDocument/2006/relationships/customXml" Target="../ink/ink115.xml"/><Relationship Id="rId105" Type="http://schemas.openxmlformats.org/officeDocument/2006/relationships/customXml" Target="../ink/ink118.xml"/><Relationship Id="rId8" Type="http://schemas.openxmlformats.org/officeDocument/2006/relationships/customXml" Target="../ink/ink68.xml"/><Relationship Id="rId51" Type="http://schemas.openxmlformats.org/officeDocument/2006/relationships/image" Target="../media/image95.png"/><Relationship Id="rId72" Type="http://schemas.openxmlformats.org/officeDocument/2006/relationships/customXml" Target="../ink/ink100.xml"/><Relationship Id="rId93" Type="http://schemas.openxmlformats.org/officeDocument/2006/relationships/image" Target="../media/image115.png"/><Relationship Id="rId98" Type="http://schemas.openxmlformats.org/officeDocument/2006/relationships/customXml" Target="../ink/ink114.xml"/><Relationship Id="rId3" Type="http://schemas.openxmlformats.org/officeDocument/2006/relationships/image" Target="../media/image71.png"/><Relationship Id="rId25" Type="http://schemas.openxmlformats.org/officeDocument/2006/relationships/image" Target="../media/image82.png"/><Relationship Id="rId46" Type="http://schemas.openxmlformats.org/officeDocument/2006/relationships/customXml" Target="../ink/ink87.xml"/><Relationship Id="rId67" Type="http://schemas.openxmlformats.org/officeDocument/2006/relationships/image" Target="../media/image103.png"/><Relationship Id="rId20" Type="http://schemas.openxmlformats.org/officeDocument/2006/relationships/customXml" Target="../ink/ink74.xml"/><Relationship Id="rId41" Type="http://schemas.openxmlformats.org/officeDocument/2006/relationships/image" Target="../media/image90.png"/><Relationship Id="rId62" Type="http://schemas.openxmlformats.org/officeDocument/2006/relationships/customXml" Target="../ink/ink95.xml"/><Relationship Id="rId83" Type="http://schemas.openxmlformats.org/officeDocument/2006/relationships/customXml" Target="../ink/ink106.xml"/><Relationship Id="rId88" Type="http://schemas.openxmlformats.org/officeDocument/2006/relationships/customXml" Target="../ink/ink109.xml"/><Relationship Id="rId111" Type="http://schemas.openxmlformats.org/officeDocument/2006/relationships/customXml" Target="../ink/ink121.xml"/></Relationships>
</file>

<file path=ppt/slides/_rels/slide52.xml.rels><?xml version="1.0" encoding="UTF-8" standalone="yes"?>
<Relationships xmlns="http://schemas.openxmlformats.org/package/2006/relationships"><Relationship Id="rId3" Type="http://schemas.openxmlformats.org/officeDocument/2006/relationships/customXml" Target="../ink/ink123.xml"/><Relationship Id="rId2" Type="http://schemas.openxmlformats.org/officeDocument/2006/relationships/image" Target="../media/image72.png"/><Relationship Id="rId1" Type="http://schemas.openxmlformats.org/officeDocument/2006/relationships/slideLayout" Target="../slideLayouts/slideLayout3.xml"/><Relationship Id="rId4" Type="http://schemas.openxmlformats.org/officeDocument/2006/relationships/image" Target="../media/image127.png"/></Relationships>
</file>

<file path=ppt/slides/_rels/slide5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customXml" Target="../ink/ink124.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customXml" Target="../ink/ink12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customXml" Target="../ink/ink126.xml"/><Relationship Id="rId2" Type="http://schemas.openxmlformats.org/officeDocument/2006/relationships/image" Target="../media/image126.png"/><Relationship Id="rId1" Type="http://schemas.openxmlformats.org/officeDocument/2006/relationships/slideLayout" Target="../slideLayouts/slideLayout3.xml"/><Relationship Id="rId4" Type="http://schemas.openxmlformats.org/officeDocument/2006/relationships/image" Target="../media/image131.png"/></Relationships>
</file>

<file path=ppt/slides/_rels/slide56.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32.png"/><Relationship Id="rId2" Type="http://schemas.openxmlformats.org/officeDocument/2006/relationships/image" Target="../media/image126.png"/><Relationship Id="rId1" Type="http://schemas.openxmlformats.org/officeDocument/2006/relationships/slideLayout" Target="../slideLayouts/slideLayout3.xml"/><Relationship Id="rId6" Type="http://schemas.openxmlformats.org/officeDocument/2006/relationships/customXml" Target="../ink/ink128.xml"/><Relationship Id="rId5" Type="http://schemas.openxmlformats.org/officeDocument/2006/relationships/image" Target="../media/image133.png"/><Relationship Id="rId4" Type="http://schemas.openxmlformats.org/officeDocument/2006/relationships/customXml" Target="../ink/ink127.xml"/></Relationships>
</file>

<file path=ppt/slides/_rels/slide57.xml.rels><?xml version="1.0" encoding="UTF-8" standalone="yes"?>
<Relationships xmlns="http://schemas.openxmlformats.org/package/2006/relationships"><Relationship Id="rId3" Type="http://schemas.openxmlformats.org/officeDocument/2006/relationships/customXml" Target="../ink/ink129.xml"/><Relationship Id="rId2" Type="http://schemas.openxmlformats.org/officeDocument/2006/relationships/image" Target="../media/image134.png"/><Relationship Id="rId1" Type="http://schemas.openxmlformats.org/officeDocument/2006/relationships/slideLayout" Target="../slideLayouts/slideLayout3.xml"/><Relationship Id="rId4" Type="http://schemas.openxmlformats.org/officeDocument/2006/relationships/image" Target="../media/image135.png"/></Relationships>
</file>

<file path=ppt/slides/_rels/slide58.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38.png"/><Relationship Id="rId2" Type="http://schemas.openxmlformats.org/officeDocument/2006/relationships/hyperlink" Target="https://www.mathsisfun.com/mean.html" TargetMode="External"/><Relationship Id="rId1" Type="http://schemas.openxmlformats.org/officeDocument/2006/relationships/slideLayout" Target="../slideLayouts/slideLayout3.xml"/><Relationship Id="rId6" Type="http://schemas.openxmlformats.org/officeDocument/2006/relationships/customXml" Target="../ink/ink131.xml"/><Relationship Id="rId5" Type="http://schemas.openxmlformats.org/officeDocument/2006/relationships/image" Target="../media/image137.png"/><Relationship Id="rId4" Type="http://schemas.openxmlformats.org/officeDocument/2006/relationships/customXml" Target="../ink/ink130.xml"/></Relationships>
</file>

<file path=ppt/slides/_rels/slide59.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40.jpeg"/><Relationship Id="rId7" Type="http://schemas.openxmlformats.org/officeDocument/2006/relationships/customXml" Target="../ink/ink133.xml"/><Relationship Id="rId2" Type="http://schemas.openxmlformats.org/officeDocument/2006/relationships/image" Target="../media/image139.png"/><Relationship Id="rId1" Type="http://schemas.openxmlformats.org/officeDocument/2006/relationships/slideLayout" Target="../slideLayouts/slideLayout3.xml"/><Relationship Id="rId6" Type="http://schemas.openxmlformats.org/officeDocument/2006/relationships/image" Target="../media/image140.png"/><Relationship Id="rId5" Type="http://schemas.openxmlformats.org/officeDocument/2006/relationships/customXml" Target="../ink/ink132.xml"/><Relationship Id="rId4" Type="http://schemas.openxmlformats.org/officeDocument/2006/relationships/hyperlink" Target="http://intersection4learning.blogspot.com/2012/01/wonder-wednesday-most-important.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www.pexels.com/photo/black-dslr-camera-mounted-on-black-tripod-212372/" TargetMode="External"/><Relationship Id="rId2" Type="http://schemas.openxmlformats.org/officeDocument/2006/relationships/image" Target="../media/image142.jpeg"/><Relationship Id="rId1" Type="http://schemas.openxmlformats.org/officeDocument/2006/relationships/slideLayout" Target="../slideLayouts/slideLayout3.xml"/><Relationship Id="rId5" Type="http://schemas.openxmlformats.org/officeDocument/2006/relationships/image" Target="../media/image142.png"/><Relationship Id="rId4" Type="http://schemas.openxmlformats.org/officeDocument/2006/relationships/customXml" Target="../ink/ink134.xml"/></Relationships>
</file>

<file path=ppt/slides/_rels/slide61.xml.rels><?xml version="1.0" encoding="UTF-8" standalone="yes"?>
<Relationships xmlns="http://schemas.openxmlformats.org/package/2006/relationships"><Relationship Id="rId3" Type="http://schemas.openxmlformats.org/officeDocument/2006/relationships/hyperlink" Target="http://priyankas-point.blogspot.com/2009_06_14_archive.html" TargetMode="External"/><Relationship Id="rId7" Type="http://schemas.openxmlformats.org/officeDocument/2006/relationships/image" Target="../media/image145.png"/><Relationship Id="rId2" Type="http://schemas.openxmlformats.org/officeDocument/2006/relationships/image" Target="../media/image143.jpeg"/><Relationship Id="rId1" Type="http://schemas.openxmlformats.org/officeDocument/2006/relationships/slideLayout" Target="../slideLayouts/slideLayout3.xml"/><Relationship Id="rId6" Type="http://schemas.openxmlformats.org/officeDocument/2006/relationships/customXml" Target="../ink/ink136.xml"/><Relationship Id="rId5" Type="http://schemas.openxmlformats.org/officeDocument/2006/relationships/image" Target="../media/image144.png"/><Relationship Id="rId4" Type="http://schemas.openxmlformats.org/officeDocument/2006/relationships/customXml" Target="../ink/ink135.xml"/></Relationships>
</file>

<file path=ppt/slides/_rels/slide62.xml.rels><?xml version="1.0" encoding="UTF-8" standalone="yes"?>
<Relationships xmlns="http://schemas.openxmlformats.org/package/2006/relationships"><Relationship Id="rId3" Type="http://schemas.openxmlformats.org/officeDocument/2006/relationships/hyperlink" Target="http://intersection4learning.blogspot.com/2012/01/wonder-wednesday-most-important.html" TargetMode="External"/><Relationship Id="rId2" Type="http://schemas.openxmlformats.org/officeDocument/2006/relationships/image" Target="../media/image146.jpeg"/><Relationship Id="rId1" Type="http://schemas.openxmlformats.org/officeDocument/2006/relationships/slideLayout" Target="../slideLayouts/slideLayout3.xml"/><Relationship Id="rId6" Type="http://schemas.openxmlformats.org/officeDocument/2006/relationships/image" Target="../media/image148.png"/><Relationship Id="rId5" Type="http://schemas.openxmlformats.org/officeDocument/2006/relationships/customXml" Target="../ink/ink137.xml"/><Relationship Id="rId4" Type="http://schemas.openxmlformats.org/officeDocument/2006/relationships/image" Target="../media/image147.png"/></Relationships>
</file>

<file path=ppt/slides/_rels/slide6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customXml" Target="../ink/ink138.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customXml" Target="../ink/ink139.xml"/><Relationship Id="rId2" Type="http://schemas.openxmlformats.org/officeDocument/2006/relationships/image" Target="../media/image150.png"/><Relationship Id="rId1" Type="http://schemas.openxmlformats.org/officeDocument/2006/relationships/slideLayout" Target="../slideLayouts/slideLayout3.xml"/><Relationship Id="rId4" Type="http://schemas.openxmlformats.org/officeDocument/2006/relationships/image" Target="../media/image151.png"/></Relationships>
</file>

<file path=ppt/slides/_rels/slide65.xml.rels><?xml version="1.0" encoding="UTF-8" standalone="yes"?>
<Relationships xmlns="http://schemas.openxmlformats.org/package/2006/relationships"><Relationship Id="rId3" Type="http://schemas.openxmlformats.org/officeDocument/2006/relationships/customXml" Target="../ink/ink140.xml"/><Relationship Id="rId2" Type="http://schemas.openxmlformats.org/officeDocument/2006/relationships/image" Target="../media/image152.png"/><Relationship Id="rId1" Type="http://schemas.openxmlformats.org/officeDocument/2006/relationships/slideLayout" Target="../slideLayouts/slideLayout3.xml"/><Relationship Id="rId4" Type="http://schemas.openxmlformats.org/officeDocument/2006/relationships/image" Target="../media/image153.png"/></Relationships>
</file>

<file path=ppt/slides/_rels/slide66.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2.bin"/><Relationship Id="rId11" Type="http://schemas.openxmlformats.org/officeDocument/2006/relationships/image" Target="../media/image154.png"/><Relationship Id="rId5" Type="http://schemas.openxmlformats.org/officeDocument/2006/relationships/notesSlide" Target="../notesSlides/notesSlide7.xml"/><Relationship Id="rId10" Type="http://schemas.openxmlformats.org/officeDocument/2006/relationships/customXml" Target="../ink/ink141.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ww.scribbr.com/statistics/interquartile-range/" TargetMode="External"/><Relationship Id="rId7" Type="http://schemas.openxmlformats.org/officeDocument/2006/relationships/image" Target="../media/image155.png"/><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6" Type="http://schemas.openxmlformats.org/officeDocument/2006/relationships/customXml" Target="../ink/ink142.xml"/><Relationship Id="rId5" Type="http://schemas.openxmlformats.org/officeDocument/2006/relationships/hyperlink" Target="https://www.scribbr.com/statistics/variance/" TargetMode="External"/><Relationship Id="rId4" Type="http://schemas.openxmlformats.org/officeDocument/2006/relationships/hyperlink" Target="https://www.scribbr.com/statistics/standard-deviatio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ww.scribbr.com/methodology/simple-random-sampling/" TargetMode="External"/><Relationship Id="rId2" Type="http://schemas.openxmlformats.org/officeDocument/2006/relationships/image" Target="../media/image156.png"/><Relationship Id="rId1" Type="http://schemas.openxmlformats.org/officeDocument/2006/relationships/slideLayout" Target="../slideLayouts/slideLayout9.xml"/><Relationship Id="rId6" Type="http://schemas.openxmlformats.org/officeDocument/2006/relationships/image" Target="../media/image157.png"/><Relationship Id="rId5" Type="http://schemas.openxmlformats.org/officeDocument/2006/relationships/customXml" Target="../ink/ink143.xml"/><Relationship Id="rId4" Type="http://schemas.openxmlformats.org/officeDocument/2006/relationships/hyperlink" Target="https://www.scribbr.com/statistics/normal-distribution/" TargetMode="External"/></Relationships>
</file>

<file path=ppt/slides/_rels/slide69.xml.rels><?xml version="1.0" encoding="UTF-8" standalone="yes"?>
<Relationships xmlns="http://schemas.openxmlformats.org/package/2006/relationships"><Relationship Id="rId3" Type="http://schemas.openxmlformats.org/officeDocument/2006/relationships/customXml" Target="../ink/ink144.xml"/><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4" Type="http://schemas.openxmlformats.org/officeDocument/2006/relationships/image" Target="../media/image158.png"/></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customXml" Target="../ink/ink145.xml"/><Relationship Id="rId2" Type="http://schemas.openxmlformats.org/officeDocument/2006/relationships/hyperlink" Target="https://www.scribbr.com/statistics/outliers/" TargetMode="External"/><Relationship Id="rId1" Type="http://schemas.openxmlformats.org/officeDocument/2006/relationships/slideLayout" Target="../slideLayouts/slideLayout9.xml"/><Relationship Id="rId4" Type="http://schemas.openxmlformats.org/officeDocument/2006/relationships/image" Target="../media/image159.png"/></Relationships>
</file>

<file path=ppt/slides/_rels/slide71.xml.rels><?xml version="1.0" encoding="UTF-8" standalone="yes"?>
<Relationships xmlns="http://schemas.openxmlformats.org/package/2006/relationships"><Relationship Id="rId3" Type="http://schemas.openxmlformats.org/officeDocument/2006/relationships/hyperlink" Target="https://pixabay.com/en/question-mark-question-response-1019983/" TargetMode="External"/><Relationship Id="rId2" Type="http://schemas.openxmlformats.org/officeDocument/2006/relationships/image" Target="../media/image160.jpg"/><Relationship Id="rId1" Type="http://schemas.openxmlformats.org/officeDocument/2006/relationships/slideLayout" Target="../slideLayouts/slideLayout9.xml"/><Relationship Id="rId5" Type="http://schemas.openxmlformats.org/officeDocument/2006/relationships/image" Target="../media/image161.png"/><Relationship Id="rId4" Type="http://schemas.openxmlformats.org/officeDocument/2006/relationships/customXml" Target="../ink/ink146.xml"/></Relationships>
</file>

<file path=ppt/slides/_rels/slide72.xml.rels><?xml version="1.0" encoding="UTF-8" standalone="yes"?>
<Relationships xmlns="http://schemas.openxmlformats.org/package/2006/relationships"><Relationship Id="rId3" Type="http://schemas.openxmlformats.org/officeDocument/2006/relationships/customXml" Target="../ink/ink147.xml"/><Relationship Id="rId2" Type="http://schemas.openxmlformats.org/officeDocument/2006/relationships/image" Target="../media/image162.png"/><Relationship Id="rId1" Type="http://schemas.openxmlformats.org/officeDocument/2006/relationships/slideLayout" Target="../slideLayouts/slideLayout9.xml"/><Relationship Id="rId4" Type="http://schemas.openxmlformats.org/officeDocument/2006/relationships/image" Target="../media/image163.png"/></Relationships>
</file>

<file path=ppt/slides/_rels/slide73.xml.rels><?xml version="1.0" encoding="UTF-8" standalone="yes"?>
<Relationships xmlns="http://schemas.openxmlformats.org/package/2006/relationships"><Relationship Id="rId3" Type="http://schemas.openxmlformats.org/officeDocument/2006/relationships/customXml" Target="../ink/ink148.xml"/><Relationship Id="rId2" Type="http://schemas.openxmlformats.org/officeDocument/2006/relationships/image" Target="../media/image164.png"/><Relationship Id="rId1" Type="http://schemas.openxmlformats.org/officeDocument/2006/relationships/slideLayout" Target="../slideLayouts/slideLayout9.xml"/><Relationship Id="rId4" Type="http://schemas.openxmlformats.org/officeDocument/2006/relationships/image" Target="../media/image165.png"/></Relationships>
</file>

<file path=ppt/slides/_rels/slide7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customXml" Target="../ink/ink149.xm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hyperlink" Target="https://www.scribbr.com/statistics/interquartile-range/" TargetMode="External"/><Relationship Id="rId1" Type="http://schemas.openxmlformats.org/officeDocument/2006/relationships/slideLayout" Target="../slideLayouts/slideLayout9.xml"/><Relationship Id="rId5" Type="http://schemas.openxmlformats.org/officeDocument/2006/relationships/image" Target="../media/image168.png"/><Relationship Id="rId4" Type="http://schemas.openxmlformats.org/officeDocument/2006/relationships/customXml" Target="../ink/ink150.xml"/></Relationships>
</file>

<file path=ppt/slides/_rels/slide7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customXml" Target="../ink/ink151.xml"/><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3" Type="http://schemas.openxmlformats.org/officeDocument/2006/relationships/customXml" Target="../ink/ink152.xml"/><Relationship Id="rId2" Type="http://schemas.openxmlformats.org/officeDocument/2006/relationships/image" Target="../media/image171.png"/><Relationship Id="rId1" Type="http://schemas.openxmlformats.org/officeDocument/2006/relationships/slideLayout" Target="../slideLayouts/slideLayout9.xml"/><Relationship Id="rId4" Type="http://schemas.openxmlformats.org/officeDocument/2006/relationships/image" Target="../media/image17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customXml" Target="../ink/ink153.xml"/><Relationship Id="rId2" Type="http://schemas.openxmlformats.org/officeDocument/2006/relationships/image" Target="../media/image173.png"/><Relationship Id="rId1" Type="http://schemas.openxmlformats.org/officeDocument/2006/relationships/slideLayout" Target="../slideLayouts/slideLayout9.xml"/><Relationship Id="rId4" Type="http://schemas.openxmlformats.org/officeDocument/2006/relationships/image" Target="../media/image174.png"/></Relationships>
</file>

<file path=ppt/slides/_rels/slide81.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customXml" Target="../ink/ink154.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customXml" Target="../ink/ink155.xm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 Id="rId4" Type="http://schemas.openxmlformats.org/officeDocument/2006/relationships/image" Target="../media/image176.png"/></Relationships>
</file>

<file path=ppt/slides/_rels/slide8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7.png"/><Relationship Id="rId1" Type="http://schemas.openxmlformats.org/officeDocument/2006/relationships/slideLayout" Target="../slideLayouts/slideLayout9.xml"/><Relationship Id="rId5" Type="http://schemas.openxmlformats.org/officeDocument/2006/relationships/image" Target="../media/image179.png"/><Relationship Id="rId4" Type="http://schemas.openxmlformats.org/officeDocument/2006/relationships/customXml" Target="../ink/ink156.xml"/></Relationships>
</file>

<file path=ppt/slides/_rels/slide8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customXml" Target="../ink/ink157.xml"/><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hyperlink" Target="https://www.mathsisfun.com/numbers/absolute-value.html" TargetMode="External"/><Relationship Id="rId2" Type="http://schemas.openxmlformats.org/officeDocument/2006/relationships/hyperlink" Target="https://www.mathsisfun.com/algebra/sigma-notation.html" TargetMode="External"/><Relationship Id="rId1" Type="http://schemas.openxmlformats.org/officeDocument/2006/relationships/slideLayout" Target="../slideLayouts/slideLayout9.xml"/><Relationship Id="rId6" Type="http://schemas.openxmlformats.org/officeDocument/2006/relationships/image" Target="../media/image182.png"/><Relationship Id="rId5" Type="http://schemas.openxmlformats.org/officeDocument/2006/relationships/customXml" Target="../ink/ink158.xml"/><Relationship Id="rId4" Type="http://schemas.openxmlformats.org/officeDocument/2006/relationships/image" Target="../media/image181.png"/></Relationships>
</file>

<file path=ppt/slides/_rels/slide86.xml.rels><?xml version="1.0" encoding="UTF-8" standalone="yes"?>
<Relationships xmlns="http://schemas.openxmlformats.org/package/2006/relationships"><Relationship Id="rId3" Type="http://schemas.openxmlformats.org/officeDocument/2006/relationships/customXml" Target="../ink/ink159.xml"/><Relationship Id="rId2" Type="http://schemas.openxmlformats.org/officeDocument/2006/relationships/image" Target="../media/image183.png"/><Relationship Id="rId1" Type="http://schemas.openxmlformats.org/officeDocument/2006/relationships/slideLayout" Target="../slideLayouts/slideLayout9.xml"/><Relationship Id="rId4" Type="http://schemas.openxmlformats.org/officeDocument/2006/relationships/image" Target="../media/image184.png"/></Relationships>
</file>

<file path=ppt/slides/_rels/slide8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9.xml"/><Relationship Id="rId5" Type="http://schemas.openxmlformats.org/officeDocument/2006/relationships/image" Target="../media/image187.png"/><Relationship Id="rId4" Type="http://schemas.openxmlformats.org/officeDocument/2006/relationships/customXml" Target="../ink/ink160.xml"/></Relationships>
</file>

<file path=ppt/slides/_rels/slide88.xml.rels><?xml version="1.0" encoding="UTF-8" standalone="yes"?>
<Relationships xmlns="http://schemas.openxmlformats.org/package/2006/relationships"><Relationship Id="rId3" Type="http://schemas.openxmlformats.org/officeDocument/2006/relationships/customXml" Target="../ink/ink161.xml"/><Relationship Id="rId2" Type="http://schemas.openxmlformats.org/officeDocument/2006/relationships/image" Target="../media/image188.png"/><Relationship Id="rId1" Type="http://schemas.openxmlformats.org/officeDocument/2006/relationships/slideLayout" Target="../slideLayouts/slideLayout9.xml"/><Relationship Id="rId4" Type="http://schemas.openxmlformats.org/officeDocument/2006/relationships/image" Target="../media/image189.png"/></Relationships>
</file>

<file path=ppt/slides/_rels/slide89.xml.rels><?xml version="1.0" encoding="UTF-8" standalone="yes"?>
<Relationships xmlns="http://schemas.openxmlformats.org/package/2006/relationships"><Relationship Id="rId3" Type="http://schemas.openxmlformats.org/officeDocument/2006/relationships/customXml" Target="../ink/ink162.xml"/><Relationship Id="rId2" Type="http://schemas.openxmlformats.org/officeDocument/2006/relationships/image" Target="../media/image185.png"/><Relationship Id="rId1" Type="http://schemas.openxmlformats.org/officeDocument/2006/relationships/slideLayout" Target="../slideLayouts/slideLayout9.xml"/><Relationship Id="rId4" Type="http://schemas.openxmlformats.org/officeDocument/2006/relationships/image" Target="../media/image190.png"/></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hyperlink" Target="https://www.mathsisfun.com/data/standard-deviation.html#WhySquare"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 Id="rId5" Type="http://schemas.openxmlformats.org/officeDocument/2006/relationships/image" Target="../media/image191.png"/><Relationship Id="rId4" Type="http://schemas.openxmlformats.org/officeDocument/2006/relationships/customXml" Target="../ink/ink163.xml"/></Relationships>
</file>

<file path=ppt/slides/_rels/slide91.xml.rels><?xml version="1.0" encoding="UTF-8" standalone="yes"?>
<Relationships xmlns="http://schemas.openxmlformats.org/package/2006/relationships"><Relationship Id="rId3" Type="http://schemas.openxmlformats.org/officeDocument/2006/relationships/customXml" Target="../ink/ink164.xml"/><Relationship Id="rId2" Type="http://schemas.openxmlformats.org/officeDocument/2006/relationships/image" Target="../media/image192.png"/><Relationship Id="rId1" Type="http://schemas.openxmlformats.org/officeDocument/2006/relationships/slideLayout" Target="../slideLayouts/slideLayout9.xml"/><Relationship Id="rId4" Type="http://schemas.openxmlformats.org/officeDocument/2006/relationships/image" Target="../media/image193.png"/></Relationships>
</file>

<file path=ppt/slides/_rels/slide92.xml.rels><?xml version="1.0" encoding="UTF-8" standalone="yes"?>
<Relationships xmlns="http://schemas.openxmlformats.org/package/2006/relationships"><Relationship Id="rId3" Type="http://schemas.openxmlformats.org/officeDocument/2006/relationships/customXml" Target="../ink/ink165.xml"/><Relationship Id="rId2" Type="http://schemas.openxmlformats.org/officeDocument/2006/relationships/image" Target="../media/image194.png"/><Relationship Id="rId1" Type="http://schemas.openxmlformats.org/officeDocument/2006/relationships/slideLayout" Target="../slideLayouts/slideLayout9.xml"/><Relationship Id="rId4" Type="http://schemas.openxmlformats.org/officeDocument/2006/relationships/image" Target="../media/image195.png"/></Relationships>
</file>

<file path=ppt/slides/_rels/slide93.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9.xml"/><Relationship Id="rId5" Type="http://schemas.openxmlformats.org/officeDocument/2006/relationships/image" Target="../media/image198.png"/><Relationship Id="rId4" Type="http://schemas.openxmlformats.org/officeDocument/2006/relationships/customXml" Target="../ink/ink1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239"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81419" y="1053978"/>
            <a:ext cx="2868459" cy="3035543"/>
          </a:xfrm>
        </p:spPr>
        <p:txBody>
          <a:bodyPr/>
          <a:lstStyle/>
          <a:p>
            <a:r>
              <a:rPr lang="en-US" sz="4800" dirty="0"/>
              <a:t>Statistics for </a:t>
            </a:r>
            <a:br>
              <a:rPr lang="en-US" sz="4800" dirty="0"/>
            </a:br>
            <a:r>
              <a:rPr lang="en-US" sz="48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3181610" y="-1"/>
            <a:ext cx="5962389" cy="5143500"/>
          </a:xfrm>
          <a:prstGeom prst="rect">
            <a:avLst/>
          </a:prstGeom>
        </p:spPr>
      </p:pic>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425927352"/>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32621" y="1777656"/>
            <a:ext cx="7545547" cy="48391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442633" y="3365844"/>
            <a:ext cx="2237462" cy="1491641"/>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80166" y="52681"/>
            <a:ext cx="7955280" cy="64008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80166" y="692761"/>
            <a:ext cx="7924386" cy="32004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73330" y="2571750"/>
            <a:ext cx="2138607" cy="1247197"/>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4481048" y="2411832"/>
            <a:ext cx="4324457" cy="2378765"/>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32622" y="1777656"/>
            <a:ext cx="759800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tx2"/>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a:spcBef>
                <a:spcPts val="0"/>
              </a:spcBef>
              <a:spcAft>
                <a:spcPts val="0"/>
              </a:spcAft>
              <a:buClr>
                <a:schemeClr val="bg1"/>
              </a:buClr>
            </a:pPr>
            <a:r>
              <a:rPr lang="en-US" sz="1400" dirty="0">
                <a:solidFill>
                  <a:schemeClr val="bg2"/>
                </a:solidFill>
                <a:latin typeface="+mn-lt"/>
              </a:rPr>
              <a:t> </a:t>
            </a:r>
          </a:p>
        </p:txBody>
      </p:sp>
    </p:spTree>
    <p:extLst>
      <p:ext uri="{BB962C8B-B14F-4D97-AF65-F5344CB8AC3E}">
        <p14:creationId xmlns:p14="http://schemas.microsoft.com/office/powerpoint/2010/main" val="1833670930"/>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922280354"/>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80166" y="146626"/>
            <a:ext cx="8556530" cy="640080"/>
          </a:xfrm>
        </p:spPr>
        <p:txBody>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186635" y="885589"/>
            <a:ext cx="8694317" cy="3780355"/>
          </a:xfrm>
        </p:spPr>
        <p:txBody>
          <a:bodyPr>
            <a:normAutofit/>
          </a:bodyPr>
          <a:lstStyle/>
          <a:p>
            <a:r>
              <a:rPr lang="en-US" sz="1800" dirty="0">
                <a:solidFill>
                  <a:schemeClr val="bg2">
                    <a:lumMod val="50000"/>
                    <a:lumOff val="50000"/>
                  </a:schemeClr>
                </a:solidFill>
              </a:rPr>
              <a:t>Sampling involves selecting units from a population of interest such that the sampling units </a:t>
            </a:r>
            <a:r>
              <a:rPr lang="en-US" sz="1800" b="1" dirty="0">
                <a:solidFill>
                  <a:schemeClr val="accent1"/>
                </a:solidFill>
              </a:rPr>
              <a:t>represent the whole population</a:t>
            </a:r>
            <a:r>
              <a:rPr lang="en-US" sz="1800" dirty="0">
                <a:solidFill>
                  <a:schemeClr val="bg2">
                    <a:lumMod val="50000"/>
                    <a:lumOff val="50000"/>
                  </a:schemeClr>
                </a:solidFill>
              </a:rPr>
              <a:t>. If sample is bias the resultant statistics can bias and will not be representative. </a:t>
            </a:r>
          </a:p>
          <a:p>
            <a:r>
              <a:rPr lang="en-US" sz="1800" dirty="0">
                <a:solidFill>
                  <a:schemeClr val="bg2">
                    <a:lumMod val="50000"/>
                    <a:lumOff val="50000"/>
                  </a:schemeClr>
                </a:solidFill>
              </a:rPr>
              <a:t>Random sampling is one such procedure that selects a sample of units from a population </a:t>
            </a:r>
            <a:r>
              <a:rPr lang="en-US" sz="1800" b="1" dirty="0">
                <a:solidFill>
                  <a:schemeClr val="accent1"/>
                </a:solidFill>
              </a:rPr>
              <a:t>by chance</a:t>
            </a:r>
            <a:r>
              <a:rPr lang="en-US" sz="1800" dirty="0">
                <a:solidFill>
                  <a:schemeClr val="bg2">
                    <a:lumMod val="50000"/>
                    <a:lumOff val="50000"/>
                  </a:schemeClr>
                </a:solidFill>
              </a:rPr>
              <a:t>, typically to </a:t>
            </a:r>
            <a:r>
              <a:rPr lang="en-US" sz="1800" b="1" dirty="0">
                <a:solidFill>
                  <a:schemeClr val="accent1"/>
                </a:solidFill>
              </a:rPr>
              <a:t>facilitate generalization </a:t>
            </a:r>
            <a:r>
              <a:rPr lang="en-US" sz="1800" dirty="0">
                <a:solidFill>
                  <a:schemeClr val="bg2">
                    <a:lumMod val="50000"/>
                    <a:lumOff val="50000"/>
                  </a:schemeClr>
                </a:solidFill>
              </a:rPr>
              <a:t>from the sample to the population. </a:t>
            </a:r>
          </a:p>
          <a:p>
            <a:r>
              <a:rPr lang="en-US" sz="1800" dirty="0">
                <a:solidFill>
                  <a:schemeClr val="bg2">
                    <a:lumMod val="50000"/>
                    <a:lumOff val="50000"/>
                  </a:schemeClr>
                </a:solidFill>
              </a:rPr>
              <a:t>Random sampling ensures that results obtained from your sample should approximate what would have been obtained </a:t>
            </a:r>
            <a:r>
              <a:rPr lang="en-US" sz="1800" b="1" dirty="0">
                <a:solidFill>
                  <a:schemeClr val="accent1"/>
                </a:solidFill>
              </a:rPr>
              <a:t>if the entire population had been measured</a:t>
            </a:r>
            <a:r>
              <a:rPr lang="en-US" sz="1800" dirty="0">
                <a:solidFill>
                  <a:schemeClr val="bg2">
                    <a:lumMod val="50000"/>
                    <a:lumOff val="50000"/>
                  </a:schemeClr>
                </a:solidFill>
              </a:rPr>
              <a:t>. The simplest random sample allows all the units in the population to have an </a:t>
            </a:r>
            <a:r>
              <a:rPr lang="en-US" sz="1800" b="1" dirty="0">
                <a:solidFill>
                  <a:schemeClr val="accent1"/>
                </a:solidFill>
              </a:rPr>
              <a:t>equal chance </a:t>
            </a:r>
            <a:r>
              <a:rPr lang="en-US" sz="1800" dirty="0">
                <a:solidFill>
                  <a:schemeClr val="bg2">
                    <a:lumMod val="50000"/>
                    <a:lumOff val="50000"/>
                  </a:schemeClr>
                </a:solidFill>
              </a:rPr>
              <a:t>of being selected. </a:t>
            </a:r>
            <a:r>
              <a:rPr lang="en-US" sz="1800" b="1" i="1" dirty="0">
                <a:solidFill>
                  <a:schemeClr val="bg2">
                    <a:lumMod val="50000"/>
                    <a:lumOff val="50000"/>
                  </a:schemeClr>
                </a:solidFill>
              </a:rPr>
              <a:t>Often in practice we rely on more complex sampling techniques.</a:t>
            </a:r>
          </a:p>
        </p:txBody>
      </p:sp>
    </p:spTree>
    <p:extLst>
      <p:ext uri="{BB962C8B-B14F-4D97-AF65-F5344CB8AC3E}">
        <p14:creationId xmlns:p14="http://schemas.microsoft.com/office/powerpoint/2010/main" val="3661297187"/>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22860"/>
            <a:ext cx="7955280" cy="640080"/>
          </a:xfrm>
        </p:spPr>
        <p:txBody>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30893" y="523337"/>
            <a:ext cx="8603555" cy="4096826"/>
          </a:xfrm>
        </p:spPr>
        <p:txBody>
          <a:bodyPr>
            <a:normAutofit/>
          </a:bodyPr>
          <a:lstStyle/>
          <a:p>
            <a:pPr marL="0" indent="0">
              <a:buNone/>
            </a:pPr>
            <a:r>
              <a:rPr lang="en-US" sz="12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200" dirty="0">
                <a:solidFill>
                  <a:schemeClr val="bg2">
                    <a:lumMod val="50000"/>
                    <a:lumOff val="50000"/>
                  </a:schemeClr>
                </a:solidFill>
              </a:rPr>
              <a:t>Any pre-agreed sampling rules are deviated from</a:t>
            </a:r>
          </a:p>
          <a:p>
            <a:r>
              <a:rPr lang="en-US" sz="1200" dirty="0">
                <a:solidFill>
                  <a:schemeClr val="bg2">
                    <a:lumMod val="50000"/>
                    <a:lumOff val="50000"/>
                  </a:schemeClr>
                </a:solidFill>
              </a:rPr>
              <a:t>People in hard-to-reach groups are omitted</a:t>
            </a:r>
          </a:p>
          <a:p>
            <a:r>
              <a:rPr lang="en-US" sz="1200" dirty="0">
                <a:solidFill>
                  <a:schemeClr val="bg2">
                    <a:lumMod val="50000"/>
                    <a:lumOff val="50000"/>
                  </a:schemeClr>
                </a:solidFill>
              </a:rPr>
              <a:t>Selected individuals are replaced with others, for example if they are difficult to contact</a:t>
            </a:r>
          </a:p>
          <a:p>
            <a:r>
              <a:rPr lang="en-US" sz="1200" dirty="0">
                <a:solidFill>
                  <a:schemeClr val="bg2">
                    <a:lumMod val="50000"/>
                    <a:lumOff val="50000"/>
                  </a:schemeClr>
                </a:solidFill>
              </a:rPr>
              <a:t>There are low response rates</a:t>
            </a:r>
          </a:p>
          <a:p>
            <a:r>
              <a:rPr lang="en-US" sz="12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200" dirty="0">
              <a:solidFill>
                <a:schemeClr val="bg2">
                  <a:lumMod val="50000"/>
                  <a:lumOff val="50000"/>
                </a:schemeClr>
              </a:solidFill>
            </a:endParaRPr>
          </a:p>
          <a:p>
            <a:pPr marL="0" indent="0">
              <a:buNone/>
            </a:pPr>
            <a:r>
              <a:rPr lang="en-US" sz="2000" b="1" dirty="0">
                <a:solidFill>
                  <a:schemeClr val="accent1"/>
                </a:solidFill>
              </a:rPr>
              <a:t>Types of Sampling : </a:t>
            </a:r>
          </a:p>
          <a:p>
            <a:pPr marL="0" indent="0">
              <a:buNone/>
            </a:pPr>
            <a:r>
              <a:rPr lang="en-US" sz="1200" b="1" dirty="0">
                <a:solidFill>
                  <a:schemeClr val="accent1"/>
                </a:solidFill>
              </a:rPr>
              <a:t>Probability sampling </a:t>
            </a:r>
            <a:r>
              <a:rPr lang="en-US" sz="1200" dirty="0">
                <a:solidFill>
                  <a:schemeClr val="bg2">
                    <a:lumMod val="50000"/>
                    <a:lumOff val="50000"/>
                  </a:schemeClr>
                </a:solidFill>
              </a:rPr>
              <a:t>involves random selection, allowing you to make strong statistical inferences about the whole group.</a:t>
            </a:r>
          </a:p>
          <a:p>
            <a:pPr marL="0" indent="0">
              <a:buNone/>
            </a:pPr>
            <a:r>
              <a:rPr lang="en-US" sz="1200" b="1" dirty="0">
                <a:solidFill>
                  <a:schemeClr val="accent1"/>
                </a:solidFill>
              </a:rPr>
              <a:t>Non-probability</a:t>
            </a:r>
            <a:r>
              <a:rPr lang="en-US" sz="12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1600" b="1" dirty="0">
              <a:solidFill>
                <a:schemeClr val="accent1"/>
              </a:solidFill>
            </a:endParaRPr>
          </a:p>
          <a:p>
            <a:endParaRPr lang="en-US" dirty="0"/>
          </a:p>
        </p:txBody>
      </p:sp>
    </p:spTree>
    <p:extLst>
      <p:ext uri="{BB962C8B-B14F-4D97-AF65-F5344CB8AC3E}">
        <p14:creationId xmlns:p14="http://schemas.microsoft.com/office/powerpoint/2010/main" val="3121719466"/>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174111" y="703961"/>
            <a:ext cx="8694316" cy="3774093"/>
          </a:xfrm>
        </p:spPr>
        <p:txBody>
          <a:bodyPr>
            <a:normAutofit/>
          </a:bodyPr>
          <a:lstStyle/>
          <a:p>
            <a:pPr marL="0" indent="0">
              <a:buNone/>
            </a:pPr>
            <a:r>
              <a:rPr lang="en-US" sz="4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fter understanding Population and Sample it opens the gate to understand what is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nferential</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and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escriptive</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p:spTree>
    <p:extLst>
      <p:ext uri="{BB962C8B-B14F-4D97-AF65-F5344CB8AC3E}">
        <p14:creationId xmlns:p14="http://schemas.microsoft.com/office/powerpoint/2010/main" val="2499727815"/>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274319" y="271886"/>
            <a:ext cx="7955280" cy="64008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274319" y="1515618"/>
            <a:ext cx="3840480" cy="2112263"/>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4389118" y="911966"/>
            <a:ext cx="4410415" cy="3810346"/>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p:spTree>
    <p:extLst>
      <p:ext uri="{BB962C8B-B14F-4D97-AF65-F5344CB8AC3E}">
        <p14:creationId xmlns:p14="http://schemas.microsoft.com/office/powerpoint/2010/main" val="592860241"/>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83996"/>
            <a:ext cx="7955280" cy="64008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55113" y="765568"/>
            <a:ext cx="8481373" cy="1218782"/>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400" dirty="0">
                <a:solidFill>
                  <a:schemeClr val="bg2">
                    <a:lumMod val="50000"/>
                    <a:lumOff val="50000"/>
                  </a:schemeClr>
                </a:solidFill>
              </a:rPr>
              <a:t>Measure of Central tendency</a:t>
            </a:r>
          </a:p>
          <a:p>
            <a:pPr lvl="1"/>
            <a:r>
              <a:rPr lang="en-US" sz="1400" dirty="0">
                <a:solidFill>
                  <a:schemeClr val="bg2">
                    <a:lumMod val="50000"/>
                    <a:lumOff val="50000"/>
                  </a:schemeClr>
                </a:solidFill>
              </a:rPr>
              <a:t>Measure of Variability</a:t>
            </a:r>
          </a:p>
          <a:p>
            <a:pPr lvl="1"/>
            <a:endParaRPr lang="en-US" sz="1400"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3357817" y="2108705"/>
            <a:ext cx="4597463" cy="1675599"/>
          </a:xfrm>
          <a:prstGeom prst="rect">
            <a:avLst/>
          </a:prstGeom>
        </p:spPr>
      </p:pic>
      <p:sp>
        <p:nvSpPr>
          <p:cNvPr id="4" name="Rectangle 3">
            <a:extLst>
              <a:ext uri="{FF2B5EF4-FFF2-40B4-BE49-F238E27FC236}">
                <a16:creationId xmlns:a16="http://schemas.microsoft.com/office/drawing/2014/main" id="{E7D97A91-589E-4FF7-B191-1179B210D296}"/>
              </a:ext>
            </a:extLst>
          </p:cNvPr>
          <p:cNvSpPr/>
          <p:nvPr/>
        </p:nvSpPr>
        <p:spPr>
          <a:xfrm>
            <a:off x="6568322" y="3517996"/>
            <a:ext cx="551433" cy="167525"/>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a:solidFill>
                <a:schemeClr val="tx2"/>
              </a:solidFill>
              <a:latin typeface="+mn-lt"/>
            </a:endParaRPr>
          </a:p>
        </p:txBody>
      </p:sp>
      <p:sp>
        <p:nvSpPr>
          <p:cNvPr id="5" name="TextBox 4">
            <a:extLst>
              <a:ext uri="{FF2B5EF4-FFF2-40B4-BE49-F238E27FC236}">
                <a16:creationId xmlns:a16="http://schemas.microsoft.com/office/drawing/2014/main" id="{2717AC45-F872-450C-BBDC-D605C3F757A6}"/>
              </a:ext>
            </a:extLst>
          </p:cNvPr>
          <p:cNvSpPr txBox="1"/>
          <p:nvPr/>
        </p:nvSpPr>
        <p:spPr>
          <a:xfrm>
            <a:off x="6484561" y="3446994"/>
            <a:ext cx="1270388" cy="477054"/>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accent2">
                    <a:lumMod val="75000"/>
                  </a:schemeClr>
                </a:solidFill>
                <a:latin typeface="+mn-lt"/>
              </a:rPr>
              <a:t>Varianc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999464151"/>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92692" y="90259"/>
            <a:ext cx="7955280" cy="640080"/>
          </a:xfrm>
        </p:spPr>
        <p:txBody>
          <a:bodyPr/>
          <a:lstStyle/>
          <a:p>
            <a:r>
              <a:rPr lang="en-US" dirty="0"/>
              <a:t>Descriptive Statistics – Example</a:t>
            </a:r>
            <a:br>
              <a:rPr lang="en-US" dirty="0"/>
            </a:br>
            <a:r>
              <a:rPr lang="en-US" sz="1400" b="0" i="0" dirty="0">
                <a:solidFill>
                  <a:schemeClr val="bg2">
                    <a:lumMod val="50000"/>
                    <a:lumOff val="50000"/>
                  </a:schemeClr>
                </a:solidFill>
                <a:effectLst/>
                <a:latin typeface="Raleway" panose="020B0604020202020204" pitchFamily="2" charset="0"/>
              </a:rPr>
              <a:t>You’ve performed a survey to 40 respondents about their favorite car color. And now you have a spreadsheet with the results.</a:t>
            </a:r>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4967601" y="1001400"/>
            <a:ext cx="3819787" cy="3870213"/>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0" y="1319603"/>
            <a:ext cx="4086225" cy="2905125"/>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4176400" y="2571750"/>
            <a:ext cx="470757" cy="227817"/>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12734" y="4321479"/>
            <a:ext cx="4409162"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Descriptive statistics simply describes the data</a:t>
            </a:r>
          </a:p>
        </p:txBody>
      </p:sp>
    </p:spTree>
    <p:extLst>
      <p:ext uri="{BB962C8B-B14F-4D97-AF65-F5344CB8AC3E}">
        <p14:creationId xmlns:p14="http://schemas.microsoft.com/office/powerpoint/2010/main" val="889781105"/>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193039" y="274657"/>
            <a:ext cx="7955280" cy="64008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93480" y="820792"/>
            <a:ext cx="8582362" cy="2424516"/>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366432" y="3339253"/>
            <a:ext cx="8411135" cy="1260345"/>
          </a:xfrm>
          <a:prstGeom prst="rect">
            <a:avLst/>
          </a:prstGeom>
          <a:noFill/>
        </p:spPr>
        <p:txBody>
          <a:bodyPr wrap="square" rtlCol="0">
            <a:spAutoFit/>
          </a:bodyPr>
          <a:lstStyle/>
          <a:p>
            <a:pPr marL="0" marR="0">
              <a:lnSpc>
                <a:spcPct val="107000"/>
              </a:lnSpc>
              <a:spcBef>
                <a:spcPts val="0"/>
              </a:spcBef>
              <a:spcAft>
                <a:spcPts val="800"/>
              </a:spcAft>
            </a:pPr>
            <a:r>
              <a:rPr lang="en-US" dirty="0">
                <a:effectLst/>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b="1" i="1" dirty="0">
                <a:effectLst/>
                <a:latin typeface="Calibri" panose="020F0502020204030204" pitchFamily="34" charset="0"/>
                <a:ea typeface="DengXian" panose="02010600030101010101" pitchFamily="2" charset="-122"/>
                <a:cs typeface="Times New Roman" panose="02020603050405020304" pitchFamily="18" charset="0"/>
              </a:rPr>
              <a:t>raw numerical data </a:t>
            </a:r>
            <a:r>
              <a:rPr lang="en-US" dirty="0">
                <a:effectLst/>
                <a:latin typeface="Calibri" panose="020F0502020204030204" pitchFamily="34" charset="0"/>
                <a:ea typeface="DengXian" panose="02010600030101010101" pitchFamily="2" charset="-122"/>
                <a:cs typeface="Times New Roman" panose="02020603050405020304" pitchFamily="18" charset="0"/>
              </a:rPr>
              <a:t>into </a:t>
            </a:r>
            <a:r>
              <a:rPr lang="en-US" b="1" i="1" dirty="0">
                <a:effectLst/>
                <a:latin typeface="Calibri" panose="020F0502020204030204" pitchFamily="34" charset="0"/>
                <a:ea typeface="DengXian" panose="02010600030101010101" pitchFamily="2" charset="-122"/>
                <a:cs typeface="Times New Roman" panose="02020603050405020304" pitchFamily="18" charset="0"/>
              </a:rPr>
              <a:t>useful information </a:t>
            </a:r>
            <a:r>
              <a:rPr lang="en-US" dirty="0">
                <a:effectLst/>
                <a:latin typeface="Calibri" panose="020F0502020204030204" pitchFamily="34" charset="0"/>
                <a:ea typeface="DengXian" panose="02010600030101010101" pitchFamily="2" charset="-122"/>
                <a:cs typeface="Times New Roman" panose="02020603050405020304" pitchFamily="18" charset="0"/>
              </a:rPr>
              <a:t>for relevant users. </a:t>
            </a:r>
          </a:p>
        </p:txBody>
      </p:sp>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22860"/>
            <a:ext cx="8813314" cy="640080"/>
          </a:xfrm>
        </p:spPr>
        <p:txBody>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p:spTree>
    <p:extLst>
      <p:ext uri="{BB962C8B-B14F-4D97-AF65-F5344CB8AC3E}">
        <p14:creationId xmlns:p14="http://schemas.microsoft.com/office/powerpoint/2010/main" val="1717064405"/>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7955280" cy="640080"/>
          </a:xfrm>
        </p:spPr>
        <p:txBody>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920893"/>
            <a:ext cx="9144000" cy="1514796"/>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48861" y="2716502"/>
            <a:ext cx="8390144" cy="1877437"/>
          </a:xfrm>
          <a:prstGeom prst="rect">
            <a:avLst/>
          </a:prstGeom>
          <a:noFill/>
        </p:spPr>
        <p:txBody>
          <a:bodyPr wrap="square" rtlCol="0">
            <a:spAutoFit/>
          </a:bodyPr>
          <a:lstStyle/>
          <a:p>
            <a:pPr algn="l"/>
            <a:r>
              <a:rPr lang="en-US" sz="1100" b="1" i="0" dirty="0">
                <a:solidFill>
                  <a:srgbClr val="000000"/>
                </a:solidFill>
                <a:effectLst/>
                <a:latin typeface="Open Sans" panose="020B0606030504020204" pitchFamily="34" charset="0"/>
              </a:rPr>
              <a:t>Importance of the Control Variables</a:t>
            </a:r>
          </a:p>
          <a:p>
            <a:pPr algn="l"/>
            <a:endParaRPr lang="en-US" sz="1100" b="0" i="0" dirty="0">
              <a:solidFill>
                <a:srgbClr val="000000"/>
              </a:solidFill>
              <a:effectLst/>
              <a:latin typeface="Open Sans" panose="020B0606030504020204" pitchFamily="34" charset="0"/>
            </a:endParaRPr>
          </a:p>
          <a:p>
            <a:pPr marL="171450" indent="-171450">
              <a:buFont typeface="Arial" panose="020B0604020202020204" pitchFamily="34" charset="0"/>
              <a:buChar char="•"/>
            </a:pPr>
            <a:r>
              <a:rPr lang="en-US" sz="1000" dirty="0">
                <a:solidFill>
                  <a:schemeClr val="bg2">
                    <a:lumMod val="50000"/>
                    <a:lumOff val="50000"/>
                  </a:schemeClr>
                </a:solidFill>
                <a:latin typeface="+mn-lt"/>
              </a:rPr>
              <a:t>Although control variables may not be measured as they are not recorded, yet they can have a significant effect on the outcome of an experiment.</a:t>
            </a:r>
          </a:p>
          <a:p>
            <a:pPr marL="171450" indent="-171450">
              <a:buFont typeface="Arial" panose="020B0604020202020204" pitchFamily="34" charset="0"/>
              <a:buChar char="•"/>
            </a:pPr>
            <a:r>
              <a:rPr lang="en-US" sz="1000" dirty="0">
                <a:solidFill>
                  <a:schemeClr val="bg2">
                    <a:lumMod val="50000"/>
                    <a:lumOff val="50000"/>
                  </a:schemeClr>
                </a:solidFill>
                <a:latin typeface="+mn-lt"/>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171450" indent="-171450">
              <a:buFont typeface="Arial" panose="020B0604020202020204" pitchFamily="34" charset="0"/>
              <a:buChar char="•"/>
            </a:pPr>
            <a:r>
              <a:rPr lang="en-US" sz="1000" dirty="0">
                <a:solidFill>
                  <a:schemeClr val="bg2">
                    <a:lumMod val="50000"/>
                    <a:lumOff val="50000"/>
                  </a:schemeClr>
                </a:solidFill>
                <a:latin typeface="+mn-lt"/>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171450" indent="-171450">
              <a:buFont typeface="Arial" panose="020B0604020202020204" pitchFamily="34" charset="0"/>
              <a:buChar char="•"/>
            </a:pPr>
            <a:r>
              <a:rPr lang="en-US" sz="1000" dirty="0">
                <a:solidFill>
                  <a:schemeClr val="bg2">
                    <a:lumMod val="50000"/>
                    <a:lumOff val="50000"/>
                  </a:schemeClr>
                </a:solidFill>
                <a:latin typeface="+mn-lt"/>
              </a:rPr>
              <a:t>If we don’t control the amount of light, for example, we perform some part of the experiment in the summer and some part during the winter, we may skew our results.</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513017721"/>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F0AD-7FFD-4732-86A0-DD18718379E4}"/>
              </a:ext>
            </a:extLst>
          </p:cNvPr>
          <p:cNvSpPr>
            <a:spLocks noGrp="1"/>
          </p:cNvSpPr>
          <p:nvPr>
            <p:ph type="title"/>
          </p:nvPr>
        </p:nvSpPr>
        <p:spPr>
          <a:xfrm>
            <a:off x="137160" y="22860"/>
            <a:ext cx="7955280" cy="640080"/>
          </a:xfrm>
        </p:spPr>
        <p:txBody>
          <a:bodyPr/>
          <a:lstStyle/>
          <a:p>
            <a:r>
              <a:rPr lang="en-US" dirty="0"/>
              <a:t>Types of Statistical Studies</a:t>
            </a:r>
          </a:p>
        </p:txBody>
      </p:sp>
      <p:sp>
        <p:nvSpPr>
          <p:cNvPr id="3" name="Content Placeholder 2">
            <a:extLst>
              <a:ext uri="{FF2B5EF4-FFF2-40B4-BE49-F238E27FC236}">
                <a16:creationId xmlns:a16="http://schemas.microsoft.com/office/drawing/2014/main" id="{51EABE99-0FF9-42EC-AD6B-E1B530304558}"/>
              </a:ext>
            </a:extLst>
          </p:cNvPr>
          <p:cNvSpPr>
            <a:spLocks noGrp="1"/>
          </p:cNvSpPr>
          <p:nvPr>
            <p:ph sz="half" idx="13"/>
          </p:nvPr>
        </p:nvSpPr>
        <p:spPr>
          <a:xfrm>
            <a:off x="243004" y="971550"/>
            <a:ext cx="8343587" cy="3200400"/>
          </a:xfrm>
        </p:spPr>
        <p:txBody>
          <a:bodyPr/>
          <a:lstStyle/>
          <a:p>
            <a:r>
              <a:rPr lang="en-US" dirty="0">
                <a:solidFill>
                  <a:schemeClr val="bg2">
                    <a:lumMod val="50000"/>
                    <a:lumOff val="50000"/>
                  </a:schemeClr>
                </a:solidFill>
              </a:rPr>
              <a:t>When we talk about using data to learn something about the world, we are usually talking about performing a study or an experiment </a:t>
            </a:r>
          </a:p>
          <a:p>
            <a:r>
              <a:rPr lang="en-US" dirty="0">
                <a:solidFill>
                  <a:schemeClr val="bg2">
                    <a:lumMod val="50000"/>
                    <a:lumOff val="50000"/>
                  </a:schemeClr>
                </a:solidFill>
              </a:rPr>
              <a:t>In general, there are two types of statistical studies: </a:t>
            </a:r>
            <a:r>
              <a:rPr lang="en-US" b="1" dirty="0">
                <a:solidFill>
                  <a:schemeClr val="accent1"/>
                </a:solidFill>
              </a:rPr>
              <a:t>Observational studies </a:t>
            </a:r>
            <a:r>
              <a:rPr lang="en-US" dirty="0">
                <a:solidFill>
                  <a:schemeClr val="bg2">
                    <a:lumMod val="50000"/>
                    <a:lumOff val="50000"/>
                  </a:schemeClr>
                </a:solidFill>
              </a:rPr>
              <a:t>and</a:t>
            </a:r>
            <a:r>
              <a:rPr lang="en-US" dirty="0"/>
              <a:t> </a:t>
            </a:r>
            <a:r>
              <a:rPr lang="en-US" b="1" dirty="0">
                <a:solidFill>
                  <a:schemeClr val="accent1"/>
                </a:solidFill>
              </a:rPr>
              <a:t>Experiments</a:t>
            </a:r>
          </a:p>
        </p:txBody>
      </p:sp>
      <p:sp>
        <p:nvSpPr>
          <p:cNvPr id="5" name="Oval 4">
            <a:extLst>
              <a:ext uri="{FF2B5EF4-FFF2-40B4-BE49-F238E27FC236}">
                <a16:creationId xmlns:a16="http://schemas.microsoft.com/office/drawing/2014/main" id="{C10FF536-7FE0-4E2C-8F4A-A9E4EAE14BC5}"/>
              </a:ext>
            </a:extLst>
          </p:cNvPr>
          <p:cNvSpPr/>
          <p:nvPr/>
        </p:nvSpPr>
        <p:spPr>
          <a:xfrm>
            <a:off x="945716" y="3357758"/>
            <a:ext cx="2764912"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bservational</a:t>
            </a:r>
          </a:p>
          <a:p>
            <a:pPr algn="ctr">
              <a:lnSpc>
                <a:spcPct val="90000"/>
              </a:lnSpc>
              <a:spcBef>
                <a:spcPts val="600"/>
              </a:spcBef>
              <a:spcAft>
                <a:spcPts val="0"/>
              </a:spcAft>
            </a:pPr>
            <a:r>
              <a:rPr lang="en-US" sz="2000" dirty="0">
                <a:solidFill>
                  <a:schemeClr val="tx2"/>
                </a:solidFill>
                <a:latin typeface="+mn-lt"/>
              </a:rPr>
              <a:t>Study</a:t>
            </a:r>
          </a:p>
        </p:txBody>
      </p:sp>
      <p:sp>
        <p:nvSpPr>
          <p:cNvPr id="6" name="Oval 5">
            <a:extLst>
              <a:ext uri="{FF2B5EF4-FFF2-40B4-BE49-F238E27FC236}">
                <a16:creationId xmlns:a16="http://schemas.microsoft.com/office/drawing/2014/main" id="{EF6BB1B6-3440-4E16-AA74-7538562431A4}"/>
              </a:ext>
            </a:extLst>
          </p:cNvPr>
          <p:cNvSpPr/>
          <p:nvPr/>
        </p:nvSpPr>
        <p:spPr>
          <a:xfrm>
            <a:off x="4750705" y="3370284"/>
            <a:ext cx="2545705"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Experiments</a:t>
            </a:r>
          </a:p>
        </p:txBody>
      </p:sp>
      <p:sp>
        <p:nvSpPr>
          <p:cNvPr id="7" name="Rectangle: Rounded Corners 6">
            <a:extLst>
              <a:ext uri="{FF2B5EF4-FFF2-40B4-BE49-F238E27FC236}">
                <a16:creationId xmlns:a16="http://schemas.microsoft.com/office/drawing/2014/main" id="{BAAEBE95-2F1B-4168-94E4-96BB97737860}"/>
              </a:ext>
            </a:extLst>
          </p:cNvPr>
          <p:cNvSpPr/>
          <p:nvPr/>
        </p:nvSpPr>
        <p:spPr>
          <a:xfrm>
            <a:off x="3122112" y="1999624"/>
            <a:ext cx="1985376" cy="618316"/>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Statistical Studies</a:t>
            </a:r>
          </a:p>
        </p:txBody>
      </p:sp>
      <p:cxnSp>
        <p:nvCxnSpPr>
          <p:cNvPr id="9" name="Straight Arrow Connector 8">
            <a:extLst>
              <a:ext uri="{FF2B5EF4-FFF2-40B4-BE49-F238E27FC236}">
                <a16:creationId xmlns:a16="http://schemas.microsoft.com/office/drawing/2014/main" id="{C0ACEFDC-C19C-4513-8D70-A2B3D29D65B0}"/>
              </a:ext>
            </a:extLst>
          </p:cNvPr>
          <p:cNvCxnSpPr>
            <a:cxnSpLocks/>
            <a:endCxn id="5" idx="0"/>
          </p:cNvCxnSpPr>
          <p:nvPr/>
        </p:nvCxnSpPr>
        <p:spPr>
          <a:xfrm flipH="1">
            <a:off x="2328172" y="2624203"/>
            <a:ext cx="1786628" cy="73355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3CFE5AD-4E34-4C2A-9489-63A58828807D}"/>
              </a:ext>
            </a:extLst>
          </p:cNvPr>
          <p:cNvCxnSpPr>
            <a:stCxn id="7" idx="2"/>
            <a:endCxn id="6" idx="0"/>
          </p:cNvCxnSpPr>
          <p:nvPr/>
        </p:nvCxnSpPr>
        <p:spPr>
          <a:xfrm>
            <a:off x="4114800" y="2617940"/>
            <a:ext cx="1908758" cy="752344"/>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2465C70A-8818-4EE3-83A8-EC2EAA267F5D}"/>
                  </a:ext>
                </a:extLst>
              </p14:cNvPr>
              <p14:cNvContentPartPr/>
              <p14:nvPr/>
            </p14:nvContentPartPr>
            <p14:xfrm>
              <a:off x="1343160" y="423720"/>
              <a:ext cx="6710760" cy="1953000"/>
            </p14:xfrm>
          </p:contentPart>
        </mc:Choice>
        <mc:Fallback xmlns="">
          <p:pic>
            <p:nvPicPr>
              <p:cNvPr id="4" name="Ink 3">
                <a:extLst>
                  <a:ext uri="{FF2B5EF4-FFF2-40B4-BE49-F238E27FC236}">
                    <a16:creationId xmlns:a16="http://schemas.microsoft.com/office/drawing/2014/main" id="{2465C70A-8818-4EE3-83A8-EC2EAA267F5D}"/>
                  </a:ext>
                </a:extLst>
              </p:cNvPr>
              <p:cNvPicPr/>
              <p:nvPr/>
            </p:nvPicPr>
            <p:blipFill>
              <a:blip r:embed="rId4"/>
              <a:stretch>
                <a:fillRect/>
              </a:stretch>
            </p:blipFill>
            <p:spPr>
              <a:xfrm>
                <a:off x="1333800" y="414360"/>
                <a:ext cx="6729480" cy="1971720"/>
              </a:xfrm>
              <a:prstGeom prst="rect">
                <a:avLst/>
              </a:prstGeom>
            </p:spPr>
          </p:pic>
        </mc:Fallback>
      </mc:AlternateContent>
    </p:spTree>
    <p:extLst>
      <p:ext uri="{BB962C8B-B14F-4D97-AF65-F5344CB8AC3E}">
        <p14:creationId xmlns:p14="http://schemas.microsoft.com/office/powerpoint/2010/main" val="929397678"/>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CE8DB-7C7A-4DDC-A4AF-37EFDD4F3167}"/>
              </a:ext>
            </a:extLst>
          </p:cNvPr>
          <p:cNvSpPr>
            <a:spLocks noGrp="1"/>
          </p:cNvSpPr>
          <p:nvPr>
            <p:ph type="title"/>
          </p:nvPr>
        </p:nvSpPr>
        <p:spPr>
          <a:xfrm>
            <a:off x="1877" y="2286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pic>
        <p:nvPicPr>
          <p:cNvPr id="8" name="Picture 7">
            <a:extLst>
              <a:ext uri="{FF2B5EF4-FFF2-40B4-BE49-F238E27FC236}">
                <a16:creationId xmlns:a16="http://schemas.microsoft.com/office/drawing/2014/main" id="{7A762CF4-1B9D-4987-8C10-992B4959F552}"/>
              </a:ext>
            </a:extLst>
          </p:cNvPr>
          <p:cNvPicPr>
            <a:picLocks noChangeAspect="1"/>
          </p:cNvPicPr>
          <p:nvPr/>
        </p:nvPicPr>
        <p:blipFill>
          <a:blip r:embed="rId2"/>
          <a:stretch>
            <a:fillRect/>
          </a:stretch>
        </p:blipFill>
        <p:spPr>
          <a:xfrm>
            <a:off x="5747495" y="1347331"/>
            <a:ext cx="3396505" cy="2153694"/>
          </a:xfrm>
          <a:prstGeom prst="rect">
            <a:avLst/>
          </a:prstGeom>
        </p:spPr>
      </p:pic>
      <p:sp>
        <p:nvSpPr>
          <p:cNvPr id="10" name="Content Placeholder 9">
            <a:extLst>
              <a:ext uri="{FF2B5EF4-FFF2-40B4-BE49-F238E27FC236}">
                <a16:creationId xmlns:a16="http://schemas.microsoft.com/office/drawing/2014/main" id="{78499D2F-5C34-4281-8B7C-D04161065915}"/>
              </a:ext>
            </a:extLst>
          </p:cNvPr>
          <p:cNvSpPr>
            <a:spLocks noGrp="1"/>
          </p:cNvSpPr>
          <p:nvPr>
            <p:ph sz="half" idx="13"/>
          </p:nvPr>
        </p:nvSpPr>
        <p:spPr>
          <a:xfrm>
            <a:off x="-1" y="971550"/>
            <a:ext cx="5599135" cy="3200400"/>
          </a:xfrm>
        </p:spPr>
        <p:txBody>
          <a:bodyPr/>
          <a:lstStyle/>
          <a:p>
            <a:pPr marL="0" indent="0">
              <a:buNone/>
            </a:pPr>
            <a:r>
              <a:rPr lang="en-US" sz="1200" b="1" i="1" dirty="0">
                <a:solidFill>
                  <a:schemeClr val="bg2">
                    <a:lumMod val="50000"/>
                    <a:lumOff val="50000"/>
                  </a:schemeClr>
                </a:solidFill>
              </a:rPr>
              <a:t>Many students listen to music while studying. Does listening to music improve learning? Students in a statistics class decide to investigate this question. </a:t>
            </a:r>
          </a:p>
          <a:p>
            <a:pPr marL="0" indent="0">
              <a:buNone/>
            </a:pPr>
            <a:r>
              <a:rPr lang="en-US" sz="1200" b="1" i="1" dirty="0">
                <a:solidFill>
                  <a:schemeClr val="accent1"/>
                </a:solidFill>
              </a:rPr>
              <a:t>Study 1 : </a:t>
            </a:r>
          </a:p>
          <a:p>
            <a:pPr marL="0" indent="0">
              <a:buNone/>
            </a:pPr>
            <a:r>
              <a:rPr lang="en-US" sz="1200" i="1" dirty="0">
                <a:solidFill>
                  <a:schemeClr val="bg2">
                    <a:lumMod val="50000"/>
                    <a:lumOff val="50000"/>
                  </a:schemeClr>
                </a:solidFill>
              </a:rPr>
              <a:t>Do the majority of college students listen to music while they study? Do the majority of college students believe that listening to music improves their learning?</a:t>
            </a:r>
          </a:p>
          <a:p>
            <a:pPr marL="0" indent="0">
              <a:buNone/>
            </a:pPr>
            <a:r>
              <a:rPr lang="en-US" sz="1200" i="1" dirty="0">
                <a:solidFill>
                  <a:schemeClr val="accent1"/>
                </a:solidFill>
              </a:rPr>
              <a:t>Survey Questions : Sent to all the students</a:t>
            </a:r>
          </a:p>
          <a:p>
            <a:pPr marL="0" indent="0">
              <a:buNone/>
            </a:pPr>
            <a:r>
              <a:rPr lang="en-US" sz="1200" i="1" dirty="0">
                <a:solidFill>
                  <a:schemeClr val="bg2">
                    <a:lumMod val="50000"/>
                    <a:lumOff val="50000"/>
                  </a:schemeClr>
                </a:solidFill>
              </a:rPr>
              <a:t>Do you listen to music while you study?</a:t>
            </a:r>
          </a:p>
          <a:p>
            <a:pPr marL="0" indent="0">
              <a:buNone/>
            </a:pPr>
            <a:r>
              <a:rPr lang="en-US" sz="1200" i="1" dirty="0">
                <a:solidFill>
                  <a:schemeClr val="bg2">
                    <a:lumMod val="50000"/>
                    <a:lumOff val="50000"/>
                  </a:schemeClr>
                </a:solidFill>
              </a:rPr>
              <a:t>Do you think listening to music improves your concentration and memory?</a:t>
            </a:r>
          </a:p>
          <a:p>
            <a:pPr marL="0" indent="0">
              <a:buNone/>
            </a:pPr>
            <a:endParaRPr lang="en-US" sz="1200" b="1" i="1" dirty="0">
              <a:solidFill>
                <a:schemeClr val="bg2">
                  <a:lumMod val="50000"/>
                  <a:lumOff val="50000"/>
                </a:schemeClr>
              </a:solidFill>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5CD2900E-D0FE-4343-B1DC-C8ED9DCA023D}"/>
                  </a:ext>
                </a:extLst>
              </p14:cNvPr>
              <p14:cNvContentPartPr/>
              <p14:nvPr/>
            </p14:nvContentPartPr>
            <p14:xfrm>
              <a:off x="28440" y="928800"/>
              <a:ext cx="8934840" cy="3624480"/>
            </p14:xfrm>
          </p:contentPart>
        </mc:Choice>
        <mc:Fallback xmlns="">
          <p:pic>
            <p:nvPicPr>
              <p:cNvPr id="3" name="Ink 2">
                <a:extLst>
                  <a:ext uri="{FF2B5EF4-FFF2-40B4-BE49-F238E27FC236}">
                    <a16:creationId xmlns:a16="http://schemas.microsoft.com/office/drawing/2014/main" id="{5CD2900E-D0FE-4343-B1DC-C8ED9DCA023D}"/>
                  </a:ext>
                </a:extLst>
              </p:cNvPr>
              <p:cNvPicPr/>
              <p:nvPr/>
            </p:nvPicPr>
            <p:blipFill>
              <a:blip r:embed="rId4"/>
              <a:stretch>
                <a:fillRect/>
              </a:stretch>
            </p:blipFill>
            <p:spPr>
              <a:xfrm>
                <a:off x="19080" y="919440"/>
                <a:ext cx="8953560" cy="3643200"/>
              </a:xfrm>
              <a:prstGeom prst="rect">
                <a:avLst/>
              </a:prstGeom>
            </p:spPr>
          </p:pic>
        </mc:Fallback>
      </mc:AlternateContent>
    </p:spTree>
    <p:extLst>
      <p:ext uri="{BB962C8B-B14F-4D97-AF65-F5344CB8AC3E}">
        <p14:creationId xmlns:p14="http://schemas.microsoft.com/office/powerpoint/2010/main" val="647538906"/>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18BCBB9-C3AC-40C5-95B3-3E911B1A5E73}"/>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8" name="TextBox 7">
            <a:extLst>
              <a:ext uri="{FF2B5EF4-FFF2-40B4-BE49-F238E27FC236}">
                <a16:creationId xmlns:a16="http://schemas.microsoft.com/office/drawing/2014/main" id="{39BACF91-6D93-4CB5-9A9C-CEEF211954A4}"/>
              </a:ext>
            </a:extLst>
          </p:cNvPr>
          <p:cNvSpPr txBox="1"/>
          <p:nvPr/>
        </p:nvSpPr>
        <p:spPr>
          <a:xfrm>
            <a:off x="-68894" y="1190466"/>
            <a:ext cx="5749447" cy="2462213"/>
          </a:xfrm>
          <a:prstGeom prst="rect">
            <a:avLst/>
          </a:prstGeom>
          <a:noFill/>
        </p:spPr>
        <p:txBody>
          <a:bodyPr wrap="square" rtlCol="0">
            <a:spAutoFit/>
          </a:bodyPr>
          <a:lstStyle/>
          <a:p>
            <a:pPr marL="0" indent="0">
              <a:buNone/>
            </a:pPr>
            <a:r>
              <a:rPr lang="en-US" sz="1400" b="1" i="1" dirty="0">
                <a:solidFill>
                  <a:schemeClr val="accent1"/>
                </a:solidFill>
              </a:rPr>
              <a:t>Study 2 : </a:t>
            </a:r>
          </a:p>
          <a:p>
            <a:pPr marL="0" indent="0">
              <a:buNone/>
            </a:pPr>
            <a:r>
              <a:rPr lang="en-US" sz="1400" i="1" dirty="0">
                <a:solidFill>
                  <a:schemeClr val="bg2">
                    <a:lumMod val="50000"/>
                    <a:lumOff val="50000"/>
                  </a:schemeClr>
                </a:solidFill>
              </a:rPr>
              <a:t>When we compare students who study with music to students who study in a quiet environment, which group gives higher ratings for understanding what they studied?</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divides the class into two groups: (1) those who listen to music when they study and (2) those who do not listen to music when they study. The students keep a journal for a week. Each time they study, they record the following information:</a:t>
            </a:r>
          </a:p>
          <a:p>
            <a:pPr marL="0" indent="0">
              <a:buNone/>
            </a:pPr>
            <a:endParaRPr lang="en-US" sz="1000" dirty="0">
              <a:solidFill>
                <a:schemeClr val="bg2">
                  <a:lumMod val="50000"/>
                  <a:lumOff val="50000"/>
                </a:schemeClr>
              </a:solidFill>
              <a:latin typeface="+mn-lt"/>
            </a:endParaRPr>
          </a:p>
          <a:p>
            <a:pPr algn="l" fontAlgn="base">
              <a:buFont typeface="Arial" panose="020B0604020202020204" pitchFamily="34" charset="0"/>
              <a:buChar char="•"/>
            </a:pPr>
            <a:r>
              <a:rPr lang="en-US" sz="1000" dirty="0">
                <a:solidFill>
                  <a:schemeClr val="bg2">
                    <a:lumMod val="50000"/>
                    <a:lumOff val="50000"/>
                  </a:schemeClr>
                </a:solidFill>
                <a:latin typeface="+mn-lt"/>
              </a:rPr>
              <a:t> Length of study session (in minutes)</a:t>
            </a:r>
          </a:p>
          <a:p>
            <a:pPr algn="l" fontAlgn="base">
              <a:buFont typeface="Arial" panose="020B0604020202020204" pitchFamily="34" charset="0"/>
              <a:buChar char="•"/>
            </a:pPr>
            <a:r>
              <a:rPr lang="en-US" sz="1000" dirty="0">
                <a:solidFill>
                  <a:schemeClr val="bg2">
                    <a:lumMod val="50000"/>
                    <a:lumOff val="50000"/>
                  </a:schemeClr>
                </a:solidFill>
                <a:latin typeface="+mn-lt"/>
              </a:rPr>
              <a:t> A rating of how well they understood what they studied, on a scale of 1–10: 1 = no understanding,    10 = excellent understanding.</a:t>
            </a:r>
          </a:p>
          <a:p>
            <a:pPr marL="0" indent="0">
              <a:buNone/>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22D22767-FE1F-4CAD-8B74-C0E62202ACDE}"/>
              </a:ext>
            </a:extLst>
          </p:cNvPr>
          <p:cNvPicPr>
            <a:picLocks noChangeAspect="1"/>
          </p:cNvPicPr>
          <p:nvPr/>
        </p:nvPicPr>
        <p:blipFill>
          <a:blip r:embed="rId2"/>
          <a:stretch>
            <a:fillRect/>
          </a:stretch>
        </p:blipFill>
        <p:spPr>
          <a:xfrm>
            <a:off x="5680553" y="1524296"/>
            <a:ext cx="3328167" cy="209490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F4D05268-464F-49E1-9A01-C420CC100412}"/>
                  </a:ext>
                </a:extLst>
              </p14:cNvPr>
              <p14:cNvContentPartPr/>
              <p14:nvPr/>
            </p14:nvContentPartPr>
            <p14:xfrm>
              <a:off x="142920" y="390600"/>
              <a:ext cx="8015760" cy="4748400"/>
            </p14:xfrm>
          </p:contentPart>
        </mc:Choice>
        <mc:Fallback xmlns="">
          <p:pic>
            <p:nvPicPr>
              <p:cNvPr id="2" name="Ink 1">
                <a:extLst>
                  <a:ext uri="{FF2B5EF4-FFF2-40B4-BE49-F238E27FC236}">
                    <a16:creationId xmlns:a16="http://schemas.microsoft.com/office/drawing/2014/main" id="{F4D05268-464F-49E1-9A01-C420CC100412}"/>
                  </a:ext>
                </a:extLst>
              </p:cNvPr>
              <p:cNvPicPr/>
              <p:nvPr/>
            </p:nvPicPr>
            <p:blipFill>
              <a:blip r:embed="rId4"/>
              <a:stretch>
                <a:fillRect/>
              </a:stretch>
            </p:blipFill>
            <p:spPr>
              <a:xfrm>
                <a:off x="133560" y="381240"/>
                <a:ext cx="8034480" cy="4767120"/>
              </a:xfrm>
              <a:prstGeom prst="rect">
                <a:avLst/>
              </a:prstGeom>
            </p:spPr>
          </p:pic>
        </mc:Fallback>
      </mc:AlternateContent>
    </p:spTree>
    <p:extLst>
      <p:ext uri="{BB962C8B-B14F-4D97-AF65-F5344CB8AC3E}">
        <p14:creationId xmlns:p14="http://schemas.microsoft.com/office/powerpoint/2010/main" val="1317899603"/>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392B1B-F39D-4768-935E-054CB31A20FF}"/>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6" name="TextBox 5">
            <a:extLst>
              <a:ext uri="{FF2B5EF4-FFF2-40B4-BE49-F238E27FC236}">
                <a16:creationId xmlns:a16="http://schemas.microsoft.com/office/drawing/2014/main" id="{DCB63690-E772-4BAF-822C-38DD0D858D8E}"/>
              </a:ext>
            </a:extLst>
          </p:cNvPr>
          <p:cNvSpPr txBox="1"/>
          <p:nvPr/>
        </p:nvSpPr>
        <p:spPr>
          <a:xfrm>
            <a:off x="43185" y="1704742"/>
            <a:ext cx="5966726" cy="1631216"/>
          </a:xfrm>
          <a:prstGeom prst="rect">
            <a:avLst/>
          </a:prstGeom>
          <a:noFill/>
        </p:spPr>
        <p:txBody>
          <a:bodyPr wrap="square" rtlCol="0">
            <a:spAutoFit/>
          </a:bodyPr>
          <a:lstStyle/>
          <a:p>
            <a:pPr marL="0" indent="0">
              <a:buNone/>
            </a:pPr>
            <a:r>
              <a:rPr lang="en-US" sz="1400" b="1" i="1" dirty="0">
                <a:solidFill>
                  <a:schemeClr val="accent1"/>
                </a:solidFill>
              </a:rPr>
              <a:t>Study 3 : </a:t>
            </a:r>
          </a:p>
          <a:p>
            <a:pPr marL="0" indent="0">
              <a:buNone/>
            </a:pPr>
            <a:r>
              <a:rPr lang="en-US" sz="1400" i="1" dirty="0">
                <a:solidFill>
                  <a:schemeClr val="bg2">
                    <a:lumMod val="50000"/>
                    <a:lumOff val="50000"/>
                  </a:schemeClr>
                </a:solidFill>
              </a:rPr>
              <a:t>Does listening to music improve students’ ability to quickly identify information?</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uses word-search puzzles. She divides the class into two groups. Students on one side of the room do a word puzzle for 3 minutes while listening to music on an iPod. Students on the other side of the room do a word puzzle for 3 minutes without music. The instructor calculates the average number of words found by each group.</a:t>
            </a:r>
          </a:p>
        </p:txBody>
      </p:sp>
      <p:pic>
        <p:nvPicPr>
          <p:cNvPr id="7" name="Picture 6">
            <a:extLst>
              <a:ext uri="{FF2B5EF4-FFF2-40B4-BE49-F238E27FC236}">
                <a16:creationId xmlns:a16="http://schemas.microsoft.com/office/drawing/2014/main" id="{7313401C-CCD6-4372-B248-82C8D3522CA6}"/>
              </a:ext>
            </a:extLst>
          </p:cNvPr>
          <p:cNvPicPr>
            <a:picLocks noChangeAspect="1"/>
          </p:cNvPicPr>
          <p:nvPr/>
        </p:nvPicPr>
        <p:blipFill>
          <a:blip r:embed="rId2"/>
          <a:stretch>
            <a:fillRect/>
          </a:stretch>
        </p:blipFill>
        <p:spPr>
          <a:xfrm>
            <a:off x="6009911" y="1524296"/>
            <a:ext cx="2998809" cy="209490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7E962D76-04DB-4508-95C6-A063498A7F5B}"/>
                  </a:ext>
                </a:extLst>
              </p14:cNvPr>
              <p14:cNvContentPartPr/>
              <p14:nvPr/>
            </p14:nvContentPartPr>
            <p14:xfrm>
              <a:off x="0" y="81000"/>
              <a:ext cx="9054000" cy="4915080"/>
            </p14:xfrm>
          </p:contentPart>
        </mc:Choice>
        <mc:Fallback xmlns="">
          <p:pic>
            <p:nvPicPr>
              <p:cNvPr id="2" name="Ink 1">
                <a:extLst>
                  <a:ext uri="{FF2B5EF4-FFF2-40B4-BE49-F238E27FC236}">
                    <a16:creationId xmlns:a16="http://schemas.microsoft.com/office/drawing/2014/main" id="{7E962D76-04DB-4508-95C6-A063498A7F5B}"/>
                  </a:ext>
                </a:extLst>
              </p:cNvPr>
              <p:cNvPicPr/>
              <p:nvPr/>
            </p:nvPicPr>
            <p:blipFill>
              <a:blip r:embed="rId4"/>
              <a:stretch>
                <a:fillRect/>
              </a:stretch>
            </p:blipFill>
            <p:spPr>
              <a:xfrm>
                <a:off x="-9360" y="71640"/>
                <a:ext cx="9072720" cy="4933800"/>
              </a:xfrm>
              <a:prstGeom prst="rect">
                <a:avLst/>
              </a:prstGeom>
            </p:spPr>
          </p:pic>
        </mc:Fallback>
      </mc:AlternateContent>
    </p:spTree>
    <p:extLst>
      <p:ext uri="{BB962C8B-B14F-4D97-AF65-F5344CB8AC3E}">
        <p14:creationId xmlns:p14="http://schemas.microsoft.com/office/powerpoint/2010/main" val="4271565730"/>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93A03-5898-4C6C-BF44-6F13B753C34B}"/>
              </a:ext>
            </a:extLst>
          </p:cNvPr>
          <p:cNvSpPr>
            <a:spLocks noGrp="1"/>
          </p:cNvSpPr>
          <p:nvPr>
            <p:ph type="title"/>
          </p:nvPr>
        </p:nvSpPr>
        <p:spPr>
          <a:xfrm>
            <a:off x="137160" y="22860"/>
            <a:ext cx="7955280" cy="640080"/>
          </a:xfrm>
        </p:spPr>
        <p:txBody>
          <a:bodyPr/>
          <a:lstStyle/>
          <a:p>
            <a:r>
              <a:rPr lang="en-US" dirty="0"/>
              <a:t>Control Experiment – drug test example</a:t>
            </a:r>
          </a:p>
        </p:txBody>
      </p:sp>
      <p:sp>
        <p:nvSpPr>
          <p:cNvPr id="3" name="Content Placeholder 2">
            <a:extLst>
              <a:ext uri="{FF2B5EF4-FFF2-40B4-BE49-F238E27FC236}">
                <a16:creationId xmlns:a16="http://schemas.microsoft.com/office/drawing/2014/main" id="{B284F41B-5C6B-486A-A6B7-4AF38B491853}"/>
              </a:ext>
            </a:extLst>
          </p:cNvPr>
          <p:cNvSpPr>
            <a:spLocks noGrp="1"/>
          </p:cNvSpPr>
          <p:nvPr>
            <p:ph sz="half" idx="13"/>
          </p:nvPr>
        </p:nvSpPr>
        <p:spPr>
          <a:xfrm>
            <a:off x="230478" y="716489"/>
            <a:ext cx="7955279" cy="3200400"/>
          </a:xfrm>
        </p:spPr>
        <p:txBody>
          <a:bodyPr/>
          <a:lstStyle/>
          <a:p>
            <a:r>
              <a:rPr lang="en-US" dirty="0">
                <a:solidFill>
                  <a:schemeClr val="bg2">
                    <a:lumMod val="50000"/>
                    <a:lumOff val="50000"/>
                  </a:schemeClr>
                </a:solidFill>
              </a:rPr>
              <a:t>If we are studying the effectiveness of a pill, we should also compare it to a placebo. It is often the case that the act of receiving a treatment that a person believe will be beneficial with itself result in a beneficial effect. Regardless of whether the treatment is otherwise effective</a:t>
            </a:r>
          </a:p>
        </p:txBody>
      </p:sp>
      <p:pic>
        <p:nvPicPr>
          <p:cNvPr id="5" name="Picture 4" descr="A picture containing table, indoor, wooden, slice&#10;&#10;Description automatically generated">
            <a:extLst>
              <a:ext uri="{FF2B5EF4-FFF2-40B4-BE49-F238E27FC236}">
                <a16:creationId xmlns:a16="http://schemas.microsoft.com/office/drawing/2014/main" id="{2ABCDDB0-5640-4524-AB37-630EFD094CB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194782" y="1912562"/>
            <a:ext cx="3834432" cy="2156868"/>
          </a:xfrm>
          <a:prstGeom prst="rect">
            <a:avLst/>
          </a:prstGeom>
        </p:spPr>
      </p:pic>
      <p:sp>
        <p:nvSpPr>
          <p:cNvPr id="6" name="TextBox 5">
            <a:extLst>
              <a:ext uri="{FF2B5EF4-FFF2-40B4-BE49-F238E27FC236}">
                <a16:creationId xmlns:a16="http://schemas.microsoft.com/office/drawing/2014/main" id="{DCF10603-437E-4C7A-980F-322B67C14954}"/>
              </a:ext>
            </a:extLst>
          </p:cNvPr>
          <p:cNvSpPr txBox="1"/>
          <p:nvPr/>
        </p:nvSpPr>
        <p:spPr>
          <a:xfrm>
            <a:off x="4097350" y="5245622"/>
            <a:ext cx="5046650" cy="230832"/>
          </a:xfrm>
          <a:prstGeom prst="rect">
            <a:avLst/>
          </a:prstGeom>
          <a:noFill/>
        </p:spPr>
        <p:txBody>
          <a:bodyPr wrap="square" rtlCol="0">
            <a:spAutoFit/>
          </a:bodyPr>
          <a:lstStyle/>
          <a:p>
            <a:r>
              <a:rPr lang="en-US" sz="900">
                <a:hlinkClick r:id="rId3" tooltip="http://capitalcurrent.ca/opioid-overdoses-dwarf-covid-19/"/>
              </a:rPr>
              <a:t>This Photo</a:t>
            </a:r>
            <a:r>
              <a:rPr lang="en-US" sz="900"/>
              <a:t> by Unknown Author is licensed under </a:t>
            </a:r>
            <a:r>
              <a:rPr lang="en-US" sz="900">
                <a:hlinkClick r:id="rId4" tooltip="https://creativecommons.org/licenses/by-nc-nd/3.0/"/>
              </a:rPr>
              <a:t>CC BY-NC-ND</a:t>
            </a:r>
            <a:endParaRPr lang="en-US" sz="900"/>
          </a:p>
        </p:txBody>
      </p:sp>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3324122F-D967-44A6-8164-7432BB77C408}"/>
                  </a:ext>
                </a:extLst>
              </p14:cNvPr>
              <p14:cNvContentPartPr/>
              <p14:nvPr/>
            </p14:nvContentPartPr>
            <p14:xfrm>
              <a:off x="66600" y="57240"/>
              <a:ext cx="8868240" cy="5072400"/>
            </p14:xfrm>
          </p:contentPart>
        </mc:Choice>
        <mc:Fallback xmlns="">
          <p:pic>
            <p:nvPicPr>
              <p:cNvPr id="4" name="Ink 3">
                <a:extLst>
                  <a:ext uri="{FF2B5EF4-FFF2-40B4-BE49-F238E27FC236}">
                    <a16:creationId xmlns:a16="http://schemas.microsoft.com/office/drawing/2014/main" id="{3324122F-D967-44A6-8164-7432BB77C408}"/>
                  </a:ext>
                </a:extLst>
              </p:cNvPr>
              <p:cNvPicPr/>
              <p:nvPr/>
            </p:nvPicPr>
            <p:blipFill>
              <a:blip r:embed="rId6"/>
              <a:stretch>
                <a:fillRect/>
              </a:stretch>
            </p:blipFill>
            <p:spPr>
              <a:xfrm>
                <a:off x="57240" y="47880"/>
                <a:ext cx="8886960" cy="5091120"/>
              </a:xfrm>
              <a:prstGeom prst="rect">
                <a:avLst/>
              </a:prstGeom>
            </p:spPr>
          </p:pic>
        </mc:Fallback>
      </mc:AlternateContent>
    </p:spTree>
    <p:extLst>
      <p:ext uri="{BB962C8B-B14F-4D97-AF65-F5344CB8AC3E}">
        <p14:creationId xmlns:p14="http://schemas.microsoft.com/office/powerpoint/2010/main" val="4145885228"/>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10BFA-B9A1-46D8-8A38-A0F4A1088A5A}"/>
              </a:ext>
            </a:extLst>
          </p:cNvPr>
          <p:cNvSpPr>
            <a:spLocks noGrp="1"/>
          </p:cNvSpPr>
          <p:nvPr>
            <p:ph type="title"/>
          </p:nvPr>
        </p:nvSpPr>
        <p:spPr>
          <a:xfrm>
            <a:off x="67639" y="109048"/>
            <a:ext cx="7955280" cy="640080"/>
          </a:xfrm>
        </p:spPr>
        <p:txBody>
          <a:bodyPr/>
          <a:lstStyle/>
          <a:p>
            <a:r>
              <a:rPr lang="en-US" dirty="0"/>
              <a:t>Controlled Experiment</a:t>
            </a:r>
          </a:p>
        </p:txBody>
      </p:sp>
      <p:sp>
        <p:nvSpPr>
          <p:cNvPr id="3" name="Content Placeholder 2">
            <a:extLst>
              <a:ext uri="{FF2B5EF4-FFF2-40B4-BE49-F238E27FC236}">
                <a16:creationId xmlns:a16="http://schemas.microsoft.com/office/drawing/2014/main" id="{8DB84CCF-42DD-4079-ADB2-9916B5BABF84}"/>
              </a:ext>
            </a:extLst>
          </p:cNvPr>
          <p:cNvSpPr>
            <a:spLocks noGrp="1"/>
          </p:cNvSpPr>
          <p:nvPr>
            <p:ph sz="half" idx="13"/>
          </p:nvPr>
        </p:nvSpPr>
        <p:spPr>
          <a:xfrm>
            <a:off x="67639" y="879327"/>
            <a:ext cx="8518951" cy="3200400"/>
          </a:xfrm>
        </p:spPr>
        <p:txBody>
          <a:bodyPr/>
          <a:lstStyle/>
          <a:p>
            <a:r>
              <a:rPr lang="en-US" dirty="0">
                <a:solidFill>
                  <a:schemeClr val="bg2">
                    <a:lumMod val="50000"/>
                    <a:lumOff val="50000"/>
                  </a:schemeClr>
                </a:solidFill>
              </a:rPr>
              <a:t>In a controlled experiment, we can be reasonably comfortable inferring that the treatment applied to one group but not to the other caused whatever difference we observe between the two</a:t>
            </a:r>
          </a:p>
          <a:p>
            <a:r>
              <a:rPr lang="en-US" dirty="0">
                <a:solidFill>
                  <a:schemeClr val="bg2">
                    <a:lumMod val="50000"/>
                    <a:lumOff val="50000"/>
                  </a:schemeClr>
                </a:solidFill>
              </a:rPr>
              <a:t>But other we must remember that correlation does not imply causation </a:t>
            </a:r>
          </a:p>
          <a:p>
            <a:r>
              <a:rPr lang="en-US" dirty="0">
                <a:solidFill>
                  <a:schemeClr val="bg2">
                    <a:lumMod val="50000"/>
                    <a:lumOff val="50000"/>
                  </a:schemeClr>
                </a:solidFill>
              </a:rPr>
              <a:t>Variables are correlated if they “move together”, </a:t>
            </a:r>
            <a:r>
              <a:rPr lang="en-US" dirty="0" err="1">
                <a:solidFill>
                  <a:schemeClr val="bg2">
                    <a:lumMod val="50000"/>
                    <a:lumOff val="50000"/>
                  </a:schemeClr>
                </a:solidFill>
              </a:rPr>
              <a:t>i.e</a:t>
            </a:r>
            <a:r>
              <a:rPr lang="en-US" dirty="0">
                <a:solidFill>
                  <a:schemeClr val="bg2">
                    <a:lumMod val="50000"/>
                    <a:lumOff val="50000"/>
                  </a:schemeClr>
                </a:solidFill>
              </a:rPr>
              <a:t> when one variable changes the other one trends to change as well</a:t>
            </a:r>
          </a:p>
          <a:p>
            <a:r>
              <a:rPr lang="en-US" b="1" dirty="0">
                <a:solidFill>
                  <a:schemeClr val="bg2">
                    <a:lumMod val="50000"/>
                    <a:lumOff val="50000"/>
                  </a:schemeClr>
                </a:solidFill>
              </a:rPr>
              <a:t>Ex : </a:t>
            </a:r>
          </a:p>
          <a:p>
            <a:pPr lvl="1"/>
            <a:r>
              <a:rPr lang="en-US" dirty="0">
                <a:solidFill>
                  <a:schemeClr val="bg2">
                    <a:lumMod val="50000"/>
                    <a:lumOff val="50000"/>
                  </a:schemeClr>
                </a:solidFill>
              </a:rPr>
              <a:t>Temp is related to the time of the day</a:t>
            </a:r>
          </a:p>
          <a:p>
            <a:pPr lvl="1"/>
            <a:r>
              <a:rPr lang="en-US" dirty="0">
                <a:solidFill>
                  <a:schemeClr val="bg2">
                    <a:lumMod val="50000"/>
                    <a:lumOff val="50000"/>
                  </a:schemeClr>
                </a:solidFill>
              </a:rPr>
              <a:t>Human height correlated to human weight</a:t>
            </a:r>
          </a:p>
        </p:txBody>
      </p:sp>
      <p:sp>
        <p:nvSpPr>
          <p:cNvPr id="5" name="TextBox 4">
            <a:extLst>
              <a:ext uri="{FF2B5EF4-FFF2-40B4-BE49-F238E27FC236}">
                <a16:creationId xmlns:a16="http://schemas.microsoft.com/office/drawing/2014/main" id="{5CEE9E77-FE13-4C40-8BC2-E1D5843FD82C}"/>
              </a:ext>
            </a:extLst>
          </p:cNvPr>
          <p:cNvSpPr txBox="1"/>
          <p:nvPr/>
        </p:nvSpPr>
        <p:spPr>
          <a:xfrm>
            <a:off x="67639" y="3341063"/>
            <a:ext cx="8832056"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mn-lt"/>
              </a:rPr>
              <a:t>When height increase human weight increase. When one variable change the other variable also changes. It can increase or decrease. Hence, I am using the word changes, this is called as correlation</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9E8B0A43-D66E-473D-A9D9-8FCF098D94AB}"/>
                  </a:ext>
                </a:extLst>
              </p14:cNvPr>
              <p14:cNvContentPartPr/>
              <p14:nvPr/>
            </p14:nvContentPartPr>
            <p14:xfrm>
              <a:off x="157320" y="57240"/>
              <a:ext cx="8982360" cy="5062680"/>
            </p14:xfrm>
          </p:contentPart>
        </mc:Choice>
        <mc:Fallback xmlns="">
          <p:pic>
            <p:nvPicPr>
              <p:cNvPr id="4" name="Ink 3">
                <a:extLst>
                  <a:ext uri="{FF2B5EF4-FFF2-40B4-BE49-F238E27FC236}">
                    <a16:creationId xmlns:a16="http://schemas.microsoft.com/office/drawing/2014/main" id="{9E8B0A43-D66E-473D-A9D9-8FCF098D94AB}"/>
                  </a:ext>
                </a:extLst>
              </p:cNvPr>
              <p:cNvPicPr/>
              <p:nvPr/>
            </p:nvPicPr>
            <p:blipFill>
              <a:blip r:embed="rId3"/>
              <a:stretch>
                <a:fillRect/>
              </a:stretch>
            </p:blipFill>
            <p:spPr>
              <a:xfrm>
                <a:off x="147960" y="47880"/>
                <a:ext cx="9001080" cy="5081400"/>
              </a:xfrm>
              <a:prstGeom prst="rect">
                <a:avLst/>
              </a:prstGeom>
            </p:spPr>
          </p:pic>
        </mc:Fallback>
      </mc:AlternateContent>
    </p:spTree>
    <p:extLst>
      <p:ext uri="{BB962C8B-B14F-4D97-AF65-F5344CB8AC3E}">
        <p14:creationId xmlns:p14="http://schemas.microsoft.com/office/powerpoint/2010/main" val="2719943119"/>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40426-E2C8-4003-8D16-72F1439DEA50}"/>
              </a:ext>
            </a:extLst>
          </p:cNvPr>
          <p:cNvSpPr>
            <a:spLocks noGrp="1"/>
          </p:cNvSpPr>
          <p:nvPr>
            <p:ph type="title"/>
          </p:nvPr>
        </p:nvSpPr>
        <p:spPr>
          <a:xfrm>
            <a:off x="137160" y="104362"/>
            <a:ext cx="7955280" cy="640080"/>
          </a:xfrm>
        </p:spPr>
        <p:txBody>
          <a:bodyPr/>
          <a:lstStyle/>
          <a:p>
            <a:r>
              <a:rPr lang="en-US" dirty="0"/>
              <a:t>Correlation and Causation</a:t>
            </a:r>
          </a:p>
        </p:txBody>
      </p:sp>
      <p:sp>
        <p:nvSpPr>
          <p:cNvPr id="3" name="Content Placeholder 2">
            <a:extLst>
              <a:ext uri="{FF2B5EF4-FFF2-40B4-BE49-F238E27FC236}">
                <a16:creationId xmlns:a16="http://schemas.microsoft.com/office/drawing/2014/main" id="{56A6245D-E2DD-4B22-B2B2-507AB068A965}"/>
              </a:ext>
            </a:extLst>
          </p:cNvPr>
          <p:cNvSpPr>
            <a:spLocks noGrp="1"/>
          </p:cNvSpPr>
          <p:nvPr>
            <p:ph sz="half" idx="13"/>
          </p:nvPr>
        </p:nvSpPr>
        <p:spPr>
          <a:xfrm>
            <a:off x="137160" y="811006"/>
            <a:ext cx="8234486" cy="3200400"/>
          </a:xfrm>
        </p:spPr>
        <p:txBody>
          <a:bodyPr/>
          <a:lstStyle/>
          <a:p>
            <a:r>
              <a:rPr lang="en-US" dirty="0">
                <a:solidFill>
                  <a:schemeClr val="bg2">
                    <a:lumMod val="50000"/>
                    <a:lumOff val="50000"/>
                  </a:schemeClr>
                </a:solidFill>
              </a:rPr>
              <a:t>If changing one variable caused a change in another, they will be correlated. But the converse is not necessarily true</a:t>
            </a:r>
          </a:p>
          <a:p>
            <a:r>
              <a:rPr lang="en-US" dirty="0">
                <a:solidFill>
                  <a:schemeClr val="bg2">
                    <a:lumMod val="50000"/>
                    <a:lumOff val="50000"/>
                  </a:schemeClr>
                </a:solidFill>
              </a:rPr>
              <a:t>If two variable are correlated, it is not necessarily the case that one has caused the other to change</a:t>
            </a:r>
          </a:p>
          <a:p>
            <a:r>
              <a:rPr lang="en-US" dirty="0">
                <a:solidFill>
                  <a:schemeClr val="bg2">
                    <a:lumMod val="50000"/>
                    <a:lumOff val="50000"/>
                  </a:schemeClr>
                </a:solidFill>
              </a:rPr>
              <a:t>For instance, Marriage &amp; Income</a:t>
            </a:r>
          </a:p>
          <a:p>
            <a:pPr lvl="1"/>
            <a:r>
              <a:rPr lang="en-US" dirty="0">
                <a:solidFill>
                  <a:schemeClr val="bg2">
                    <a:lumMod val="50000"/>
                    <a:lumOff val="50000"/>
                  </a:schemeClr>
                </a:solidFill>
              </a:rPr>
              <a:t>It is said that people who are married make more money, But is it not true that more money can get people married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020CC1E2-F53B-4E13-9853-9393B69C3E32}"/>
                  </a:ext>
                </a:extLst>
              </p14:cNvPr>
              <p14:cNvContentPartPr/>
              <p14:nvPr/>
            </p14:nvContentPartPr>
            <p14:xfrm>
              <a:off x="181080" y="19080"/>
              <a:ext cx="8958600" cy="4848480"/>
            </p14:xfrm>
          </p:contentPart>
        </mc:Choice>
        <mc:Fallback xmlns="">
          <p:pic>
            <p:nvPicPr>
              <p:cNvPr id="4" name="Ink 3">
                <a:extLst>
                  <a:ext uri="{FF2B5EF4-FFF2-40B4-BE49-F238E27FC236}">
                    <a16:creationId xmlns:a16="http://schemas.microsoft.com/office/drawing/2014/main" id="{020CC1E2-F53B-4E13-9853-9393B69C3E32}"/>
                  </a:ext>
                </a:extLst>
              </p:cNvPr>
              <p:cNvPicPr/>
              <p:nvPr/>
            </p:nvPicPr>
            <p:blipFill>
              <a:blip r:embed="rId3"/>
              <a:stretch>
                <a:fillRect/>
              </a:stretch>
            </p:blipFill>
            <p:spPr>
              <a:xfrm>
                <a:off x="171720" y="9720"/>
                <a:ext cx="8977320" cy="4867200"/>
              </a:xfrm>
              <a:prstGeom prst="rect">
                <a:avLst/>
              </a:prstGeom>
            </p:spPr>
          </p:pic>
        </mc:Fallback>
      </mc:AlternateContent>
    </p:spTree>
    <p:extLst>
      <p:ext uri="{BB962C8B-B14F-4D97-AF65-F5344CB8AC3E}">
        <p14:creationId xmlns:p14="http://schemas.microsoft.com/office/powerpoint/2010/main" val="3561234959"/>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C837C-ACCC-4FC8-BB8D-6A764353E397}"/>
              </a:ext>
            </a:extLst>
          </p:cNvPr>
          <p:cNvSpPr>
            <a:spLocks noGrp="1"/>
          </p:cNvSpPr>
          <p:nvPr>
            <p:ph type="title"/>
          </p:nvPr>
        </p:nvSpPr>
        <p:spPr>
          <a:xfrm>
            <a:off x="0" y="0"/>
            <a:ext cx="7955280" cy="640080"/>
          </a:xfrm>
        </p:spPr>
        <p:txBody>
          <a:bodyPr/>
          <a:lstStyle/>
          <a:p>
            <a:r>
              <a:rPr lang="en-US" dirty="0"/>
              <a:t>Confounding Variable</a:t>
            </a:r>
          </a:p>
        </p:txBody>
      </p:sp>
      <p:sp>
        <p:nvSpPr>
          <p:cNvPr id="3" name="Content Placeholder 2">
            <a:extLst>
              <a:ext uri="{FF2B5EF4-FFF2-40B4-BE49-F238E27FC236}">
                <a16:creationId xmlns:a16="http://schemas.microsoft.com/office/drawing/2014/main" id="{3E01CF73-0B6D-4BB3-8A14-4D46D9C0DF3D}"/>
              </a:ext>
            </a:extLst>
          </p:cNvPr>
          <p:cNvSpPr>
            <a:spLocks noGrp="1"/>
          </p:cNvSpPr>
          <p:nvPr>
            <p:ph sz="half" idx="13"/>
          </p:nvPr>
        </p:nvSpPr>
        <p:spPr>
          <a:xfrm>
            <a:off x="137160" y="640080"/>
            <a:ext cx="8418064" cy="1600549"/>
          </a:xfrm>
        </p:spPr>
        <p:txBody>
          <a:bodyPr>
            <a:normAutofit/>
          </a:bodyPr>
          <a:lstStyle/>
          <a:p>
            <a:r>
              <a:rPr lang="en-US" sz="1200" kern="1200" dirty="0">
                <a:solidFill>
                  <a:schemeClr val="bg2">
                    <a:lumMod val="50000"/>
                    <a:lumOff val="50000"/>
                  </a:schemeClr>
                </a:solidFill>
                <a:latin typeface="+mn-lt"/>
                <a:ea typeface="+mn-ea"/>
                <a:cs typeface="+mn-cs"/>
              </a:rPr>
              <a:t>Confounding variables (a.k.a. confounders or confounding factors) are a type of extraneous variable that are related to a study’s independent and dependent variables. A variable must meet two conditions to be a confounder:</a:t>
            </a:r>
          </a:p>
          <a:p>
            <a:pPr lvl="1"/>
            <a:r>
              <a:rPr lang="en-US" kern="1200" dirty="0">
                <a:solidFill>
                  <a:schemeClr val="bg2">
                    <a:lumMod val="50000"/>
                    <a:lumOff val="50000"/>
                  </a:schemeClr>
                </a:solidFill>
                <a:latin typeface="+mn-lt"/>
                <a:ea typeface="+mn-ea"/>
                <a:cs typeface="+mn-cs"/>
              </a:rPr>
              <a:t>It must be correlated with the independent variable. This may be a causal relationship, but it does not have to be.</a:t>
            </a:r>
          </a:p>
          <a:p>
            <a:pPr lvl="1"/>
            <a:r>
              <a:rPr lang="en-US" kern="1200" dirty="0">
                <a:solidFill>
                  <a:schemeClr val="bg2">
                    <a:lumMod val="50000"/>
                    <a:lumOff val="50000"/>
                  </a:schemeClr>
                </a:solidFill>
                <a:latin typeface="+mn-lt"/>
                <a:ea typeface="+mn-ea"/>
                <a:cs typeface="+mn-cs"/>
              </a:rPr>
              <a:t>It must be causally related to the dependent variable.</a:t>
            </a:r>
          </a:p>
          <a:p>
            <a:r>
              <a:rPr lang="en-US" sz="1200" kern="1200" dirty="0">
                <a:solidFill>
                  <a:schemeClr val="bg2">
                    <a:lumMod val="50000"/>
                    <a:lumOff val="50000"/>
                  </a:schemeClr>
                </a:solidFill>
                <a:latin typeface="+mn-lt"/>
                <a:ea typeface="+mn-ea"/>
                <a:cs typeface="+mn-cs"/>
              </a:rPr>
              <a:t>A variable that hides the true effect of another variable in your experiment. This can happen when another variable is closely related to a variable you are interested in, but you haven’t controlled it in your experiment.</a:t>
            </a:r>
          </a:p>
        </p:txBody>
      </p:sp>
      <p:sp>
        <p:nvSpPr>
          <p:cNvPr id="5" name="Rectangle 4">
            <a:extLst>
              <a:ext uri="{FF2B5EF4-FFF2-40B4-BE49-F238E27FC236}">
                <a16:creationId xmlns:a16="http://schemas.microsoft.com/office/drawing/2014/main" id="{05419016-60B7-41A0-8339-FA52456F977A}"/>
              </a:ext>
            </a:extLst>
          </p:cNvPr>
          <p:cNvSpPr/>
          <p:nvPr/>
        </p:nvSpPr>
        <p:spPr>
          <a:xfrm>
            <a:off x="137160" y="2135055"/>
            <a:ext cx="8418064"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You collect data on sunburns and ice cream consumption. You find that higher ice cream consumption is associated with a higher probability of sunburn. Does that mean ice cream consumption causes sunburn?</a:t>
            </a:r>
          </a:p>
          <a:p>
            <a:pPr>
              <a:lnSpc>
                <a:spcPct val="90000"/>
              </a:lnSpc>
              <a:spcBef>
                <a:spcPts val="600"/>
              </a:spcBef>
              <a:spcAft>
                <a:spcPts val="0"/>
              </a:spcAft>
            </a:pPr>
            <a:r>
              <a:rPr lang="en-US" sz="1200" dirty="0">
                <a:latin typeface="+mn-lt"/>
              </a:rPr>
              <a:t>Here, the confounding variable is temperature: hot temperatures cause people to both eat more ice cream and spend more time outdoors under the sun, resulting in more sunburns.</a:t>
            </a:r>
          </a:p>
        </p:txBody>
      </p:sp>
      <p:sp>
        <p:nvSpPr>
          <p:cNvPr id="6" name="Rectangle 5">
            <a:extLst>
              <a:ext uri="{FF2B5EF4-FFF2-40B4-BE49-F238E27FC236}">
                <a16:creationId xmlns:a16="http://schemas.microsoft.com/office/drawing/2014/main" id="{3D92DDC2-8FCD-45ED-B27B-D1857B405C77}"/>
              </a:ext>
            </a:extLst>
          </p:cNvPr>
          <p:cNvSpPr/>
          <p:nvPr/>
        </p:nvSpPr>
        <p:spPr>
          <a:xfrm>
            <a:off x="137160" y="2135056"/>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8" name="Picture 7">
            <a:extLst>
              <a:ext uri="{FF2B5EF4-FFF2-40B4-BE49-F238E27FC236}">
                <a16:creationId xmlns:a16="http://schemas.microsoft.com/office/drawing/2014/main" id="{E6C9A3F4-824D-4ACA-A39D-E5D996A7F2E9}"/>
              </a:ext>
            </a:extLst>
          </p:cNvPr>
          <p:cNvPicPr>
            <a:picLocks noChangeAspect="1"/>
          </p:cNvPicPr>
          <p:nvPr/>
        </p:nvPicPr>
        <p:blipFill>
          <a:blip r:embed="rId2"/>
          <a:stretch>
            <a:fillRect/>
          </a:stretch>
        </p:blipFill>
        <p:spPr>
          <a:xfrm>
            <a:off x="1948225" y="2902872"/>
            <a:ext cx="4508415" cy="223508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C37863D1-7F3A-4B5E-9F21-51925891B203}"/>
                  </a:ext>
                </a:extLst>
              </p14:cNvPr>
              <p14:cNvContentPartPr/>
              <p14:nvPr/>
            </p14:nvContentPartPr>
            <p14:xfrm>
              <a:off x="290520" y="33480"/>
              <a:ext cx="8782560" cy="4577040"/>
            </p14:xfrm>
          </p:contentPart>
        </mc:Choice>
        <mc:Fallback xmlns="">
          <p:pic>
            <p:nvPicPr>
              <p:cNvPr id="4" name="Ink 3">
                <a:extLst>
                  <a:ext uri="{FF2B5EF4-FFF2-40B4-BE49-F238E27FC236}">
                    <a16:creationId xmlns:a16="http://schemas.microsoft.com/office/drawing/2014/main" id="{C37863D1-7F3A-4B5E-9F21-51925891B203}"/>
                  </a:ext>
                </a:extLst>
              </p:cNvPr>
              <p:cNvPicPr/>
              <p:nvPr/>
            </p:nvPicPr>
            <p:blipFill>
              <a:blip r:embed="rId4"/>
              <a:stretch>
                <a:fillRect/>
              </a:stretch>
            </p:blipFill>
            <p:spPr>
              <a:xfrm>
                <a:off x="281160" y="24120"/>
                <a:ext cx="8801280" cy="4595760"/>
              </a:xfrm>
              <a:prstGeom prst="rect">
                <a:avLst/>
              </a:prstGeom>
            </p:spPr>
          </p:pic>
        </mc:Fallback>
      </mc:AlternateContent>
    </p:spTree>
    <p:extLst>
      <p:ext uri="{BB962C8B-B14F-4D97-AF65-F5344CB8AC3E}">
        <p14:creationId xmlns:p14="http://schemas.microsoft.com/office/powerpoint/2010/main" val="1334523387"/>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274319" y="1067217"/>
            <a:ext cx="7924386" cy="32004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783110" y="1050665"/>
            <a:ext cx="1838977" cy="183897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622087" y="2392516"/>
            <a:ext cx="2248422" cy="1143533"/>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6723414" y="1050665"/>
            <a:ext cx="2012777" cy="1341851"/>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783110" y="3044893"/>
            <a:ext cx="1485677" cy="1684240"/>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6357532" y="3536049"/>
            <a:ext cx="1750231" cy="1168532"/>
          </a:xfrm>
          <a:prstGeom prst="rect">
            <a:avLst/>
          </a:prstGeom>
        </p:spPr>
      </p:pic>
    </p:spTree>
    <p:extLst>
      <p:ext uri="{BB962C8B-B14F-4D97-AF65-F5344CB8AC3E}">
        <p14:creationId xmlns:p14="http://schemas.microsoft.com/office/powerpoint/2010/main" val="2470375232"/>
      </p:ext>
    </p:extLst>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70DB-7CD4-42FE-987B-CA260299C227}"/>
              </a:ext>
            </a:extLst>
          </p:cNvPr>
          <p:cNvSpPr>
            <a:spLocks noGrp="1"/>
          </p:cNvSpPr>
          <p:nvPr>
            <p:ph type="title"/>
          </p:nvPr>
        </p:nvSpPr>
        <p:spPr>
          <a:xfrm>
            <a:off x="0" y="0"/>
            <a:ext cx="7955280" cy="640080"/>
          </a:xfrm>
        </p:spPr>
        <p:txBody>
          <a:bodyPr/>
          <a:lstStyle/>
          <a:p>
            <a:r>
              <a:rPr lang="en-US" dirty="0"/>
              <a:t>Confounding variable – another example</a:t>
            </a:r>
          </a:p>
        </p:txBody>
      </p:sp>
      <p:pic>
        <p:nvPicPr>
          <p:cNvPr id="6" name="Picture 5">
            <a:extLst>
              <a:ext uri="{FF2B5EF4-FFF2-40B4-BE49-F238E27FC236}">
                <a16:creationId xmlns:a16="http://schemas.microsoft.com/office/drawing/2014/main" id="{9FEF74AE-492F-4044-AB48-F898E20FD7C4}"/>
              </a:ext>
            </a:extLst>
          </p:cNvPr>
          <p:cNvPicPr>
            <a:picLocks noChangeAspect="1"/>
          </p:cNvPicPr>
          <p:nvPr/>
        </p:nvPicPr>
        <p:blipFill>
          <a:blip r:embed="rId2"/>
          <a:stretch>
            <a:fillRect/>
          </a:stretch>
        </p:blipFill>
        <p:spPr>
          <a:xfrm>
            <a:off x="1778048" y="2621078"/>
            <a:ext cx="4483149" cy="2390490"/>
          </a:xfrm>
          <a:prstGeom prst="rect">
            <a:avLst/>
          </a:prstGeom>
        </p:spPr>
      </p:pic>
      <p:pic>
        <p:nvPicPr>
          <p:cNvPr id="8" name="Picture 7">
            <a:extLst>
              <a:ext uri="{FF2B5EF4-FFF2-40B4-BE49-F238E27FC236}">
                <a16:creationId xmlns:a16="http://schemas.microsoft.com/office/drawing/2014/main" id="{9CB35E85-EAE6-4AF3-81B5-25A0F95A4565}"/>
              </a:ext>
            </a:extLst>
          </p:cNvPr>
          <p:cNvPicPr>
            <a:picLocks noChangeAspect="1"/>
          </p:cNvPicPr>
          <p:nvPr/>
        </p:nvPicPr>
        <p:blipFill>
          <a:blip r:embed="rId3"/>
          <a:stretch>
            <a:fillRect/>
          </a:stretch>
        </p:blipFill>
        <p:spPr>
          <a:xfrm>
            <a:off x="1305288" y="637701"/>
            <a:ext cx="5572125" cy="685800"/>
          </a:xfrm>
          <a:prstGeom prst="rect">
            <a:avLst/>
          </a:prstGeom>
        </p:spPr>
      </p:pic>
      <p:sp>
        <p:nvSpPr>
          <p:cNvPr id="9" name="TextBox 8">
            <a:extLst>
              <a:ext uri="{FF2B5EF4-FFF2-40B4-BE49-F238E27FC236}">
                <a16:creationId xmlns:a16="http://schemas.microsoft.com/office/drawing/2014/main" id="{F454474E-454D-495E-BF3A-33238FDCC41B}"/>
              </a:ext>
            </a:extLst>
          </p:cNvPr>
          <p:cNvSpPr txBox="1"/>
          <p:nvPr/>
        </p:nvSpPr>
        <p:spPr>
          <a:xfrm>
            <a:off x="0" y="1321122"/>
            <a:ext cx="9095139" cy="1061829"/>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If you find that people who consume more alcohol are more likely to die, it might seem intuitive to conclude that alcohol use increases the risk of death. However, the situation might be more complex. It is possible that alcohol use is not the only mortality-affecting factor that differs between the two groups.</a:t>
            </a:r>
          </a:p>
          <a:p>
            <a:pPr>
              <a:spcBef>
                <a:spcPts val="0"/>
              </a:spcBef>
              <a:spcAft>
                <a:spcPts val="0"/>
              </a:spcAft>
              <a:buClr>
                <a:schemeClr val="bg1"/>
              </a:buClr>
            </a:pPr>
            <a:endParaRPr lang="en-US" sz="1050" dirty="0">
              <a:solidFill>
                <a:schemeClr val="bg2">
                  <a:lumMod val="50000"/>
                  <a:lumOff val="50000"/>
                </a:schemeClr>
              </a:solidFill>
              <a:latin typeface="+mn-lt"/>
            </a:endParaRPr>
          </a:p>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People who consume less alcohol might be more likely to eat a healthier diet or less likely to smoke, for example. Eating a healthy diet or smoking might in turn affect mortality. These other influencing factors are called </a:t>
            </a:r>
            <a:r>
              <a:rPr lang="en-US" sz="1050" b="1" dirty="0">
                <a:solidFill>
                  <a:schemeClr val="bg2">
                    <a:lumMod val="50000"/>
                    <a:lumOff val="50000"/>
                  </a:schemeClr>
                </a:solidFill>
                <a:latin typeface="+mn-lt"/>
              </a:rPr>
              <a:t>confounding variables.</a:t>
            </a: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1411F63F-EB2A-433F-B8D0-5ED96157C56B}"/>
                  </a:ext>
                </a:extLst>
              </p14:cNvPr>
              <p14:cNvContentPartPr/>
              <p14:nvPr/>
            </p14:nvContentPartPr>
            <p14:xfrm>
              <a:off x="342720" y="9360"/>
              <a:ext cx="8615880" cy="3615120"/>
            </p14:xfrm>
          </p:contentPart>
        </mc:Choice>
        <mc:Fallback xmlns="">
          <p:pic>
            <p:nvPicPr>
              <p:cNvPr id="3" name="Ink 2">
                <a:extLst>
                  <a:ext uri="{FF2B5EF4-FFF2-40B4-BE49-F238E27FC236}">
                    <a16:creationId xmlns:a16="http://schemas.microsoft.com/office/drawing/2014/main" id="{1411F63F-EB2A-433F-B8D0-5ED96157C56B}"/>
                  </a:ext>
                </a:extLst>
              </p:cNvPr>
              <p:cNvPicPr/>
              <p:nvPr/>
            </p:nvPicPr>
            <p:blipFill>
              <a:blip r:embed="rId5"/>
              <a:stretch>
                <a:fillRect/>
              </a:stretch>
            </p:blipFill>
            <p:spPr>
              <a:xfrm>
                <a:off x="333360" y="0"/>
                <a:ext cx="8634600" cy="3633840"/>
              </a:xfrm>
              <a:prstGeom prst="rect">
                <a:avLst/>
              </a:prstGeom>
            </p:spPr>
          </p:pic>
        </mc:Fallback>
      </mc:AlternateContent>
    </p:spTree>
    <p:extLst>
      <p:ext uri="{BB962C8B-B14F-4D97-AF65-F5344CB8AC3E}">
        <p14:creationId xmlns:p14="http://schemas.microsoft.com/office/powerpoint/2010/main" val="1826951538"/>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D1EA-7DF3-48CC-B31A-49D4AA1AAF47}"/>
              </a:ext>
            </a:extLst>
          </p:cNvPr>
          <p:cNvSpPr>
            <a:spLocks noGrp="1"/>
          </p:cNvSpPr>
          <p:nvPr>
            <p:ph type="title"/>
          </p:nvPr>
        </p:nvSpPr>
        <p:spPr>
          <a:xfrm>
            <a:off x="0" y="22860"/>
            <a:ext cx="7955280" cy="640080"/>
          </a:xfrm>
        </p:spPr>
        <p:txBody>
          <a:bodyPr/>
          <a:lstStyle/>
          <a:p>
            <a:r>
              <a:rPr lang="en-US" dirty="0"/>
              <a:t>What is hypothesis ? </a:t>
            </a:r>
          </a:p>
        </p:txBody>
      </p:sp>
      <p:sp>
        <p:nvSpPr>
          <p:cNvPr id="3" name="Content Placeholder 2">
            <a:extLst>
              <a:ext uri="{FF2B5EF4-FFF2-40B4-BE49-F238E27FC236}">
                <a16:creationId xmlns:a16="http://schemas.microsoft.com/office/drawing/2014/main" id="{752E4901-1085-409B-A059-026B6D6F6B60}"/>
              </a:ext>
            </a:extLst>
          </p:cNvPr>
          <p:cNvSpPr>
            <a:spLocks noGrp="1"/>
          </p:cNvSpPr>
          <p:nvPr>
            <p:ph sz="half" idx="13"/>
          </p:nvPr>
        </p:nvSpPr>
        <p:spPr>
          <a:xfrm>
            <a:off x="120755" y="662939"/>
            <a:ext cx="8918543" cy="3615895"/>
          </a:xfrm>
        </p:spPr>
        <p:txBody>
          <a:bodyPr>
            <a:normAutofit fontScale="92500" lnSpcReduction="20000"/>
          </a:bodyPr>
          <a:lstStyle/>
          <a:p>
            <a:pPr marL="0" indent="0">
              <a:buNone/>
            </a:pPr>
            <a:r>
              <a:rPr lang="en-US" sz="2000" kern="1200" dirty="0">
                <a:solidFill>
                  <a:schemeClr val="bg2">
                    <a:lumMod val="50000"/>
                    <a:lumOff val="50000"/>
                  </a:schemeClr>
                </a:solidFill>
                <a:latin typeface="+mn-lt"/>
                <a:ea typeface="+mn-ea"/>
                <a:cs typeface="+mn-cs"/>
              </a:rPr>
              <a:t>A hypothesis is a </a:t>
            </a:r>
            <a:r>
              <a:rPr lang="en-US" sz="2000" b="1" kern="1200" dirty="0">
                <a:solidFill>
                  <a:schemeClr val="bg2">
                    <a:lumMod val="50000"/>
                    <a:lumOff val="50000"/>
                  </a:schemeClr>
                </a:solidFill>
                <a:latin typeface="+mn-lt"/>
                <a:ea typeface="+mn-ea"/>
                <a:cs typeface="+mn-cs"/>
              </a:rPr>
              <a:t>tentative statement </a:t>
            </a:r>
            <a:r>
              <a:rPr lang="en-US" sz="2000" kern="1200" dirty="0">
                <a:solidFill>
                  <a:schemeClr val="bg2">
                    <a:lumMod val="50000"/>
                    <a:lumOff val="50000"/>
                  </a:schemeClr>
                </a:solidFill>
                <a:latin typeface="+mn-lt"/>
                <a:ea typeface="+mn-ea"/>
                <a:cs typeface="+mn-cs"/>
              </a:rPr>
              <a:t>about the relationship between </a:t>
            </a:r>
            <a:r>
              <a:rPr lang="en-US" sz="2000" b="1" kern="1200" dirty="0">
                <a:solidFill>
                  <a:schemeClr val="bg2">
                    <a:lumMod val="50000"/>
                    <a:lumOff val="50000"/>
                  </a:schemeClr>
                </a:solidFill>
                <a:latin typeface="+mn-lt"/>
                <a:ea typeface="+mn-ea"/>
                <a:cs typeface="+mn-cs"/>
              </a:rPr>
              <a:t>two or more variables</a:t>
            </a:r>
            <a:r>
              <a:rPr lang="en-US" sz="20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2000" kern="1200" dirty="0">
              <a:solidFill>
                <a:schemeClr val="bg2">
                  <a:lumMod val="50000"/>
                  <a:lumOff val="50000"/>
                </a:schemeClr>
              </a:solidFill>
              <a:latin typeface="+mn-lt"/>
              <a:ea typeface="+mn-ea"/>
              <a:cs typeface="+mn-cs"/>
            </a:endParaRPr>
          </a:p>
          <a:p>
            <a:pPr marL="0" indent="0" algn="l" fontAlgn="base">
              <a:buNone/>
            </a:pPr>
            <a:r>
              <a:rPr lang="en-US" sz="2000" b="1" kern="1200" dirty="0">
                <a:solidFill>
                  <a:schemeClr val="accent1"/>
                </a:solidFill>
                <a:latin typeface="+mn-lt"/>
                <a:ea typeface="+mn-ea"/>
                <a:cs typeface="+mn-cs"/>
              </a:rPr>
              <a:t>A few examples:</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6D4FA8F2-E7D9-4770-B0C2-998531CEAD89}"/>
                  </a:ext>
                </a:extLst>
              </p14:cNvPr>
              <p14:cNvContentPartPr/>
              <p14:nvPr/>
            </p14:nvContentPartPr>
            <p14:xfrm>
              <a:off x="1590840" y="9360"/>
              <a:ext cx="7101000" cy="4020120"/>
            </p14:xfrm>
          </p:contentPart>
        </mc:Choice>
        <mc:Fallback xmlns="">
          <p:pic>
            <p:nvPicPr>
              <p:cNvPr id="4" name="Ink 3">
                <a:extLst>
                  <a:ext uri="{FF2B5EF4-FFF2-40B4-BE49-F238E27FC236}">
                    <a16:creationId xmlns:a16="http://schemas.microsoft.com/office/drawing/2014/main" id="{6D4FA8F2-E7D9-4770-B0C2-998531CEAD89}"/>
                  </a:ext>
                </a:extLst>
              </p:cNvPr>
              <p:cNvPicPr/>
              <p:nvPr/>
            </p:nvPicPr>
            <p:blipFill>
              <a:blip r:embed="rId3"/>
              <a:stretch>
                <a:fillRect/>
              </a:stretch>
            </p:blipFill>
            <p:spPr>
              <a:xfrm>
                <a:off x="1581480" y="0"/>
                <a:ext cx="7119720" cy="4038840"/>
              </a:xfrm>
              <a:prstGeom prst="rect">
                <a:avLst/>
              </a:prstGeom>
            </p:spPr>
          </p:pic>
        </mc:Fallback>
      </mc:AlternateContent>
    </p:spTree>
    <p:extLst>
      <p:ext uri="{BB962C8B-B14F-4D97-AF65-F5344CB8AC3E}">
        <p14:creationId xmlns:p14="http://schemas.microsoft.com/office/powerpoint/2010/main" val="864598898"/>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1A2DF-C782-43C3-85DD-ED0625E18554}"/>
              </a:ext>
            </a:extLst>
          </p:cNvPr>
          <p:cNvSpPr>
            <a:spLocks noGrp="1"/>
          </p:cNvSpPr>
          <p:nvPr>
            <p:ph type="title"/>
          </p:nvPr>
        </p:nvSpPr>
        <p:spPr>
          <a:xfrm>
            <a:off x="104702" y="179389"/>
            <a:ext cx="7955280" cy="640080"/>
          </a:xfrm>
        </p:spPr>
        <p:txBody>
          <a:bodyPr/>
          <a:lstStyle/>
          <a:p>
            <a:r>
              <a:rPr lang="en-US" dirty="0"/>
              <a:t>Blinding</a:t>
            </a:r>
          </a:p>
        </p:txBody>
      </p:sp>
      <p:sp>
        <p:nvSpPr>
          <p:cNvPr id="3" name="Content Placeholder 2">
            <a:extLst>
              <a:ext uri="{FF2B5EF4-FFF2-40B4-BE49-F238E27FC236}">
                <a16:creationId xmlns:a16="http://schemas.microsoft.com/office/drawing/2014/main" id="{CA9BD4F2-0478-4661-9007-E1477BAC0E01}"/>
              </a:ext>
            </a:extLst>
          </p:cNvPr>
          <p:cNvSpPr>
            <a:spLocks noGrp="1"/>
          </p:cNvSpPr>
          <p:nvPr>
            <p:ph sz="half" idx="13"/>
          </p:nvPr>
        </p:nvSpPr>
        <p:spPr>
          <a:xfrm>
            <a:off x="146583" y="819469"/>
            <a:ext cx="8606528" cy="3200400"/>
          </a:xfrm>
        </p:spPr>
        <p:txBody>
          <a:bodyPr/>
          <a:lstStyle/>
          <a:p>
            <a:pPr marL="0" indent="0">
              <a:buNone/>
            </a:pPr>
            <a:r>
              <a:rPr lang="en-US" sz="1900" kern="1200" dirty="0">
                <a:solidFill>
                  <a:schemeClr val="bg2">
                    <a:lumMod val="50000"/>
                    <a:lumOff val="50000"/>
                  </a:schemeClr>
                </a:solidFill>
                <a:latin typeface="+mn-lt"/>
                <a:ea typeface="+mn-ea"/>
                <a:cs typeface="+mn-cs"/>
              </a:rPr>
              <a:t>In medical trials, the term blinding, or double-blind, usually refers to the practice of keeping patients in the dark as to whether they are receiving a placebo or not. It can also refer to allocation concealment, which is used to avoid selection bias.</a:t>
            </a:r>
          </a:p>
          <a:p>
            <a:endParaRPr lang="en-US" dirty="0"/>
          </a:p>
        </p:txBody>
      </p:sp>
      <p:sp>
        <p:nvSpPr>
          <p:cNvPr id="7" name="TextBox 6">
            <a:extLst>
              <a:ext uri="{FF2B5EF4-FFF2-40B4-BE49-F238E27FC236}">
                <a16:creationId xmlns:a16="http://schemas.microsoft.com/office/drawing/2014/main" id="{57A9F8A8-4B62-43A5-827C-02314C36DAE8}"/>
              </a:ext>
            </a:extLst>
          </p:cNvPr>
          <p:cNvSpPr txBox="1"/>
          <p:nvPr/>
        </p:nvSpPr>
        <p:spPr>
          <a:xfrm>
            <a:off x="104702" y="205216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12" name="Picture 11">
            <a:extLst>
              <a:ext uri="{FF2B5EF4-FFF2-40B4-BE49-F238E27FC236}">
                <a16:creationId xmlns:a16="http://schemas.microsoft.com/office/drawing/2014/main" id="{FA7E0177-D7DE-4E84-A38C-4853407DF3DE}"/>
              </a:ext>
            </a:extLst>
          </p:cNvPr>
          <p:cNvPicPr>
            <a:picLocks noChangeAspect="1"/>
          </p:cNvPicPr>
          <p:nvPr/>
        </p:nvPicPr>
        <p:blipFill>
          <a:blip r:embed="rId2"/>
          <a:stretch>
            <a:fillRect/>
          </a:stretch>
        </p:blipFill>
        <p:spPr>
          <a:xfrm>
            <a:off x="7203518" y="1848169"/>
            <a:ext cx="1828800" cy="2171700"/>
          </a:xfrm>
          <a:prstGeom prst="rect">
            <a:avLst/>
          </a:prstGeom>
        </p:spPr>
      </p:pic>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BA8E44C5-AAB6-4D5C-9D50-244C8C951546}"/>
                  </a:ext>
                </a:extLst>
              </p14:cNvPr>
              <p14:cNvContentPartPr/>
              <p14:nvPr/>
            </p14:nvContentPartPr>
            <p14:xfrm>
              <a:off x="95400" y="509760"/>
              <a:ext cx="8539200" cy="4362480"/>
            </p14:xfrm>
          </p:contentPart>
        </mc:Choice>
        <mc:Fallback xmlns="">
          <p:pic>
            <p:nvPicPr>
              <p:cNvPr id="4" name="Ink 3">
                <a:extLst>
                  <a:ext uri="{FF2B5EF4-FFF2-40B4-BE49-F238E27FC236}">
                    <a16:creationId xmlns:a16="http://schemas.microsoft.com/office/drawing/2014/main" id="{BA8E44C5-AAB6-4D5C-9D50-244C8C951546}"/>
                  </a:ext>
                </a:extLst>
              </p:cNvPr>
              <p:cNvPicPr/>
              <p:nvPr/>
            </p:nvPicPr>
            <p:blipFill>
              <a:blip r:embed="rId4"/>
              <a:stretch>
                <a:fillRect/>
              </a:stretch>
            </p:blipFill>
            <p:spPr>
              <a:xfrm>
                <a:off x="86040" y="500400"/>
                <a:ext cx="8557920" cy="4381200"/>
              </a:xfrm>
              <a:prstGeom prst="rect">
                <a:avLst/>
              </a:prstGeom>
            </p:spPr>
          </p:pic>
        </mc:Fallback>
      </mc:AlternateContent>
    </p:spTree>
    <p:extLst>
      <p:ext uri="{BB962C8B-B14F-4D97-AF65-F5344CB8AC3E}">
        <p14:creationId xmlns:p14="http://schemas.microsoft.com/office/powerpoint/2010/main" val="339969583"/>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B2BFF-8604-46B0-8FE4-7231BB82B7EE}"/>
              </a:ext>
            </a:extLst>
          </p:cNvPr>
          <p:cNvSpPr>
            <a:spLocks noGrp="1"/>
          </p:cNvSpPr>
          <p:nvPr>
            <p:ph type="title"/>
          </p:nvPr>
        </p:nvSpPr>
        <p:spPr>
          <a:xfrm>
            <a:off x="137160" y="174163"/>
            <a:ext cx="7955280" cy="640080"/>
          </a:xfrm>
        </p:spPr>
        <p:txBody>
          <a:bodyPr/>
          <a:lstStyle/>
          <a:p>
            <a:r>
              <a:rPr lang="en-US" dirty="0"/>
              <a:t>Double Blinding</a:t>
            </a:r>
          </a:p>
        </p:txBody>
      </p:sp>
      <p:sp>
        <p:nvSpPr>
          <p:cNvPr id="3" name="Content Placeholder 2">
            <a:extLst>
              <a:ext uri="{FF2B5EF4-FFF2-40B4-BE49-F238E27FC236}">
                <a16:creationId xmlns:a16="http://schemas.microsoft.com/office/drawing/2014/main" id="{7D960FF3-9A2A-4E15-829A-89A59910B291}"/>
              </a:ext>
            </a:extLst>
          </p:cNvPr>
          <p:cNvSpPr>
            <a:spLocks noGrp="1"/>
          </p:cNvSpPr>
          <p:nvPr>
            <p:ph sz="half" idx="13"/>
          </p:nvPr>
        </p:nvSpPr>
        <p:spPr>
          <a:xfrm>
            <a:off x="204694" y="767197"/>
            <a:ext cx="8681040" cy="3200400"/>
          </a:xfrm>
        </p:spPr>
        <p:txBody>
          <a:bodyPr/>
          <a:lstStyle/>
          <a:p>
            <a:r>
              <a:rPr lang="en-US" sz="1900" kern="1200" dirty="0">
                <a:solidFill>
                  <a:schemeClr val="bg2">
                    <a:lumMod val="50000"/>
                    <a:lumOff val="50000"/>
                  </a:schemeClr>
                </a:solidFill>
                <a:latin typeface="+mn-lt"/>
                <a:ea typeface="+mn-ea"/>
                <a:cs typeface="+mn-cs"/>
              </a:rPr>
              <a:t>A double-blind study is one in which neither the participants nor the experimenters know who is receiving a particular treatment. </a:t>
            </a:r>
          </a:p>
        </p:txBody>
      </p:sp>
      <p:sp>
        <p:nvSpPr>
          <p:cNvPr id="5" name="Rectangle 4">
            <a:extLst>
              <a:ext uri="{FF2B5EF4-FFF2-40B4-BE49-F238E27FC236}">
                <a16:creationId xmlns:a16="http://schemas.microsoft.com/office/drawing/2014/main" id="{467F6821-631D-4CAA-A896-3A96D96D480A}"/>
              </a:ext>
            </a:extLst>
          </p:cNvPr>
          <p:cNvSpPr/>
          <p:nvPr/>
        </p:nvSpPr>
        <p:spPr>
          <a:xfrm>
            <a:off x="137160" y="3561440"/>
            <a:ext cx="8606527"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Blinding and double blinding are methods that are used to try and eliminate bias that occurs when researchers and the subject are aware of which group is in which study </a:t>
            </a:r>
          </a:p>
        </p:txBody>
      </p:sp>
      <p:sp>
        <p:nvSpPr>
          <p:cNvPr id="6" name="Rectangle 5">
            <a:extLst>
              <a:ext uri="{FF2B5EF4-FFF2-40B4-BE49-F238E27FC236}">
                <a16:creationId xmlns:a16="http://schemas.microsoft.com/office/drawing/2014/main" id="{CB4C82C2-5050-4599-A646-370098578078}"/>
              </a:ext>
            </a:extLst>
          </p:cNvPr>
          <p:cNvSpPr/>
          <p:nvPr/>
        </p:nvSpPr>
        <p:spPr>
          <a:xfrm>
            <a:off x="137161" y="3561441"/>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951382A6-2BCC-493A-B623-979398C5254C}"/>
              </a:ext>
            </a:extLst>
          </p:cNvPr>
          <p:cNvSpPr txBox="1"/>
          <p:nvPr/>
        </p:nvSpPr>
        <p:spPr>
          <a:xfrm>
            <a:off x="137160" y="1702653"/>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8" name="Picture 7" descr="Icon&#10;&#10;Description automatically generated">
            <a:extLst>
              <a:ext uri="{FF2B5EF4-FFF2-40B4-BE49-F238E27FC236}">
                <a16:creationId xmlns:a16="http://schemas.microsoft.com/office/drawing/2014/main" id="{60E230BE-A23E-4204-8EAF-66940F443B7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27980" y="1606424"/>
            <a:ext cx="2678860" cy="1607316"/>
          </a:xfrm>
          <a:prstGeom prst="rect">
            <a:avLst/>
          </a:prstGeom>
        </p:spPr>
      </p:pic>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A9A8F9BB-A2E5-4201-BC54-008E38F91674}"/>
                  </a:ext>
                </a:extLst>
              </p14:cNvPr>
              <p14:cNvContentPartPr/>
              <p14:nvPr/>
            </p14:nvContentPartPr>
            <p14:xfrm>
              <a:off x="318960" y="138240"/>
              <a:ext cx="8192160" cy="4443480"/>
            </p14:xfrm>
          </p:contentPart>
        </mc:Choice>
        <mc:Fallback xmlns="">
          <p:pic>
            <p:nvPicPr>
              <p:cNvPr id="4" name="Ink 3">
                <a:extLst>
                  <a:ext uri="{FF2B5EF4-FFF2-40B4-BE49-F238E27FC236}">
                    <a16:creationId xmlns:a16="http://schemas.microsoft.com/office/drawing/2014/main" id="{A9A8F9BB-A2E5-4201-BC54-008E38F91674}"/>
                  </a:ext>
                </a:extLst>
              </p:cNvPr>
              <p:cNvPicPr/>
              <p:nvPr/>
            </p:nvPicPr>
            <p:blipFill>
              <a:blip r:embed="rId5"/>
              <a:stretch>
                <a:fillRect/>
              </a:stretch>
            </p:blipFill>
            <p:spPr>
              <a:xfrm>
                <a:off x="309600" y="128880"/>
                <a:ext cx="8210880" cy="4462200"/>
              </a:xfrm>
              <a:prstGeom prst="rect">
                <a:avLst/>
              </a:prstGeom>
            </p:spPr>
          </p:pic>
        </mc:Fallback>
      </mc:AlternateContent>
    </p:spTree>
    <p:extLst>
      <p:ext uri="{BB962C8B-B14F-4D97-AF65-F5344CB8AC3E}">
        <p14:creationId xmlns:p14="http://schemas.microsoft.com/office/powerpoint/2010/main" val="643188253"/>
      </p:ext>
    </p:extLst>
  </p:cSld>
  <p:clrMapOvr>
    <a:masterClrMapping/>
  </p:clrMapOvr>
  <p:transition spd="med">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A2F82-C58B-485C-BE38-1016ABFCB027}"/>
              </a:ext>
            </a:extLst>
          </p:cNvPr>
          <p:cNvSpPr>
            <a:spLocks noGrp="1"/>
          </p:cNvSpPr>
          <p:nvPr>
            <p:ph type="title"/>
          </p:nvPr>
        </p:nvSpPr>
        <p:spPr>
          <a:xfrm>
            <a:off x="50954" y="118322"/>
            <a:ext cx="7955280" cy="640080"/>
          </a:xfrm>
        </p:spPr>
        <p:txBody>
          <a:bodyPr/>
          <a:lstStyle/>
          <a:p>
            <a:r>
              <a:rPr lang="en-US" dirty="0"/>
              <a:t>Why blinding is important in Statistics?</a:t>
            </a:r>
          </a:p>
        </p:txBody>
      </p:sp>
      <p:sp>
        <p:nvSpPr>
          <p:cNvPr id="3" name="Content Placeholder 2">
            <a:extLst>
              <a:ext uri="{FF2B5EF4-FFF2-40B4-BE49-F238E27FC236}">
                <a16:creationId xmlns:a16="http://schemas.microsoft.com/office/drawing/2014/main" id="{2FB9D893-65BA-48E9-9032-45983A01F364}"/>
              </a:ext>
            </a:extLst>
          </p:cNvPr>
          <p:cNvSpPr>
            <a:spLocks noGrp="1"/>
          </p:cNvSpPr>
          <p:nvPr>
            <p:ph sz="half" idx="13"/>
          </p:nvPr>
        </p:nvSpPr>
        <p:spPr>
          <a:xfrm>
            <a:off x="169617" y="971550"/>
            <a:ext cx="7836617" cy="3200400"/>
          </a:xfrm>
        </p:spPr>
        <p:txBody>
          <a:bodyPr/>
          <a:lstStyle/>
          <a:p>
            <a:r>
              <a:rPr lang="en-US" sz="1900" kern="1200" dirty="0">
                <a:solidFill>
                  <a:schemeClr val="bg2">
                    <a:lumMod val="50000"/>
                    <a:lumOff val="50000"/>
                  </a:schemeClr>
                </a:solidFill>
                <a:latin typeface="+mn-lt"/>
                <a:ea typeface="+mn-ea"/>
                <a:cs typeface="+mn-cs"/>
              </a:rPr>
              <a:t>Blinding is especially important in subjective trials to avoid skewed results</a:t>
            </a:r>
            <a:r>
              <a:rPr lang="en-US" sz="1800" kern="12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t>
            </a:r>
            <a:r>
              <a:rPr lang="en-US" sz="1800" dirty="0">
                <a:effectLst/>
                <a:latin typeface="Calibri" panose="020F0502020204030204" pitchFamily="34" charset="0"/>
                <a:ea typeface="DengXian" panose="02010600030101010101" pitchFamily="2" charset="-122"/>
                <a:cs typeface="Times New Roman" panose="02020603050405020304" pitchFamily="18" charset="0"/>
              </a:rPr>
              <a:t> </a:t>
            </a:r>
            <a:endParaRPr lang="en-US" dirty="0"/>
          </a:p>
        </p:txBody>
      </p:sp>
      <p:sp>
        <p:nvSpPr>
          <p:cNvPr id="5" name="TextBox 4">
            <a:extLst>
              <a:ext uri="{FF2B5EF4-FFF2-40B4-BE49-F238E27FC236}">
                <a16:creationId xmlns:a16="http://schemas.microsoft.com/office/drawing/2014/main" id="{5918F907-DDBC-4B77-AF68-08312351098E}"/>
              </a:ext>
            </a:extLst>
          </p:cNvPr>
          <p:cNvSpPr txBox="1"/>
          <p:nvPr/>
        </p:nvSpPr>
        <p:spPr>
          <a:xfrm>
            <a:off x="169617" y="179339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spTree>
    <p:extLst>
      <p:ext uri="{BB962C8B-B14F-4D97-AF65-F5344CB8AC3E}">
        <p14:creationId xmlns:p14="http://schemas.microsoft.com/office/powerpoint/2010/main" val="2582633460"/>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2204"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3035543"/>
          </a:xfrm>
        </p:spPr>
        <p:txBody>
          <a:bodyPr/>
          <a:lstStyle/>
          <a:p>
            <a:r>
              <a:rPr lang="en-US" sz="4800" dirty="0">
                <a:solidFill>
                  <a:schemeClr val="tx2"/>
                </a:solidFill>
              </a:rPr>
              <a:t>Describing Data through Statistics</a:t>
            </a:r>
            <a:br>
              <a:rPr lang="en-US" dirty="0"/>
            </a:br>
            <a:br>
              <a:rPr lang="en-US" dirty="0"/>
            </a:br>
            <a:r>
              <a:rPr lang="en-US" dirty="0"/>
              <a:t> </a:t>
            </a:r>
          </a:p>
        </p:txBody>
      </p:sp>
      <mc:AlternateContent xmlns:mc="http://schemas.openxmlformats.org/markup-compatibility/2006" xmlns:p14="http://schemas.microsoft.com/office/powerpoint/2010/main">
        <mc:Choice Requires="p14">
          <p:contentPart p14:bwMode="auto" r:id="rId10">
            <p14:nvContentPartPr>
              <p14:cNvPr id="2" name="Ink 1">
                <a:extLst>
                  <a:ext uri="{FF2B5EF4-FFF2-40B4-BE49-F238E27FC236}">
                    <a16:creationId xmlns:a16="http://schemas.microsoft.com/office/drawing/2014/main" id="{E85B4B15-B10D-4D36-ABDA-22E7827630FC}"/>
                  </a:ext>
                </a:extLst>
              </p14:cNvPr>
              <p14:cNvContentPartPr/>
              <p14:nvPr/>
            </p14:nvContentPartPr>
            <p14:xfrm>
              <a:off x="814320" y="181080"/>
              <a:ext cx="7996680" cy="2352960"/>
            </p14:xfrm>
          </p:contentPart>
        </mc:Choice>
        <mc:Fallback xmlns="">
          <p:pic>
            <p:nvPicPr>
              <p:cNvPr id="2" name="Ink 1">
                <a:extLst>
                  <a:ext uri="{FF2B5EF4-FFF2-40B4-BE49-F238E27FC236}">
                    <a16:creationId xmlns:a16="http://schemas.microsoft.com/office/drawing/2014/main" id="{E85B4B15-B10D-4D36-ABDA-22E7827630FC}"/>
                  </a:ext>
                </a:extLst>
              </p:cNvPr>
              <p:cNvPicPr/>
              <p:nvPr/>
            </p:nvPicPr>
            <p:blipFill>
              <a:blip r:embed="rId11"/>
              <a:stretch>
                <a:fillRect/>
              </a:stretch>
            </p:blipFill>
            <p:spPr>
              <a:xfrm>
                <a:off x="804960" y="171720"/>
                <a:ext cx="8015400" cy="2371680"/>
              </a:xfrm>
              <a:prstGeom prst="rect">
                <a:avLst/>
              </a:prstGeom>
            </p:spPr>
          </p:pic>
        </mc:Fallback>
      </mc:AlternateContent>
    </p:spTree>
    <p:extLst>
      <p:ext uri="{BB962C8B-B14F-4D97-AF65-F5344CB8AC3E}">
        <p14:creationId xmlns:p14="http://schemas.microsoft.com/office/powerpoint/2010/main" val="850901763"/>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211"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Central Tendency</a:t>
            </a:r>
            <a:br>
              <a:rPr lang="en-US" dirty="0"/>
            </a:br>
            <a:br>
              <a:rPr lang="en-US" dirty="0"/>
            </a:br>
            <a:r>
              <a:rPr lang="en-US" dirty="0"/>
              <a:t> </a:t>
            </a:r>
          </a:p>
        </p:txBody>
      </p:sp>
      <mc:AlternateContent xmlns:mc="http://schemas.openxmlformats.org/markup-compatibility/2006" xmlns:p14="http://schemas.microsoft.com/office/powerpoint/2010/main">
        <mc:Choice Requires="p14">
          <p:contentPart p14:bwMode="auto" r:id="rId10">
            <p14:nvContentPartPr>
              <p14:cNvPr id="2" name="Ink 1">
                <a:extLst>
                  <a:ext uri="{FF2B5EF4-FFF2-40B4-BE49-F238E27FC236}">
                    <a16:creationId xmlns:a16="http://schemas.microsoft.com/office/drawing/2014/main" id="{830F29C7-5D02-4D84-8272-FF8804FCDBBA}"/>
                  </a:ext>
                </a:extLst>
              </p14:cNvPr>
              <p14:cNvContentPartPr/>
              <p14:nvPr/>
            </p14:nvContentPartPr>
            <p14:xfrm>
              <a:off x="71280" y="890640"/>
              <a:ext cx="6220440" cy="2043360"/>
            </p14:xfrm>
          </p:contentPart>
        </mc:Choice>
        <mc:Fallback xmlns="">
          <p:pic>
            <p:nvPicPr>
              <p:cNvPr id="2" name="Ink 1">
                <a:extLst>
                  <a:ext uri="{FF2B5EF4-FFF2-40B4-BE49-F238E27FC236}">
                    <a16:creationId xmlns:a16="http://schemas.microsoft.com/office/drawing/2014/main" id="{830F29C7-5D02-4D84-8272-FF8804FCDBBA}"/>
                  </a:ext>
                </a:extLst>
              </p:cNvPr>
              <p:cNvPicPr/>
              <p:nvPr/>
            </p:nvPicPr>
            <p:blipFill>
              <a:blip r:embed="rId11"/>
              <a:stretch>
                <a:fillRect/>
              </a:stretch>
            </p:blipFill>
            <p:spPr>
              <a:xfrm>
                <a:off x="61920" y="881280"/>
                <a:ext cx="6239160" cy="2062080"/>
              </a:xfrm>
              <a:prstGeom prst="rect">
                <a:avLst/>
              </a:prstGeom>
            </p:spPr>
          </p:pic>
        </mc:Fallback>
      </mc:AlternateContent>
    </p:spTree>
    <p:extLst>
      <p:ext uri="{BB962C8B-B14F-4D97-AF65-F5344CB8AC3E}">
        <p14:creationId xmlns:p14="http://schemas.microsoft.com/office/powerpoint/2010/main" val="665294110"/>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B17AC-8C6F-4E8F-927B-93ABAEA6606B}"/>
              </a:ext>
            </a:extLst>
          </p:cNvPr>
          <p:cNvSpPr>
            <a:spLocks noGrp="1"/>
          </p:cNvSpPr>
          <p:nvPr>
            <p:ph type="title"/>
          </p:nvPr>
        </p:nvSpPr>
        <p:spPr>
          <a:xfrm>
            <a:off x="261756" y="147311"/>
            <a:ext cx="8229600" cy="637794"/>
          </a:xfrm>
        </p:spPr>
        <p:txBody>
          <a:bodyPr/>
          <a:lstStyle/>
          <a:p>
            <a:r>
              <a:rPr lang="en-US" dirty="0"/>
              <a:t>Finding Central Value</a:t>
            </a:r>
          </a:p>
        </p:txBody>
      </p:sp>
      <p:sp>
        <p:nvSpPr>
          <p:cNvPr id="3" name="TextBox 2">
            <a:extLst>
              <a:ext uri="{FF2B5EF4-FFF2-40B4-BE49-F238E27FC236}">
                <a16:creationId xmlns:a16="http://schemas.microsoft.com/office/drawing/2014/main" id="{338B153F-82EC-4EC3-A01C-319C19798D05}"/>
              </a:ext>
            </a:extLst>
          </p:cNvPr>
          <p:cNvSpPr txBox="1"/>
          <p:nvPr/>
        </p:nvSpPr>
        <p:spPr>
          <a:xfrm>
            <a:off x="349008" y="1088904"/>
            <a:ext cx="6421740"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For Two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and 7 </a:t>
            </a:r>
          </a:p>
          <a:p>
            <a:pPr>
              <a:spcBef>
                <a:spcPts val="0"/>
              </a:spcBef>
              <a:spcAft>
                <a:spcPts val="0"/>
              </a:spcAft>
              <a:buClr>
                <a:schemeClr val="bg1"/>
              </a:buClr>
            </a:pPr>
            <a:r>
              <a:rPr lang="en-US" sz="1400" dirty="0">
                <a:solidFill>
                  <a:schemeClr val="bg2">
                    <a:lumMod val="50000"/>
                    <a:lumOff val="50000"/>
                  </a:schemeClr>
                </a:solidFill>
                <a:latin typeface="+mn-lt"/>
              </a:rPr>
              <a:t>	</a:t>
            </a: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 </a:t>
            </a:r>
            <a:r>
              <a:rPr lang="en-US" sz="1400" dirty="0">
                <a:solidFill>
                  <a:schemeClr val="bg2">
                    <a:lumMod val="50000"/>
                    <a:lumOff val="50000"/>
                  </a:schemeClr>
                </a:solidFill>
                <a:latin typeface="+mn-lt"/>
              </a:rPr>
              <a:t>+ 7) / 2 = </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b="1" dirty="0">
                <a:solidFill>
                  <a:schemeClr val="bg2">
                    <a:lumMod val="50000"/>
                    <a:lumOff val="50000"/>
                  </a:schemeClr>
                </a:solidFill>
                <a:latin typeface="+mn-lt"/>
              </a:rPr>
              <a:t>For three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7, 8</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7+8</a:t>
            </a:r>
            <a:r>
              <a:rPr lang="en-US" sz="1400" dirty="0">
                <a:solidFill>
                  <a:schemeClr val="bg2">
                    <a:lumMod val="50000"/>
                    <a:lumOff val="50000"/>
                  </a:schemeClr>
                </a:solidFill>
                <a:latin typeface="+mn-lt"/>
              </a:rPr>
              <a:t>) / 2 = </a:t>
            </a: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70C30571-26E0-4ADE-9B15-CDE05AE72EB8}"/>
                  </a:ext>
                </a:extLst>
              </p14:cNvPr>
              <p14:cNvContentPartPr/>
              <p14:nvPr/>
            </p14:nvContentPartPr>
            <p14:xfrm>
              <a:off x="1523880" y="690480"/>
              <a:ext cx="6925320" cy="3229560"/>
            </p14:xfrm>
          </p:contentPart>
        </mc:Choice>
        <mc:Fallback xmlns="">
          <p:pic>
            <p:nvPicPr>
              <p:cNvPr id="4" name="Ink 3">
                <a:extLst>
                  <a:ext uri="{FF2B5EF4-FFF2-40B4-BE49-F238E27FC236}">
                    <a16:creationId xmlns:a16="http://schemas.microsoft.com/office/drawing/2014/main" id="{70C30571-26E0-4ADE-9B15-CDE05AE72EB8}"/>
                  </a:ext>
                </a:extLst>
              </p:cNvPr>
              <p:cNvPicPr/>
              <p:nvPr/>
            </p:nvPicPr>
            <p:blipFill>
              <a:blip r:embed="rId3"/>
              <a:stretch>
                <a:fillRect/>
              </a:stretch>
            </p:blipFill>
            <p:spPr>
              <a:xfrm>
                <a:off x="1514520" y="681120"/>
                <a:ext cx="6944040" cy="3248280"/>
              </a:xfrm>
              <a:prstGeom prst="rect">
                <a:avLst/>
              </a:prstGeom>
            </p:spPr>
          </p:pic>
        </mc:Fallback>
      </mc:AlternateContent>
    </p:spTree>
    <p:extLst>
      <p:ext uri="{BB962C8B-B14F-4D97-AF65-F5344CB8AC3E}">
        <p14:creationId xmlns:p14="http://schemas.microsoft.com/office/powerpoint/2010/main" val="3501129861"/>
      </p:ext>
    </p:extLst>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3019A-8969-4E41-917D-0CD27630D77D}"/>
              </a:ext>
            </a:extLst>
          </p:cNvPr>
          <p:cNvSpPr>
            <a:spLocks noGrp="1"/>
          </p:cNvSpPr>
          <p:nvPr>
            <p:ph type="title"/>
          </p:nvPr>
        </p:nvSpPr>
        <p:spPr>
          <a:xfrm>
            <a:off x="0" y="0"/>
            <a:ext cx="8229600" cy="637794"/>
          </a:xfrm>
        </p:spPr>
        <p:txBody>
          <a:bodyPr/>
          <a:lstStyle/>
          <a:p>
            <a:r>
              <a:rPr lang="en-US" dirty="0"/>
              <a:t>Measure of Central Tendency</a:t>
            </a:r>
          </a:p>
        </p:txBody>
      </p:sp>
      <p:sp>
        <p:nvSpPr>
          <p:cNvPr id="4" name="Content Placeholder 2">
            <a:extLst>
              <a:ext uri="{FF2B5EF4-FFF2-40B4-BE49-F238E27FC236}">
                <a16:creationId xmlns:a16="http://schemas.microsoft.com/office/drawing/2014/main" id="{39E72A63-31AC-4F6E-9D77-DF5F16FB8C2D}"/>
              </a:ext>
            </a:extLst>
          </p:cNvPr>
          <p:cNvSpPr txBox="1">
            <a:spLocks/>
          </p:cNvSpPr>
          <p:nvPr/>
        </p:nvSpPr>
        <p:spPr>
          <a:xfrm>
            <a:off x="196491" y="637794"/>
            <a:ext cx="7836617" cy="3200400"/>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r>
              <a:rPr lang="en-US" sz="1900" b="1" kern="1200" dirty="0">
                <a:solidFill>
                  <a:schemeClr val="bg2">
                    <a:lumMod val="50000"/>
                    <a:lumOff val="50000"/>
                  </a:schemeClr>
                </a:solidFill>
                <a:latin typeface="+mn-lt"/>
                <a:ea typeface="+mn-ea"/>
              </a:rPr>
              <a:t>Measure of central tendency </a:t>
            </a:r>
            <a:r>
              <a:rPr lang="en-US" sz="1900" i="1" kern="1200" dirty="0">
                <a:solidFill>
                  <a:schemeClr val="bg2">
                    <a:lumMod val="50000"/>
                    <a:lumOff val="50000"/>
                  </a:schemeClr>
                </a:solidFill>
                <a:latin typeface="+mn-lt"/>
                <a:ea typeface="+mn-ea"/>
              </a:rPr>
              <a:t>yield information about the center, or middle part,</a:t>
            </a:r>
            <a:r>
              <a:rPr lang="en-US" sz="1900" kern="1200" dirty="0">
                <a:solidFill>
                  <a:schemeClr val="bg2">
                    <a:lumMod val="50000"/>
                    <a:lumOff val="50000"/>
                  </a:schemeClr>
                </a:solidFill>
                <a:latin typeface="+mn-lt"/>
                <a:ea typeface="+mn-ea"/>
              </a:rPr>
              <a:t> </a:t>
            </a:r>
            <a:r>
              <a:rPr lang="en-US" sz="1900" i="1" kern="1200" dirty="0">
                <a:solidFill>
                  <a:schemeClr val="bg2">
                    <a:lumMod val="50000"/>
                    <a:lumOff val="50000"/>
                  </a:schemeClr>
                </a:solidFill>
                <a:latin typeface="+mn-lt"/>
                <a:ea typeface="+mn-ea"/>
              </a:rPr>
              <a:t>of a group of numbers</a:t>
            </a:r>
            <a:endParaRPr lang="en-US" i="1" kern="0" dirty="0"/>
          </a:p>
        </p:txBody>
      </p:sp>
      <p:sp>
        <p:nvSpPr>
          <p:cNvPr id="5" name="Rectangle 4">
            <a:extLst>
              <a:ext uri="{FF2B5EF4-FFF2-40B4-BE49-F238E27FC236}">
                <a16:creationId xmlns:a16="http://schemas.microsoft.com/office/drawing/2014/main" id="{A43048EA-074A-4CE3-A9B1-938902706637}"/>
              </a:ext>
            </a:extLst>
          </p:cNvPr>
          <p:cNvSpPr/>
          <p:nvPr/>
        </p:nvSpPr>
        <p:spPr>
          <a:xfrm>
            <a:off x="320041"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TextBox 5">
            <a:extLst>
              <a:ext uri="{FF2B5EF4-FFF2-40B4-BE49-F238E27FC236}">
                <a16:creationId xmlns:a16="http://schemas.microsoft.com/office/drawing/2014/main" id="{700023B3-6EF9-4F3A-8FD6-79F54B337413}"/>
              </a:ext>
            </a:extLst>
          </p:cNvPr>
          <p:cNvSpPr txBox="1"/>
          <p:nvPr/>
        </p:nvSpPr>
        <p:spPr>
          <a:xfrm>
            <a:off x="390889" y="1745038"/>
            <a:ext cx="1961422" cy="1631216"/>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AN :</a:t>
            </a:r>
          </a:p>
          <a:p>
            <a:pPr>
              <a:spcBef>
                <a:spcPts val="0"/>
              </a:spcBef>
              <a:spcAft>
                <a:spcPts val="0"/>
              </a:spcAft>
              <a:buClr>
                <a:schemeClr val="bg1"/>
              </a:buClr>
            </a:pPr>
            <a:endParaRPr lang="en-US" sz="14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a:t>
            </a:r>
            <a:r>
              <a:rPr lang="en-US" sz="1800" b="0" i="0" dirty="0">
                <a:solidFill>
                  <a:schemeClr val="bg2">
                    <a:lumMod val="50000"/>
                    <a:lumOff val="50000"/>
                  </a:schemeClr>
                </a:solidFill>
                <a:effectLst/>
                <a:latin typeface="Inter"/>
              </a:rPr>
              <a:t>he sum of all values divided by the total number of values</a:t>
            </a:r>
            <a:endParaRPr lang="en-US" b="1" dirty="0">
              <a:solidFill>
                <a:schemeClr val="bg2">
                  <a:lumMod val="50000"/>
                  <a:lumOff val="50000"/>
                </a:schemeClr>
              </a:solidFill>
              <a:latin typeface="+mn-lt"/>
            </a:endParaRPr>
          </a:p>
        </p:txBody>
      </p:sp>
      <p:sp>
        <p:nvSpPr>
          <p:cNvPr id="7" name="Rectangle 6">
            <a:extLst>
              <a:ext uri="{FF2B5EF4-FFF2-40B4-BE49-F238E27FC236}">
                <a16:creationId xmlns:a16="http://schemas.microsoft.com/office/drawing/2014/main" id="{1A7A125E-8E88-4D2C-B02B-C3AD10A4C40F}"/>
              </a:ext>
            </a:extLst>
          </p:cNvPr>
          <p:cNvSpPr/>
          <p:nvPr/>
        </p:nvSpPr>
        <p:spPr>
          <a:xfrm>
            <a:off x="3306964"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TextBox 7">
            <a:extLst>
              <a:ext uri="{FF2B5EF4-FFF2-40B4-BE49-F238E27FC236}">
                <a16:creationId xmlns:a16="http://schemas.microsoft.com/office/drawing/2014/main" id="{89DAB812-C601-44F9-A00D-018D6B1E0839}"/>
              </a:ext>
            </a:extLst>
          </p:cNvPr>
          <p:cNvSpPr txBox="1"/>
          <p:nvPr/>
        </p:nvSpPr>
        <p:spPr>
          <a:xfrm>
            <a:off x="3377812" y="1745038"/>
            <a:ext cx="1961422" cy="130805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DIAN :</a:t>
            </a:r>
            <a:endParaRPr lang="en-US" sz="1100" b="1" dirty="0">
              <a:solidFill>
                <a:schemeClr val="accent1"/>
              </a:solidFill>
              <a:latin typeface="+mn-lt"/>
            </a:endParaRPr>
          </a:p>
          <a:p>
            <a:pPr>
              <a:spcBef>
                <a:spcPts val="0"/>
              </a:spcBef>
              <a:spcAft>
                <a:spcPts val="0"/>
              </a:spcAft>
              <a:buClr>
                <a:schemeClr val="bg1"/>
              </a:buClr>
            </a:pPr>
            <a:endParaRPr lang="en-US" sz="11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he middle number in an ordered data set</a:t>
            </a:r>
          </a:p>
        </p:txBody>
      </p:sp>
      <p:sp>
        <p:nvSpPr>
          <p:cNvPr id="9" name="Rectangle 8">
            <a:extLst>
              <a:ext uri="{FF2B5EF4-FFF2-40B4-BE49-F238E27FC236}">
                <a16:creationId xmlns:a16="http://schemas.microsoft.com/office/drawing/2014/main" id="{905A28FF-286E-472E-85BF-8CEB657F1CF3}"/>
              </a:ext>
            </a:extLst>
          </p:cNvPr>
          <p:cNvSpPr/>
          <p:nvPr/>
        </p:nvSpPr>
        <p:spPr>
          <a:xfrm>
            <a:off x="6293888"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67FCE0DA-E98D-49E1-B9C2-4C30AF458A0C}"/>
              </a:ext>
            </a:extLst>
          </p:cNvPr>
          <p:cNvSpPr txBox="1"/>
          <p:nvPr/>
        </p:nvSpPr>
        <p:spPr>
          <a:xfrm>
            <a:off x="6364736" y="1745038"/>
            <a:ext cx="1961422" cy="89255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ODE :</a:t>
            </a:r>
            <a:endParaRPr lang="en-US" sz="1000" b="1" dirty="0">
              <a:solidFill>
                <a:schemeClr val="accent1"/>
              </a:solidFill>
              <a:latin typeface="+mn-lt"/>
            </a:endParaRPr>
          </a:p>
          <a:p>
            <a:pPr>
              <a:spcBef>
                <a:spcPts val="0"/>
              </a:spcBef>
              <a:spcAft>
                <a:spcPts val="0"/>
              </a:spcAft>
              <a:buClr>
                <a:schemeClr val="bg1"/>
              </a:buClr>
            </a:pPr>
            <a:endParaRPr lang="en-US" sz="1000" b="1" dirty="0">
              <a:solidFill>
                <a:schemeClr val="accent1"/>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Inter"/>
              </a:rPr>
              <a:t>The most frequent value</a:t>
            </a:r>
          </a:p>
          <a:p>
            <a:pPr>
              <a:spcBef>
                <a:spcPts val="0"/>
              </a:spcBef>
              <a:spcAft>
                <a:spcPts val="0"/>
              </a:spcAft>
              <a:buClr>
                <a:schemeClr val="bg1"/>
              </a:buClr>
            </a:pP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316A7735-0A96-4B77-AB23-9C40BFA01DBD}"/>
                  </a:ext>
                </a:extLst>
              </p14:cNvPr>
              <p14:cNvContentPartPr/>
              <p14:nvPr/>
            </p14:nvContentPartPr>
            <p14:xfrm>
              <a:off x="171360" y="428760"/>
              <a:ext cx="7806240" cy="4667400"/>
            </p14:xfrm>
          </p:contentPart>
        </mc:Choice>
        <mc:Fallback xmlns="">
          <p:pic>
            <p:nvPicPr>
              <p:cNvPr id="3" name="Ink 2">
                <a:extLst>
                  <a:ext uri="{FF2B5EF4-FFF2-40B4-BE49-F238E27FC236}">
                    <a16:creationId xmlns:a16="http://schemas.microsoft.com/office/drawing/2014/main" id="{316A7735-0A96-4B77-AB23-9C40BFA01DBD}"/>
                  </a:ext>
                </a:extLst>
              </p:cNvPr>
              <p:cNvPicPr/>
              <p:nvPr/>
            </p:nvPicPr>
            <p:blipFill>
              <a:blip r:embed="rId3"/>
              <a:stretch>
                <a:fillRect/>
              </a:stretch>
            </p:blipFill>
            <p:spPr>
              <a:xfrm>
                <a:off x="162000" y="419400"/>
                <a:ext cx="7824960" cy="4686120"/>
              </a:xfrm>
              <a:prstGeom prst="rect">
                <a:avLst/>
              </a:prstGeom>
            </p:spPr>
          </p:pic>
        </mc:Fallback>
      </mc:AlternateContent>
    </p:spTree>
    <p:extLst>
      <p:ext uri="{BB962C8B-B14F-4D97-AF65-F5344CB8AC3E}">
        <p14:creationId xmlns:p14="http://schemas.microsoft.com/office/powerpoint/2010/main" val="4068607360"/>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8C326E3-E793-4419-9749-AAB5C1FA8435}"/>
              </a:ext>
            </a:extLst>
          </p:cNvPr>
          <p:cNvSpPr>
            <a:spLocks noGrp="1"/>
          </p:cNvSpPr>
          <p:nvPr>
            <p:ph type="body" sz="quarter" idx="10"/>
          </p:nvPr>
        </p:nvSpPr>
        <p:spPr>
          <a:xfrm>
            <a:off x="274318" y="659921"/>
            <a:ext cx="7955280" cy="238842"/>
          </a:xfrm>
        </p:spPr>
        <p:txBody>
          <a:bodyPr/>
          <a:lstStyle/>
          <a:p>
            <a:pPr marL="0" indent="0">
              <a:buNone/>
            </a:pPr>
            <a:r>
              <a:rPr lang="en-US" dirty="0"/>
              <a:t>Let’s </a:t>
            </a:r>
            <a:r>
              <a:rPr lang="en-US" dirty="0" err="1"/>
              <a:t>Gooooooooooo</a:t>
            </a:r>
            <a:r>
              <a:rPr lang="en-US" dirty="0"/>
              <a:t>… </a:t>
            </a:r>
          </a:p>
        </p:txBody>
      </p:sp>
      <p:sp>
        <p:nvSpPr>
          <p:cNvPr id="2" name="Title 1">
            <a:extLst>
              <a:ext uri="{FF2B5EF4-FFF2-40B4-BE49-F238E27FC236}">
                <a16:creationId xmlns:a16="http://schemas.microsoft.com/office/drawing/2014/main" id="{4643F953-1C23-46FD-AAAE-48D1EF3239AA}"/>
              </a:ext>
            </a:extLst>
          </p:cNvPr>
          <p:cNvSpPr>
            <a:spLocks noGrp="1"/>
          </p:cNvSpPr>
          <p:nvPr>
            <p:ph type="title"/>
          </p:nvPr>
        </p:nvSpPr>
        <p:spPr>
          <a:xfrm>
            <a:off x="176597" y="73388"/>
            <a:ext cx="7955280" cy="640080"/>
          </a:xfrm>
        </p:spPr>
        <p:txBody>
          <a:bodyPr>
            <a:normAutofit/>
          </a:bodyPr>
          <a:lstStyle/>
          <a:p>
            <a:r>
              <a:rPr lang="en-US" sz="3200" dirty="0"/>
              <a:t>Ready ??????????????</a:t>
            </a:r>
            <a:endParaRPr lang="en-US" dirty="0"/>
          </a:p>
        </p:txBody>
      </p:sp>
      <p:pic>
        <p:nvPicPr>
          <p:cNvPr id="6" name="Picture 5" descr="A red car driving on a road&#10;&#10;Description automatically generated with medium confidence">
            <a:extLst>
              <a:ext uri="{FF2B5EF4-FFF2-40B4-BE49-F238E27FC236}">
                <a16:creationId xmlns:a16="http://schemas.microsoft.com/office/drawing/2014/main" id="{24B9B8C4-AA54-41BC-B108-D9677BC8109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74318" y="1189538"/>
            <a:ext cx="6908259" cy="3570926"/>
          </a:xfrm>
          <a:prstGeom prst="rect">
            <a:avLst/>
          </a:prstGeom>
        </p:spPr>
      </p:pic>
    </p:spTree>
    <p:extLst>
      <p:ext uri="{BB962C8B-B14F-4D97-AF65-F5344CB8AC3E}">
        <p14:creationId xmlns:p14="http://schemas.microsoft.com/office/powerpoint/2010/main" val="379037975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602528787"/>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6C7DD8-E1BC-4EBD-BFD4-E6A6AF47F2E0}"/>
              </a:ext>
            </a:extLst>
          </p:cNvPr>
          <p:cNvSpPr>
            <a:spLocks noGrp="1"/>
          </p:cNvSpPr>
          <p:nvPr>
            <p:ph type="title"/>
          </p:nvPr>
        </p:nvSpPr>
        <p:spPr>
          <a:xfrm>
            <a:off x="113776" y="118322"/>
            <a:ext cx="7955280" cy="640080"/>
          </a:xfrm>
        </p:spPr>
        <p:txBody>
          <a:bodyPr/>
          <a:lstStyle/>
          <a:p>
            <a:r>
              <a:rPr lang="en-US" dirty="0"/>
              <a:t>Mean </a:t>
            </a:r>
          </a:p>
        </p:txBody>
      </p:sp>
      <p:sp>
        <p:nvSpPr>
          <p:cNvPr id="4" name="Content Placeholder 3">
            <a:extLst>
              <a:ext uri="{FF2B5EF4-FFF2-40B4-BE49-F238E27FC236}">
                <a16:creationId xmlns:a16="http://schemas.microsoft.com/office/drawing/2014/main" id="{76ABAD4C-07E6-4B48-A259-F8E361E4AAD0}"/>
              </a:ext>
            </a:extLst>
          </p:cNvPr>
          <p:cNvSpPr>
            <a:spLocks noGrp="1"/>
          </p:cNvSpPr>
          <p:nvPr>
            <p:ph sz="half" idx="1"/>
          </p:nvPr>
        </p:nvSpPr>
        <p:spPr>
          <a:xfrm>
            <a:off x="113776" y="828544"/>
            <a:ext cx="7955280" cy="3017520"/>
          </a:xfrm>
        </p:spPr>
        <p:txBody>
          <a:bodyPr/>
          <a:lstStyle/>
          <a:p>
            <a:r>
              <a:rPr lang="en-US" dirty="0"/>
              <a:t>The mean is the average of a group of number and is computed by summing all numbers and dividing by the number of numbers.</a:t>
            </a:r>
          </a:p>
          <a:p>
            <a:endParaRPr lang="en-US" dirty="0"/>
          </a:p>
          <a:p>
            <a:pPr marL="0" indent="0">
              <a:buNone/>
            </a:pPr>
            <a:r>
              <a:rPr lang="en-US" b="1" dirty="0"/>
              <a:t>Ex: </a:t>
            </a:r>
            <a:r>
              <a:rPr lang="en-US" dirty="0"/>
              <a:t>of a Jumping castle</a:t>
            </a:r>
          </a:p>
          <a:p>
            <a:endParaRPr lang="en-US" dirty="0"/>
          </a:p>
          <a:p>
            <a:pPr marL="0" indent="0">
              <a:buNone/>
            </a:pPr>
            <a:endParaRPr lang="en-US" dirty="0"/>
          </a:p>
        </p:txBody>
      </p:sp>
      <p:pic>
        <p:nvPicPr>
          <p:cNvPr id="8" name="Picture 7" descr="A picture containing tree, outdoor, colorful&#10;&#10;Description automatically generated">
            <a:extLst>
              <a:ext uri="{FF2B5EF4-FFF2-40B4-BE49-F238E27FC236}">
                <a16:creationId xmlns:a16="http://schemas.microsoft.com/office/drawing/2014/main" id="{431D9C13-880E-4616-A698-2D43B2DD595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40741" y="1898600"/>
            <a:ext cx="2919771" cy="1947464"/>
          </a:xfrm>
          <a:prstGeom prst="rect">
            <a:avLst/>
          </a:prstGeom>
        </p:spPr>
      </p:pic>
      <p:sp>
        <p:nvSpPr>
          <p:cNvPr id="10" name="TextBox 9">
            <a:extLst>
              <a:ext uri="{FF2B5EF4-FFF2-40B4-BE49-F238E27FC236}">
                <a16:creationId xmlns:a16="http://schemas.microsoft.com/office/drawing/2014/main" id="{9527B901-F112-4CF6-B0AB-5B0206A695F7}"/>
              </a:ext>
            </a:extLst>
          </p:cNvPr>
          <p:cNvSpPr txBox="1"/>
          <p:nvPr/>
        </p:nvSpPr>
        <p:spPr>
          <a:xfrm>
            <a:off x="113776" y="4271853"/>
            <a:ext cx="5086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the mean is accurate but not useful</a:t>
            </a: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02ED2F4-3CAD-43D4-8D09-3B9F2572CE40}"/>
                  </a:ext>
                </a:extLst>
              </p14:cNvPr>
              <p14:cNvContentPartPr/>
              <p14:nvPr/>
            </p14:nvContentPartPr>
            <p14:xfrm>
              <a:off x="447840" y="1028880"/>
              <a:ext cx="7944120" cy="3843360"/>
            </p14:xfrm>
          </p:contentPart>
        </mc:Choice>
        <mc:Fallback xmlns="">
          <p:pic>
            <p:nvPicPr>
              <p:cNvPr id="2" name="Ink 1">
                <a:extLst>
                  <a:ext uri="{FF2B5EF4-FFF2-40B4-BE49-F238E27FC236}">
                    <a16:creationId xmlns:a16="http://schemas.microsoft.com/office/drawing/2014/main" id="{802ED2F4-3CAD-43D4-8D09-3B9F2572CE40}"/>
                  </a:ext>
                </a:extLst>
              </p:cNvPr>
              <p:cNvPicPr/>
              <p:nvPr/>
            </p:nvPicPr>
            <p:blipFill>
              <a:blip r:embed="rId5"/>
              <a:stretch>
                <a:fillRect/>
              </a:stretch>
            </p:blipFill>
            <p:spPr>
              <a:xfrm>
                <a:off x="438480" y="1019520"/>
                <a:ext cx="7962840" cy="3862080"/>
              </a:xfrm>
              <a:prstGeom prst="rect">
                <a:avLst/>
              </a:prstGeom>
            </p:spPr>
          </p:pic>
        </mc:Fallback>
      </mc:AlternateContent>
    </p:spTree>
    <p:extLst>
      <p:ext uri="{BB962C8B-B14F-4D97-AF65-F5344CB8AC3E}">
        <p14:creationId xmlns:p14="http://schemas.microsoft.com/office/powerpoint/2010/main" val="2688859099"/>
      </p:ext>
    </p:extLst>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22DD31-3378-4BFD-858A-45134180E98B}"/>
              </a:ext>
            </a:extLst>
          </p:cNvPr>
          <p:cNvSpPr>
            <a:spLocks noGrp="1"/>
          </p:cNvSpPr>
          <p:nvPr>
            <p:ph type="title"/>
          </p:nvPr>
        </p:nvSpPr>
        <p:spPr>
          <a:xfrm>
            <a:off x="78874" y="83421"/>
            <a:ext cx="7955280" cy="640080"/>
          </a:xfrm>
        </p:spPr>
        <p:txBody>
          <a:bodyPr/>
          <a:lstStyle/>
          <a:p>
            <a:r>
              <a:rPr lang="en-US" dirty="0"/>
              <a:t>Median</a:t>
            </a:r>
          </a:p>
        </p:txBody>
      </p:sp>
      <p:sp>
        <p:nvSpPr>
          <p:cNvPr id="4" name="Content Placeholder 3">
            <a:extLst>
              <a:ext uri="{FF2B5EF4-FFF2-40B4-BE49-F238E27FC236}">
                <a16:creationId xmlns:a16="http://schemas.microsoft.com/office/drawing/2014/main" id="{6E9599F9-7E29-4BD8-8E52-18FF8C724383}"/>
              </a:ext>
            </a:extLst>
          </p:cNvPr>
          <p:cNvSpPr>
            <a:spLocks noGrp="1"/>
          </p:cNvSpPr>
          <p:nvPr>
            <p:ph sz="half" idx="1"/>
          </p:nvPr>
        </p:nvSpPr>
        <p:spPr>
          <a:xfrm>
            <a:off x="204517" y="870425"/>
            <a:ext cx="8269388" cy="3017520"/>
          </a:xfrm>
        </p:spPr>
        <p:txBody>
          <a:bodyPr/>
          <a:lstStyle/>
          <a:p>
            <a:r>
              <a:rPr lang="en-US" dirty="0"/>
              <a:t>List all the numbers in order and choose the middle one</a:t>
            </a:r>
          </a:p>
          <a:p>
            <a:r>
              <a:rPr lang="en-US" dirty="0"/>
              <a:t>Ex : Jumping castle continued </a:t>
            </a:r>
          </a:p>
          <a:p>
            <a:r>
              <a:rPr lang="en-US" dirty="0"/>
              <a:t>List the ages in order.</a:t>
            </a:r>
          </a:p>
        </p:txBody>
      </p:sp>
      <p:pic>
        <p:nvPicPr>
          <p:cNvPr id="6" name="Picture 5" descr="A group of planets in space&#10;&#10;Description automatically generated with low confidence">
            <a:extLst>
              <a:ext uri="{FF2B5EF4-FFF2-40B4-BE49-F238E27FC236}">
                <a16:creationId xmlns:a16="http://schemas.microsoft.com/office/drawing/2014/main" id="{375C0BAF-A535-485E-8530-85DE19CD3D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D102782-598E-47F0-A21A-7F9FA5A857E3}"/>
                  </a:ext>
                </a:extLst>
              </p14:cNvPr>
              <p14:cNvContentPartPr/>
              <p14:nvPr/>
            </p14:nvContentPartPr>
            <p14:xfrm>
              <a:off x="281160" y="476280"/>
              <a:ext cx="4810320" cy="3400920"/>
            </p14:xfrm>
          </p:contentPart>
        </mc:Choice>
        <mc:Fallback xmlns="">
          <p:pic>
            <p:nvPicPr>
              <p:cNvPr id="2" name="Ink 1">
                <a:extLst>
                  <a:ext uri="{FF2B5EF4-FFF2-40B4-BE49-F238E27FC236}">
                    <a16:creationId xmlns:a16="http://schemas.microsoft.com/office/drawing/2014/main" id="{8D102782-598E-47F0-A21A-7F9FA5A857E3}"/>
                  </a:ext>
                </a:extLst>
              </p:cNvPr>
              <p:cNvPicPr/>
              <p:nvPr/>
            </p:nvPicPr>
            <p:blipFill>
              <a:blip r:embed="rId5"/>
              <a:stretch>
                <a:fillRect/>
              </a:stretch>
            </p:blipFill>
            <p:spPr>
              <a:xfrm>
                <a:off x="271800" y="466920"/>
                <a:ext cx="4829040" cy="3419640"/>
              </a:xfrm>
              <a:prstGeom prst="rect">
                <a:avLst/>
              </a:prstGeom>
            </p:spPr>
          </p:pic>
        </mc:Fallback>
      </mc:AlternateContent>
    </p:spTree>
    <p:extLst>
      <p:ext uri="{BB962C8B-B14F-4D97-AF65-F5344CB8AC3E}">
        <p14:creationId xmlns:p14="http://schemas.microsoft.com/office/powerpoint/2010/main" val="1532996662"/>
      </p:ext>
    </p:extLst>
  </p:cSld>
  <p:clrMapOvr>
    <a:masterClrMapping/>
  </p:clrMapOvr>
  <p:transition spd="med">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ABBA51-A685-4F2C-AE0B-DE4088F8EF66}"/>
              </a:ext>
            </a:extLst>
          </p:cNvPr>
          <p:cNvSpPr>
            <a:spLocks noGrp="1"/>
          </p:cNvSpPr>
          <p:nvPr>
            <p:ph type="title"/>
          </p:nvPr>
        </p:nvSpPr>
        <p:spPr/>
        <p:txBody>
          <a:bodyPr/>
          <a:lstStyle/>
          <a:p>
            <a:r>
              <a:rPr lang="en-US" dirty="0"/>
              <a:t>Median – Two middle numbers</a:t>
            </a:r>
          </a:p>
        </p:txBody>
      </p:sp>
      <p:sp>
        <p:nvSpPr>
          <p:cNvPr id="4" name="Content Placeholder 3">
            <a:extLst>
              <a:ext uri="{FF2B5EF4-FFF2-40B4-BE49-F238E27FC236}">
                <a16:creationId xmlns:a16="http://schemas.microsoft.com/office/drawing/2014/main" id="{B4DE2912-DDA6-440E-BEA6-B3A254DD16E9}"/>
              </a:ext>
            </a:extLst>
          </p:cNvPr>
          <p:cNvSpPr>
            <a:spLocks noGrp="1"/>
          </p:cNvSpPr>
          <p:nvPr>
            <p:ph sz="half" idx="1"/>
          </p:nvPr>
        </p:nvSpPr>
        <p:spPr>
          <a:xfrm>
            <a:off x="274319" y="1010028"/>
            <a:ext cx="7955280" cy="3017520"/>
          </a:xfrm>
        </p:spPr>
        <p:txBody>
          <a:bodyPr/>
          <a:lstStyle/>
          <a:p>
            <a:r>
              <a:rPr lang="en-US" dirty="0"/>
              <a:t>If there are two middle number, then just take the average of those two numbers</a:t>
            </a:r>
          </a:p>
          <a:p>
            <a:endParaRPr lang="en-US" dirty="0"/>
          </a:p>
          <a:p>
            <a:r>
              <a:rPr lang="en-US" dirty="0"/>
              <a:t>Ex : find Median of 7,9,10,11,11,15</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5A7BDC9F-B933-4B46-955A-D6953C5C6401}"/>
                  </a:ext>
                </a:extLst>
              </p14:cNvPr>
              <p14:cNvContentPartPr/>
              <p14:nvPr/>
            </p14:nvContentPartPr>
            <p14:xfrm>
              <a:off x="147600" y="95400"/>
              <a:ext cx="8844480" cy="2986200"/>
            </p14:xfrm>
          </p:contentPart>
        </mc:Choice>
        <mc:Fallback xmlns="">
          <p:pic>
            <p:nvPicPr>
              <p:cNvPr id="2" name="Ink 1">
                <a:extLst>
                  <a:ext uri="{FF2B5EF4-FFF2-40B4-BE49-F238E27FC236}">
                    <a16:creationId xmlns:a16="http://schemas.microsoft.com/office/drawing/2014/main" id="{5A7BDC9F-B933-4B46-955A-D6953C5C6401}"/>
                  </a:ext>
                </a:extLst>
              </p:cNvPr>
              <p:cNvPicPr/>
              <p:nvPr/>
            </p:nvPicPr>
            <p:blipFill>
              <a:blip r:embed="rId3"/>
              <a:stretch>
                <a:fillRect/>
              </a:stretch>
            </p:blipFill>
            <p:spPr>
              <a:xfrm>
                <a:off x="138240" y="86040"/>
                <a:ext cx="8863200" cy="3004920"/>
              </a:xfrm>
              <a:prstGeom prst="rect">
                <a:avLst/>
              </a:prstGeom>
            </p:spPr>
          </p:pic>
        </mc:Fallback>
      </mc:AlternateContent>
    </p:spTree>
    <p:extLst>
      <p:ext uri="{BB962C8B-B14F-4D97-AF65-F5344CB8AC3E}">
        <p14:creationId xmlns:p14="http://schemas.microsoft.com/office/powerpoint/2010/main" val="3262174151"/>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25CB22-FF51-4206-A208-F34D589823FC}"/>
              </a:ext>
            </a:extLst>
          </p:cNvPr>
          <p:cNvSpPr>
            <a:spLocks noGrp="1"/>
          </p:cNvSpPr>
          <p:nvPr>
            <p:ph type="title"/>
          </p:nvPr>
        </p:nvSpPr>
        <p:spPr>
          <a:xfrm>
            <a:off x="78874" y="13926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38C4030F-B49C-4D2E-A105-0BDA558200F7}"/>
              </a:ext>
            </a:extLst>
          </p:cNvPr>
          <p:cNvSpPr>
            <a:spLocks noGrp="1"/>
          </p:cNvSpPr>
          <p:nvPr>
            <p:ph sz="half" idx="1"/>
          </p:nvPr>
        </p:nvSpPr>
        <p:spPr>
          <a:xfrm>
            <a:off x="148677" y="670095"/>
            <a:ext cx="7955280" cy="3908885"/>
          </a:xfrm>
        </p:spPr>
        <p:txBody>
          <a:bodyPr/>
          <a:lstStyle/>
          <a:p>
            <a:r>
              <a:rPr lang="en-US" sz="1400" dirty="0">
                <a:solidFill>
                  <a:schemeClr val="bg2">
                    <a:lumMod val="50000"/>
                    <a:lumOff val="50000"/>
                  </a:schemeClr>
                </a:solidFill>
                <a:latin typeface="Inter"/>
              </a:rPr>
              <a:t>The most frequent value. (the value that occurs the highest number of times)</a:t>
            </a:r>
          </a:p>
          <a:p>
            <a:endParaRPr lang="en-US" dirty="0">
              <a:solidFill>
                <a:schemeClr val="bg2">
                  <a:lumMod val="50000"/>
                  <a:lumOff val="50000"/>
                </a:schemeClr>
              </a:solidFill>
              <a:latin typeface="Inter"/>
            </a:endParaRPr>
          </a:p>
          <a:p>
            <a:r>
              <a:rPr lang="en-US" sz="1400" dirty="0">
                <a:solidFill>
                  <a:schemeClr val="bg2">
                    <a:lumMod val="50000"/>
                    <a:lumOff val="50000"/>
                  </a:schemeClr>
                </a:solidFill>
                <a:latin typeface="Inter"/>
              </a:rPr>
              <a:t>Ex : Jumping castle continued</a:t>
            </a:r>
          </a:p>
          <a:p>
            <a:r>
              <a:rPr lang="en-US" dirty="0">
                <a:solidFill>
                  <a:schemeClr val="bg2">
                    <a:lumMod val="50000"/>
                    <a:lumOff val="50000"/>
                  </a:schemeClr>
                </a:solidFill>
                <a:latin typeface="Inter"/>
              </a:rPr>
              <a:t>Group the numbers so we can count them : </a:t>
            </a:r>
            <a:endParaRPr lang="en-US" sz="1400" dirty="0">
              <a:solidFill>
                <a:schemeClr val="bg2">
                  <a:lumMod val="50000"/>
                  <a:lumOff val="50000"/>
                </a:schemeClr>
              </a:solidFill>
              <a:latin typeface="Inter"/>
            </a:endParaRPr>
          </a:p>
          <a:p>
            <a:endParaRPr lang="en-US" dirty="0"/>
          </a:p>
        </p:txBody>
      </p:sp>
      <p:pic>
        <p:nvPicPr>
          <p:cNvPr id="6" name="Picture 5" descr="A group of planets in space&#10;&#10;Description automatically generated with low confidence">
            <a:extLst>
              <a:ext uri="{FF2B5EF4-FFF2-40B4-BE49-F238E27FC236}">
                <a16:creationId xmlns:a16="http://schemas.microsoft.com/office/drawing/2014/main" id="{9913AA4F-182A-4CFF-96F3-3A802A25BE2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D8F19B24-08AF-4A69-B1B4-C048F3097B7B}"/>
                  </a:ext>
                </a:extLst>
              </p14:cNvPr>
              <p14:cNvContentPartPr/>
              <p14:nvPr/>
            </p14:nvContentPartPr>
            <p14:xfrm>
              <a:off x="528480" y="861840"/>
              <a:ext cx="3719880" cy="2586600"/>
            </p14:xfrm>
          </p:contentPart>
        </mc:Choice>
        <mc:Fallback xmlns="">
          <p:pic>
            <p:nvPicPr>
              <p:cNvPr id="2" name="Ink 1">
                <a:extLst>
                  <a:ext uri="{FF2B5EF4-FFF2-40B4-BE49-F238E27FC236}">
                    <a16:creationId xmlns:a16="http://schemas.microsoft.com/office/drawing/2014/main" id="{D8F19B24-08AF-4A69-B1B4-C048F3097B7B}"/>
                  </a:ext>
                </a:extLst>
              </p:cNvPr>
              <p:cNvPicPr/>
              <p:nvPr/>
            </p:nvPicPr>
            <p:blipFill>
              <a:blip r:embed="rId5"/>
              <a:stretch>
                <a:fillRect/>
              </a:stretch>
            </p:blipFill>
            <p:spPr>
              <a:xfrm>
                <a:off x="519120" y="852480"/>
                <a:ext cx="3738600" cy="2605320"/>
              </a:xfrm>
              <a:prstGeom prst="rect">
                <a:avLst/>
              </a:prstGeom>
            </p:spPr>
          </p:pic>
        </mc:Fallback>
      </mc:AlternateContent>
    </p:spTree>
    <p:extLst>
      <p:ext uri="{BB962C8B-B14F-4D97-AF65-F5344CB8AC3E}">
        <p14:creationId xmlns:p14="http://schemas.microsoft.com/office/powerpoint/2010/main" val="636038740"/>
      </p:ext>
    </p:extLst>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0E9BB-181B-4BF0-A706-7A35CF408AD5}"/>
              </a:ext>
            </a:extLst>
          </p:cNvPr>
          <p:cNvSpPr>
            <a:spLocks noGrp="1"/>
          </p:cNvSpPr>
          <p:nvPr>
            <p:ph type="title"/>
          </p:nvPr>
        </p:nvSpPr>
        <p:spPr>
          <a:xfrm>
            <a:off x="204518" y="13228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F7D859AF-EC6C-404E-A3A5-5C9B7B9266E3}"/>
              </a:ext>
            </a:extLst>
          </p:cNvPr>
          <p:cNvSpPr>
            <a:spLocks noGrp="1"/>
          </p:cNvSpPr>
          <p:nvPr>
            <p:ph sz="half" idx="1"/>
          </p:nvPr>
        </p:nvSpPr>
        <p:spPr>
          <a:xfrm>
            <a:off x="274320" y="718956"/>
            <a:ext cx="7955280" cy="3853044"/>
          </a:xfrm>
        </p:spPr>
        <p:txBody>
          <a:bodyPr/>
          <a:lstStyle/>
          <a:p>
            <a:r>
              <a:rPr lang="en-US" dirty="0">
                <a:solidFill>
                  <a:schemeClr val="bg2">
                    <a:lumMod val="50000"/>
                    <a:lumOff val="50000"/>
                  </a:schemeClr>
                </a:solidFill>
              </a:rPr>
              <a:t>But Mode can be tricky, there can sometime be more than one mode</a:t>
            </a:r>
          </a:p>
          <a:p>
            <a:endParaRPr lang="en-US" dirty="0">
              <a:solidFill>
                <a:schemeClr val="bg2">
                  <a:lumMod val="50000"/>
                  <a:lumOff val="50000"/>
                </a:schemeClr>
              </a:solidFill>
            </a:endParaRPr>
          </a:p>
          <a:p>
            <a:r>
              <a:rPr lang="en-US" dirty="0">
                <a:solidFill>
                  <a:schemeClr val="bg2">
                    <a:lumMod val="50000"/>
                    <a:lumOff val="50000"/>
                  </a:schemeClr>
                </a:solidFill>
              </a:rPr>
              <a:t>Ex : What is the Mode of 10,11,11,12,12,13,14</a:t>
            </a:r>
          </a:p>
          <a:p>
            <a:endParaRPr lang="en-US" dirty="0"/>
          </a:p>
          <a:p>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30822C96-1D92-4CD5-B6FA-45519C9A8C47}"/>
                  </a:ext>
                </a:extLst>
              </p14:cNvPr>
              <p14:cNvContentPartPr/>
              <p14:nvPr/>
            </p14:nvContentPartPr>
            <p14:xfrm>
              <a:off x="600120" y="981000"/>
              <a:ext cx="6453360" cy="3672360"/>
            </p14:xfrm>
          </p:contentPart>
        </mc:Choice>
        <mc:Fallback xmlns="">
          <p:pic>
            <p:nvPicPr>
              <p:cNvPr id="2" name="Ink 1">
                <a:extLst>
                  <a:ext uri="{FF2B5EF4-FFF2-40B4-BE49-F238E27FC236}">
                    <a16:creationId xmlns:a16="http://schemas.microsoft.com/office/drawing/2014/main" id="{30822C96-1D92-4CD5-B6FA-45519C9A8C47}"/>
                  </a:ext>
                </a:extLst>
              </p:cNvPr>
              <p:cNvPicPr/>
              <p:nvPr/>
            </p:nvPicPr>
            <p:blipFill>
              <a:blip r:embed="rId3"/>
              <a:stretch>
                <a:fillRect/>
              </a:stretch>
            </p:blipFill>
            <p:spPr>
              <a:xfrm>
                <a:off x="590760" y="971640"/>
                <a:ext cx="6472080" cy="3691080"/>
              </a:xfrm>
              <a:prstGeom prst="rect">
                <a:avLst/>
              </a:prstGeom>
            </p:spPr>
          </p:pic>
        </mc:Fallback>
      </mc:AlternateContent>
    </p:spTree>
    <p:extLst>
      <p:ext uri="{BB962C8B-B14F-4D97-AF65-F5344CB8AC3E}">
        <p14:creationId xmlns:p14="http://schemas.microsoft.com/office/powerpoint/2010/main" val="3651340896"/>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05FE6-98FF-4D7B-B314-563F75F834DB}"/>
              </a:ext>
            </a:extLst>
          </p:cNvPr>
          <p:cNvSpPr>
            <a:spLocks noGrp="1"/>
          </p:cNvSpPr>
          <p:nvPr>
            <p:ph type="title"/>
          </p:nvPr>
        </p:nvSpPr>
        <p:spPr>
          <a:xfrm>
            <a:off x="50954" y="83420"/>
            <a:ext cx="7955280" cy="640080"/>
          </a:xfrm>
        </p:spPr>
        <p:txBody>
          <a:bodyPr/>
          <a:lstStyle/>
          <a:p>
            <a:r>
              <a:rPr lang="en-US" dirty="0"/>
              <a:t>Grouping</a:t>
            </a:r>
          </a:p>
        </p:txBody>
      </p:sp>
      <p:sp>
        <p:nvSpPr>
          <p:cNvPr id="4" name="Content Placeholder 3">
            <a:extLst>
              <a:ext uri="{FF2B5EF4-FFF2-40B4-BE49-F238E27FC236}">
                <a16:creationId xmlns:a16="http://schemas.microsoft.com/office/drawing/2014/main" id="{7467BCD5-CB99-4999-9385-6B8338F1F152}"/>
              </a:ext>
            </a:extLst>
          </p:cNvPr>
          <p:cNvSpPr>
            <a:spLocks noGrp="1"/>
          </p:cNvSpPr>
          <p:nvPr>
            <p:ph sz="half" idx="1"/>
          </p:nvPr>
        </p:nvSpPr>
        <p:spPr>
          <a:xfrm>
            <a:off x="50953" y="870425"/>
            <a:ext cx="8583495" cy="3757416"/>
          </a:xfrm>
        </p:spPr>
        <p:txBody>
          <a:bodyPr/>
          <a:lstStyle/>
          <a:p>
            <a:r>
              <a:rPr lang="en-US" dirty="0">
                <a:solidFill>
                  <a:schemeClr val="bg2">
                    <a:lumMod val="50000"/>
                    <a:lumOff val="50000"/>
                  </a:schemeClr>
                </a:solidFill>
                <a:latin typeface="Inter"/>
              </a:rPr>
              <a:t>In Some cases (such as when all values appear the same number of times) the mode is not useful. But we can group the values to see if one group has more than the others </a:t>
            </a:r>
          </a:p>
          <a:p>
            <a:r>
              <a:rPr lang="en-US" dirty="0">
                <a:solidFill>
                  <a:schemeClr val="bg2">
                    <a:lumMod val="50000"/>
                    <a:lumOff val="50000"/>
                  </a:schemeClr>
                </a:solidFill>
                <a:latin typeface="Inter"/>
              </a:rPr>
              <a:t>Ex : 5, 8, 12, 17, 21</a:t>
            </a:r>
            <a:r>
              <a:rPr lang="en-US">
                <a:solidFill>
                  <a:schemeClr val="bg2">
                    <a:lumMod val="50000"/>
                    <a:lumOff val="50000"/>
                  </a:schemeClr>
                </a:solidFill>
                <a:latin typeface="Inter"/>
              </a:rPr>
              <a:t>, 23, </a:t>
            </a:r>
            <a:r>
              <a:rPr lang="en-US" dirty="0">
                <a:solidFill>
                  <a:schemeClr val="bg2">
                    <a:lumMod val="50000"/>
                    <a:lumOff val="50000"/>
                  </a:schemeClr>
                </a:solidFill>
                <a:latin typeface="Inter"/>
              </a:rPr>
              <a:t>26, 27</a:t>
            </a:r>
            <a:r>
              <a:rPr lang="en-US">
                <a:solidFill>
                  <a:schemeClr val="bg2">
                    <a:lumMod val="50000"/>
                    <a:lumOff val="50000"/>
                  </a:schemeClr>
                </a:solidFill>
                <a:latin typeface="Inter"/>
              </a:rPr>
              <a:t>, 34</a:t>
            </a:r>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r>
              <a:rPr lang="en-US" b="1" i="1" dirty="0">
                <a:solidFill>
                  <a:schemeClr val="bg2">
                    <a:lumMod val="50000"/>
                    <a:lumOff val="50000"/>
                  </a:schemeClr>
                </a:solidFill>
                <a:latin typeface="Inter"/>
              </a:rPr>
              <a:t>Note : You could use different grouping and get a different answer</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425093F1-3B71-4D1C-80F1-A7B3A6BC7E54}"/>
                  </a:ext>
                </a:extLst>
              </p14:cNvPr>
              <p14:cNvContentPartPr/>
              <p14:nvPr/>
            </p14:nvContentPartPr>
            <p14:xfrm>
              <a:off x="495360" y="1066680"/>
              <a:ext cx="8320320" cy="4072320"/>
            </p14:xfrm>
          </p:contentPart>
        </mc:Choice>
        <mc:Fallback xmlns="">
          <p:pic>
            <p:nvPicPr>
              <p:cNvPr id="2" name="Ink 1">
                <a:extLst>
                  <a:ext uri="{FF2B5EF4-FFF2-40B4-BE49-F238E27FC236}">
                    <a16:creationId xmlns:a16="http://schemas.microsoft.com/office/drawing/2014/main" id="{425093F1-3B71-4D1C-80F1-A7B3A6BC7E54}"/>
                  </a:ext>
                </a:extLst>
              </p:cNvPr>
              <p:cNvPicPr/>
              <p:nvPr/>
            </p:nvPicPr>
            <p:blipFill>
              <a:blip r:embed="rId3"/>
              <a:stretch>
                <a:fillRect/>
              </a:stretch>
            </p:blipFill>
            <p:spPr>
              <a:xfrm>
                <a:off x="486000" y="1057320"/>
                <a:ext cx="8339040" cy="4091040"/>
              </a:xfrm>
              <a:prstGeom prst="rect">
                <a:avLst/>
              </a:prstGeom>
            </p:spPr>
          </p:pic>
        </mc:Fallback>
      </mc:AlternateContent>
    </p:spTree>
    <p:extLst>
      <p:ext uri="{BB962C8B-B14F-4D97-AF65-F5344CB8AC3E}">
        <p14:creationId xmlns:p14="http://schemas.microsoft.com/office/powerpoint/2010/main" val="1995959026"/>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DE561-1E11-496C-86F7-9FC450554141}"/>
              </a:ext>
            </a:extLst>
          </p:cNvPr>
          <p:cNvSpPr>
            <a:spLocks noGrp="1"/>
          </p:cNvSpPr>
          <p:nvPr>
            <p:ph type="title"/>
          </p:nvPr>
        </p:nvSpPr>
        <p:spPr>
          <a:xfrm>
            <a:off x="0" y="27981"/>
            <a:ext cx="7955280" cy="640080"/>
          </a:xfrm>
        </p:spPr>
        <p:txBody>
          <a:bodyPr/>
          <a:lstStyle/>
          <a:p>
            <a:r>
              <a:rPr lang="en-US" dirty="0"/>
              <a:t>Grouping another example</a:t>
            </a:r>
          </a:p>
        </p:txBody>
      </p:sp>
      <p:sp>
        <p:nvSpPr>
          <p:cNvPr id="4" name="Content Placeholder 3">
            <a:extLst>
              <a:ext uri="{FF2B5EF4-FFF2-40B4-BE49-F238E27FC236}">
                <a16:creationId xmlns:a16="http://schemas.microsoft.com/office/drawing/2014/main" id="{835414F6-32F3-427B-8782-BB4FFF32D390}"/>
              </a:ext>
            </a:extLst>
          </p:cNvPr>
          <p:cNvSpPr>
            <a:spLocks noGrp="1"/>
          </p:cNvSpPr>
          <p:nvPr>
            <p:ph sz="half" idx="1"/>
          </p:nvPr>
        </p:nvSpPr>
        <p:spPr>
          <a:xfrm>
            <a:off x="0" y="528398"/>
            <a:ext cx="8890620" cy="3952860"/>
          </a:xfrm>
        </p:spPr>
        <p:txBody>
          <a:bodyPr>
            <a:normAutofit/>
          </a:bodyPr>
          <a:lstStyle/>
          <a:p>
            <a:r>
              <a:rPr lang="en-US" dirty="0">
                <a:solidFill>
                  <a:schemeClr val="bg2">
                    <a:lumMod val="50000"/>
                    <a:lumOff val="50000"/>
                  </a:schemeClr>
                </a:solidFill>
              </a:rPr>
              <a:t>Grouping also help to find what the typical values are when the real-world messes things up!</a:t>
            </a:r>
          </a:p>
          <a:p>
            <a:r>
              <a:rPr lang="en-US" dirty="0">
                <a:solidFill>
                  <a:schemeClr val="bg2">
                    <a:lumMod val="50000"/>
                    <a:lumOff val="50000"/>
                  </a:schemeClr>
                </a:solidFill>
              </a:rPr>
              <a:t>Ex : How long to load a truck?</a:t>
            </a:r>
          </a:p>
          <a:p>
            <a:r>
              <a:rPr lang="en-US" dirty="0">
                <a:solidFill>
                  <a:schemeClr val="bg2">
                    <a:lumMod val="50000"/>
                    <a:lumOff val="50000"/>
                  </a:schemeClr>
                </a:solidFill>
              </a:rPr>
              <a:t>Robert recorded how long it take to load a truck in minutes:</a:t>
            </a:r>
          </a:p>
          <a:p>
            <a:pPr lvl="2"/>
            <a:r>
              <a:rPr lang="en-US" sz="1400" dirty="0">
                <a:solidFill>
                  <a:schemeClr val="bg2">
                    <a:lumMod val="50000"/>
                    <a:lumOff val="50000"/>
                  </a:schemeClr>
                </a:solidFill>
              </a:rPr>
              <a:t>46, 47, 43, 53, 69, 67, 46, 50, 57, 58, 45, 48, 61</a:t>
            </a:r>
          </a:p>
          <a:p>
            <a:r>
              <a:rPr lang="en-US" dirty="0">
                <a:solidFill>
                  <a:schemeClr val="bg2">
                    <a:lumMod val="50000"/>
                    <a:lumOff val="50000"/>
                  </a:schemeClr>
                </a:solidFill>
              </a:rPr>
              <a:t>It takes longer when there is break time or lunch so an average is not very useful.</a:t>
            </a:r>
          </a:p>
          <a:p>
            <a:r>
              <a:rPr lang="en-US" dirty="0">
                <a:solidFill>
                  <a:schemeClr val="bg2">
                    <a:lumMod val="50000"/>
                    <a:lumOff val="50000"/>
                  </a:schemeClr>
                </a:solidFill>
              </a:rPr>
              <a:t>But grouping by 5s gives:</a:t>
            </a:r>
          </a:p>
          <a:p>
            <a:pPr marL="0" indent="0">
              <a:buNone/>
            </a:pPr>
            <a:endParaRPr lang="en-US" dirty="0">
              <a:solidFill>
                <a:schemeClr val="bg2">
                  <a:lumMod val="50000"/>
                  <a:lumOff val="50000"/>
                </a:schemeClr>
              </a:solidFill>
            </a:endParaRPr>
          </a:p>
          <a:p>
            <a:pPr>
              <a:lnSpc>
                <a:spcPct val="10000"/>
              </a:lnSpc>
            </a:pPr>
            <a:r>
              <a:rPr lang="en-US" dirty="0">
                <a:solidFill>
                  <a:schemeClr val="bg2">
                    <a:lumMod val="50000"/>
                    <a:lumOff val="50000"/>
                  </a:schemeClr>
                </a:solidFill>
              </a:rPr>
              <a:t>40 - 44 : 1</a:t>
            </a:r>
          </a:p>
          <a:p>
            <a:pPr>
              <a:lnSpc>
                <a:spcPct val="10000"/>
              </a:lnSpc>
            </a:pPr>
            <a:r>
              <a:rPr lang="en-US" dirty="0">
                <a:solidFill>
                  <a:schemeClr val="bg2">
                    <a:lumMod val="50000"/>
                    <a:lumOff val="50000"/>
                  </a:schemeClr>
                </a:solidFill>
              </a:rPr>
              <a:t>45 - 49 : 5</a:t>
            </a:r>
          </a:p>
          <a:p>
            <a:pPr>
              <a:lnSpc>
                <a:spcPct val="10000"/>
              </a:lnSpc>
            </a:pPr>
            <a:r>
              <a:rPr lang="en-US" dirty="0">
                <a:solidFill>
                  <a:schemeClr val="bg2">
                    <a:lumMod val="50000"/>
                    <a:lumOff val="50000"/>
                  </a:schemeClr>
                </a:solidFill>
              </a:rPr>
              <a:t>50 – 54 : 2</a:t>
            </a:r>
          </a:p>
          <a:p>
            <a:pPr>
              <a:lnSpc>
                <a:spcPct val="10000"/>
              </a:lnSpc>
            </a:pPr>
            <a:r>
              <a:rPr lang="en-US" dirty="0">
                <a:solidFill>
                  <a:schemeClr val="bg2">
                    <a:lumMod val="50000"/>
                    <a:lumOff val="50000"/>
                  </a:schemeClr>
                </a:solidFill>
              </a:rPr>
              <a:t>55 – 59 : 2</a:t>
            </a:r>
          </a:p>
          <a:p>
            <a:pPr>
              <a:lnSpc>
                <a:spcPct val="10000"/>
              </a:lnSpc>
            </a:pPr>
            <a:r>
              <a:rPr lang="en-US" dirty="0">
                <a:solidFill>
                  <a:schemeClr val="bg2">
                    <a:lumMod val="50000"/>
                    <a:lumOff val="50000"/>
                  </a:schemeClr>
                </a:solidFill>
              </a:rPr>
              <a:t>60 – 64 : 1</a:t>
            </a:r>
          </a:p>
          <a:p>
            <a:pPr>
              <a:lnSpc>
                <a:spcPct val="10000"/>
              </a:lnSpc>
            </a:pPr>
            <a:r>
              <a:rPr lang="en-US" dirty="0">
                <a:solidFill>
                  <a:schemeClr val="bg2">
                    <a:lumMod val="50000"/>
                    <a:lumOff val="50000"/>
                  </a:schemeClr>
                </a:solidFill>
              </a:rPr>
              <a:t>64 – 69 : 2</a:t>
            </a:r>
          </a:p>
          <a:p>
            <a:r>
              <a:rPr lang="en-US" dirty="0">
                <a:solidFill>
                  <a:schemeClr val="bg2">
                    <a:lumMod val="50000"/>
                    <a:lumOff val="50000"/>
                  </a:schemeClr>
                </a:solidFill>
              </a:rPr>
              <a:t>“45 – 49” appear most often, so we can say it normally take about 37 minutes to fill a pallet</a:t>
            </a:r>
          </a:p>
          <a:p>
            <a:endParaRPr lang="en-US" sz="1600" dirty="0"/>
          </a:p>
          <a:p>
            <a:pPr lvl="3"/>
            <a:endParaRPr lang="en-US" sz="1600" dirty="0"/>
          </a:p>
          <a:p>
            <a:pPr lvl="3"/>
            <a:endParaRPr lang="en-US" sz="1600" dirty="0"/>
          </a:p>
        </p:txBody>
      </p:sp>
      <p:pic>
        <p:nvPicPr>
          <p:cNvPr id="11" name="Picture 10" descr="A picture containing truck, green, road, sky&#10;&#10;Description automatically generated">
            <a:extLst>
              <a:ext uri="{FF2B5EF4-FFF2-40B4-BE49-F238E27FC236}">
                <a16:creationId xmlns:a16="http://schemas.microsoft.com/office/drawing/2014/main" id="{DFA02102-7297-4F45-88F7-388D314238A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2121966"/>
            <a:ext cx="3187834" cy="1793157"/>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E47AD04-6378-49BB-8511-401DB560C3A7}"/>
                  </a:ext>
                </a:extLst>
              </p14:cNvPr>
              <p14:cNvContentPartPr/>
              <p14:nvPr/>
            </p14:nvContentPartPr>
            <p14:xfrm>
              <a:off x="81000" y="4680"/>
              <a:ext cx="9058680" cy="4663080"/>
            </p14:xfrm>
          </p:contentPart>
        </mc:Choice>
        <mc:Fallback xmlns="">
          <p:pic>
            <p:nvPicPr>
              <p:cNvPr id="2" name="Ink 1">
                <a:extLst>
                  <a:ext uri="{FF2B5EF4-FFF2-40B4-BE49-F238E27FC236}">
                    <a16:creationId xmlns:a16="http://schemas.microsoft.com/office/drawing/2014/main" id="{8E47AD04-6378-49BB-8511-401DB560C3A7}"/>
                  </a:ext>
                </a:extLst>
              </p:cNvPr>
              <p:cNvPicPr/>
              <p:nvPr/>
            </p:nvPicPr>
            <p:blipFill>
              <a:blip r:embed="rId5"/>
              <a:stretch>
                <a:fillRect/>
              </a:stretch>
            </p:blipFill>
            <p:spPr>
              <a:xfrm>
                <a:off x="71640" y="-4680"/>
                <a:ext cx="9077400" cy="4681800"/>
              </a:xfrm>
              <a:prstGeom prst="rect">
                <a:avLst/>
              </a:prstGeom>
            </p:spPr>
          </p:pic>
        </mc:Fallback>
      </mc:AlternateContent>
    </p:spTree>
    <p:extLst>
      <p:ext uri="{BB962C8B-B14F-4D97-AF65-F5344CB8AC3E}">
        <p14:creationId xmlns:p14="http://schemas.microsoft.com/office/powerpoint/2010/main" val="3831935352"/>
      </p:ext>
    </p:extLst>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6B03A-C11B-445A-B3EE-89676853E2DC}"/>
              </a:ext>
            </a:extLst>
          </p:cNvPr>
          <p:cNvSpPr>
            <a:spLocks noGrp="1"/>
          </p:cNvSpPr>
          <p:nvPr>
            <p:ph type="title"/>
          </p:nvPr>
        </p:nvSpPr>
        <p:spPr>
          <a:xfrm>
            <a:off x="92835" y="90401"/>
            <a:ext cx="7955280" cy="640080"/>
          </a:xfrm>
        </p:spPr>
        <p:txBody>
          <a:bodyPr/>
          <a:lstStyle/>
          <a:p>
            <a:r>
              <a:rPr lang="en-US" dirty="0"/>
              <a:t>Outlier </a:t>
            </a:r>
          </a:p>
        </p:txBody>
      </p:sp>
      <p:sp>
        <p:nvSpPr>
          <p:cNvPr id="4" name="Content Placeholder 3">
            <a:extLst>
              <a:ext uri="{FF2B5EF4-FFF2-40B4-BE49-F238E27FC236}">
                <a16:creationId xmlns:a16="http://schemas.microsoft.com/office/drawing/2014/main" id="{CB5A1369-CDB1-4F9B-ADBB-7DB33F294B4E}"/>
              </a:ext>
            </a:extLst>
          </p:cNvPr>
          <p:cNvSpPr>
            <a:spLocks noGrp="1"/>
          </p:cNvSpPr>
          <p:nvPr>
            <p:ph sz="half" idx="1"/>
          </p:nvPr>
        </p:nvSpPr>
        <p:spPr>
          <a:xfrm>
            <a:off x="197539" y="650990"/>
            <a:ext cx="7955280" cy="3841519"/>
          </a:xfrm>
        </p:spPr>
        <p:txBody>
          <a:bodyPr/>
          <a:lstStyle/>
          <a:p>
            <a:r>
              <a:rPr lang="en-US" dirty="0">
                <a:solidFill>
                  <a:schemeClr val="bg2">
                    <a:lumMod val="50000"/>
                    <a:lumOff val="50000"/>
                  </a:schemeClr>
                </a:solidFill>
                <a:latin typeface="Inter"/>
              </a:rPr>
              <a:t>A value that "lies outside" (is much smaller or larger than) most of the other values in a set of data. They can change the mean a lot, so we can either not used them or use mean median mode instead.</a:t>
            </a:r>
          </a:p>
          <a:p>
            <a:r>
              <a:rPr lang="en-US" dirty="0">
                <a:solidFill>
                  <a:schemeClr val="bg2">
                    <a:lumMod val="50000"/>
                    <a:lumOff val="50000"/>
                  </a:schemeClr>
                </a:solidFill>
                <a:latin typeface="Inter"/>
              </a:rPr>
              <a:t>Ex : In this set of random numbers, 1 and 201 are outliers:</a:t>
            </a:r>
          </a:p>
          <a:p>
            <a:pPr lvl="1"/>
            <a:r>
              <a:rPr lang="en-US" dirty="0">
                <a:solidFill>
                  <a:schemeClr val="bg2">
                    <a:lumMod val="50000"/>
                    <a:lumOff val="50000"/>
                  </a:schemeClr>
                </a:solidFill>
                <a:latin typeface="Inter"/>
              </a:rPr>
              <a:t>1, 99, 100, 101, 103, 109, 110, 201</a:t>
            </a:r>
          </a:p>
          <a:p>
            <a:pPr lvl="1"/>
            <a:r>
              <a:rPr lang="en-US" dirty="0">
                <a:solidFill>
                  <a:schemeClr val="bg2">
                    <a:lumMod val="50000"/>
                    <a:lumOff val="50000"/>
                  </a:schemeClr>
                </a:solidFill>
                <a:latin typeface="Inter"/>
              </a:rPr>
              <a:t>“1” is an extremely low value and “201” is an extremely high value.</a:t>
            </a:r>
          </a:p>
          <a:p>
            <a:r>
              <a:rPr lang="en-US" dirty="0">
                <a:solidFill>
                  <a:schemeClr val="bg2">
                    <a:lumMod val="50000"/>
                    <a:lumOff val="50000"/>
                  </a:schemeClr>
                </a:solidFill>
                <a:latin typeface="Inter"/>
              </a:rPr>
              <a:t>Outliers aren’t always that obvious. Let’s say you received the following paychecks last month:</a:t>
            </a:r>
          </a:p>
          <a:p>
            <a:pPr lvl="1"/>
            <a:r>
              <a:rPr lang="en-US" dirty="0">
                <a:solidFill>
                  <a:schemeClr val="bg2">
                    <a:lumMod val="50000"/>
                    <a:lumOff val="50000"/>
                  </a:schemeClr>
                </a:solidFill>
                <a:latin typeface="Inter"/>
              </a:rPr>
              <a:t>$225, $250, $25, $235.</a:t>
            </a:r>
          </a:p>
          <a:p>
            <a:pPr lvl="1"/>
            <a:r>
              <a:rPr lang="en-US" dirty="0">
                <a:solidFill>
                  <a:schemeClr val="bg2">
                    <a:lumMod val="50000"/>
                    <a:lumOff val="50000"/>
                  </a:schemeClr>
                </a:solidFill>
                <a:latin typeface="Inter"/>
              </a:rPr>
              <a:t>Your average paycheck is $135. But that small paycheck ($25) might be because you went on vacation, so a weekly paycheck average of $135 isn’t a true reflection of how much you earned. Your average is actually closer to $237 if you take the outlier ($25) out of the set.</a:t>
            </a:r>
          </a:p>
          <a:p>
            <a:r>
              <a:rPr lang="en-US" dirty="0">
                <a:solidFill>
                  <a:schemeClr val="bg2">
                    <a:lumMod val="50000"/>
                    <a:lumOff val="50000"/>
                  </a:schemeClr>
                </a:solidFill>
                <a:latin typeface="Inter"/>
              </a:rPr>
              <a:t>Age of students studying Data science in Board Infinity</a:t>
            </a:r>
          </a:p>
          <a:p>
            <a:pPr lvl="1"/>
            <a:r>
              <a:rPr lang="en-US" dirty="0">
                <a:solidFill>
                  <a:schemeClr val="bg2">
                    <a:lumMod val="50000"/>
                    <a:lumOff val="50000"/>
                  </a:schemeClr>
                </a:solidFill>
                <a:latin typeface="Inter"/>
              </a:rPr>
              <a:t>Ex : </a:t>
            </a:r>
          </a:p>
          <a:p>
            <a:pPr lvl="1"/>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850007FB-72BE-470D-B22D-4494643D0D73}"/>
                  </a:ext>
                </a:extLst>
              </p14:cNvPr>
              <p14:cNvContentPartPr/>
              <p14:nvPr/>
            </p14:nvContentPartPr>
            <p14:xfrm>
              <a:off x="128520" y="452520"/>
              <a:ext cx="8953920" cy="4667400"/>
            </p14:xfrm>
          </p:contentPart>
        </mc:Choice>
        <mc:Fallback xmlns="">
          <p:pic>
            <p:nvPicPr>
              <p:cNvPr id="2" name="Ink 1">
                <a:extLst>
                  <a:ext uri="{FF2B5EF4-FFF2-40B4-BE49-F238E27FC236}">
                    <a16:creationId xmlns:a16="http://schemas.microsoft.com/office/drawing/2014/main" id="{850007FB-72BE-470D-B22D-4494643D0D73}"/>
                  </a:ext>
                </a:extLst>
              </p:cNvPr>
              <p:cNvPicPr/>
              <p:nvPr/>
            </p:nvPicPr>
            <p:blipFill>
              <a:blip r:embed="rId3"/>
              <a:stretch>
                <a:fillRect/>
              </a:stretch>
            </p:blipFill>
            <p:spPr>
              <a:xfrm>
                <a:off x="119160" y="443160"/>
                <a:ext cx="8972640" cy="4686120"/>
              </a:xfrm>
              <a:prstGeom prst="rect">
                <a:avLst/>
              </a:prstGeom>
            </p:spPr>
          </p:pic>
        </mc:Fallback>
      </mc:AlternateContent>
    </p:spTree>
    <p:extLst>
      <p:ext uri="{BB962C8B-B14F-4D97-AF65-F5344CB8AC3E}">
        <p14:creationId xmlns:p14="http://schemas.microsoft.com/office/powerpoint/2010/main" val="1048263595"/>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C4D7A-EB20-44C5-815F-C0641D331487}"/>
              </a:ext>
            </a:extLst>
          </p:cNvPr>
          <p:cNvSpPr>
            <a:spLocks noGrp="1"/>
          </p:cNvSpPr>
          <p:nvPr>
            <p:ph type="title"/>
          </p:nvPr>
        </p:nvSpPr>
        <p:spPr/>
        <p:txBody>
          <a:bodyPr/>
          <a:lstStyle/>
          <a:p>
            <a:r>
              <a:rPr lang="en-US" dirty="0"/>
              <a:t>Outlier </a:t>
            </a:r>
            <a:r>
              <a:rPr lang="en-US" dirty="0">
                <a:solidFill>
                  <a:schemeClr val="bg2">
                    <a:lumMod val="50000"/>
                    <a:lumOff val="50000"/>
                  </a:schemeClr>
                </a:solidFill>
              </a:rPr>
              <a:t>-</a:t>
            </a:r>
            <a:r>
              <a:rPr lang="en-US" dirty="0"/>
              <a:t> </a:t>
            </a:r>
            <a:r>
              <a:rPr lang="en-US" dirty="0">
                <a:solidFill>
                  <a:schemeClr val="bg2">
                    <a:lumMod val="50000"/>
                    <a:lumOff val="50000"/>
                  </a:schemeClr>
                </a:solidFill>
              </a:rPr>
              <a:t>continued</a:t>
            </a:r>
          </a:p>
        </p:txBody>
      </p:sp>
      <p:pic>
        <p:nvPicPr>
          <p:cNvPr id="6" name="Content Placeholder 5">
            <a:extLst>
              <a:ext uri="{FF2B5EF4-FFF2-40B4-BE49-F238E27FC236}">
                <a16:creationId xmlns:a16="http://schemas.microsoft.com/office/drawing/2014/main" id="{2B7093CC-771B-4C73-A0DC-D3F5C3CE8DED}"/>
              </a:ext>
            </a:extLst>
          </p:cNvPr>
          <p:cNvPicPr>
            <a:picLocks noGrp="1" noChangeAspect="1"/>
          </p:cNvPicPr>
          <p:nvPr>
            <p:ph sz="half" idx="1"/>
          </p:nvPr>
        </p:nvPicPr>
        <p:blipFill>
          <a:blip r:embed="rId2"/>
          <a:stretch>
            <a:fillRect/>
          </a:stretch>
        </p:blipFill>
        <p:spPr>
          <a:xfrm>
            <a:off x="4517801" y="49000"/>
            <a:ext cx="4229100" cy="542925"/>
          </a:xfrm>
        </p:spPr>
      </p:pic>
      <p:grpSp>
        <p:nvGrpSpPr>
          <p:cNvPr id="47" name="Group 46">
            <a:extLst>
              <a:ext uri="{FF2B5EF4-FFF2-40B4-BE49-F238E27FC236}">
                <a16:creationId xmlns:a16="http://schemas.microsoft.com/office/drawing/2014/main" id="{2A49F424-6475-4B80-B98E-BC7A187747C0}"/>
              </a:ext>
            </a:extLst>
          </p:cNvPr>
          <p:cNvGrpSpPr/>
          <p:nvPr/>
        </p:nvGrpSpPr>
        <p:grpSpPr>
          <a:xfrm>
            <a:off x="4879377" y="467558"/>
            <a:ext cx="112680" cy="159840"/>
            <a:chOff x="4879377" y="467558"/>
            <a:chExt cx="112680" cy="15984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A3C6882A-8F86-4203-BC54-CC76A101CAD1}"/>
                    </a:ext>
                  </a:extLst>
                </p14:cNvPr>
                <p14:cNvContentPartPr/>
                <p14:nvPr/>
              </p14:nvContentPartPr>
              <p14:xfrm>
                <a:off x="4879377" y="537038"/>
                <a:ext cx="13680" cy="90360"/>
              </p14:xfrm>
            </p:contentPart>
          </mc:Choice>
          <mc:Fallback xmlns="">
            <p:pic>
              <p:nvPicPr>
                <p:cNvPr id="7" name="Ink 6">
                  <a:extLst>
                    <a:ext uri="{FF2B5EF4-FFF2-40B4-BE49-F238E27FC236}">
                      <a16:creationId xmlns:a16="http://schemas.microsoft.com/office/drawing/2014/main" id="{A3C6882A-8F86-4203-BC54-CC76A101CAD1}"/>
                    </a:ext>
                  </a:extLst>
                </p:cNvPr>
                <p:cNvPicPr/>
                <p:nvPr/>
              </p:nvPicPr>
              <p:blipFill>
                <a:blip r:embed="rId4"/>
                <a:stretch>
                  <a:fillRect/>
                </a:stretch>
              </p:blipFill>
              <p:spPr>
                <a:xfrm>
                  <a:off x="4875057" y="532718"/>
                  <a:ext cx="2232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EBEB0D83-5163-4079-A7FB-019746BE0D7F}"/>
                    </a:ext>
                  </a:extLst>
                </p14:cNvPr>
                <p14:cNvContentPartPr/>
                <p14:nvPr/>
              </p14:nvContentPartPr>
              <p14:xfrm>
                <a:off x="4915017" y="544238"/>
                <a:ext cx="77040" cy="78840"/>
              </p14:xfrm>
            </p:contentPart>
          </mc:Choice>
          <mc:Fallback xmlns="">
            <p:pic>
              <p:nvPicPr>
                <p:cNvPr id="8" name="Ink 7">
                  <a:extLst>
                    <a:ext uri="{FF2B5EF4-FFF2-40B4-BE49-F238E27FC236}">
                      <a16:creationId xmlns:a16="http://schemas.microsoft.com/office/drawing/2014/main" id="{EBEB0D83-5163-4079-A7FB-019746BE0D7F}"/>
                    </a:ext>
                  </a:extLst>
                </p:cNvPr>
                <p:cNvPicPr/>
                <p:nvPr/>
              </p:nvPicPr>
              <p:blipFill>
                <a:blip r:embed="rId6"/>
                <a:stretch>
                  <a:fillRect/>
                </a:stretch>
              </p:blipFill>
              <p:spPr>
                <a:xfrm>
                  <a:off x="4910697" y="539918"/>
                  <a:ext cx="8568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1" name="Ink 40">
                  <a:extLst>
                    <a:ext uri="{FF2B5EF4-FFF2-40B4-BE49-F238E27FC236}">
                      <a16:creationId xmlns:a16="http://schemas.microsoft.com/office/drawing/2014/main" id="{9B996CA9-706D-4868-8DFB-7818048A6F32}"/>
                    </a:ext>
                  </a:extLst>
                </p14:cNvPr>
                <p14:cNvContentPartPr/>
                <p14:nvPr/>
              </p14:nvContentPartPr>
              <p14:xfrm>
                <a:off x="4951017" y="467558"/>
                <a:ext cx="18720" cy="55080"/>
              </p14:xfrm>
            </p:contentPart>
          </mc:Choice>
          <mc:Fallback xmlns="">
            <p:pic>
              <p:nvPicPr>
                <p:cNvPr id="41" name="Ink 40">
                  <a:extLst>
                    <a:ext uri="{FF2B5EF4-FFF2-40B4-BE49-F238E27FC236}">
                      <a16:creationId xmlns:a16="http://schemas.microsoft.com/office/drawing/2014/main" id="{9B996CA9-706D-4868-8DFB-7818048A6F32}"/>
                    </a:ext>
                  </a:extLst>
                </p:cNvPr>
                <p:cNvPicPr/>
                <p:nvPr/>
              </p:nvPicPr>
              <p:blipFill>
                <a:blip r:embed="rId8"/>
                <a:stretch>
                  <a:fillRect/>
                </a:stretch>
              </p:blipFill>
              <p:spPr>
                <a:xfrm>
                  <a:off x="4946697" y="463238"/>
                  <a:ext cx="27360" cy="63720"/>
                </a:xfrm>
                <a:prstGeom prst="rect">
                  <a:avLst/>
                </a:prstGeom>
              </p:spPr>
            </p:pic>
          </mc:Fallback>
        </mc:AlternateContent>
      </p:grpSp>
      <p:grpSp>
        <p:nvGrpSpPr>
          <p:cNvPr id="46" name="Group 45">
            <a:extLst>
              <a:ext uri="{FF2B5EF4-FFF2-40B4-BE49-F238E27FC236}">
                <a16:creationId xmlns:a16="http://schemas.microsoft.com/office/drawing/2014/main" id="{982482D8-1D90-4954-A22B-C99127ED1CC2}"/>
              </a:ext>
            </a:extLst>
          </p:cNvPr>
          <p:cNvGrpSpPr/>
          <p:nvPr/>
        </p:nvGrpSpPr>
        <p:grpSpPr>
          <a:xfrm>
            <a:off x="5101857" y="481238"/>
            <a:ext cx="98640" cy="162720"/>
            <a:chOff x="5101857" y="481238"/>
            <a:chExt cx="98640" cy="1627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6A7A2615-AD9A-4AAB-8E31-8819C563683E}"/>
                    </a:ext>
                  </a:extLst>
                </p14:cNvPr>
                <p14:cNvContentPartPr/>
                <p14:nvPr/>
              </p14:nvContentPartPr>
              <p14:xfrm>
                <a:off x="5101857" y="578798"/>
                <a:ext cx="48240" cy="65160"/>
              </p14:xfrm>
            </p:contentPart>
          </mc:Choice>
          <mc:Fallback xmlns="">
            <p:pic>
              <p:nvPicPr>
                <p:cNvPr id="10" name="Ink 9">
                  <a:extLst>
                    <a:ext uri="{FF2B5EF4-FFF2-40B4-BE49-F238E27FC236}">
                      <a16:creationId xmlns:a16="http://schemas.microsoft.com/office/drawing/2014/main" id="{6A7A2615-AD9A-4AAB-8E31-8819C563683E}"/>
                    </a:ext>
                  </a:extLst>
                </p:cNvPr>
                <p:cNvPicPr/>
                <p:nvPr/>
              </p:nvPicPr>
              <p:blipFill>
                <a:blip r:embed="rId10"/>
                <a:stretch>
                  <a:fillRect/>
                </a:stretch>
              </p:blipFill>
              <p:spPr>
                <a:xfrm>
                  <a:off x="5097537" y="574478"/>
                  <a:ext cx="5688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9E501B2A-6CC0-4031-974F-93C2E718C905}"/>
                    </a:ext>
                  </a:extLst>
                </p14:cNvPr>
                <p14:cNvContentPartPr/>
                <p14:nvPr/>
              </p14:nvContentPartPr>
              <p14:xfrm>
                <a:off x="5167017" y="579158"/>
                <a:ext cx="31680" cy="45000"/>
              </p14:xfrm>
            </p:contentPart>
          </mc:Choice>
          <mc:Fallback xmlns="">
            <p:pic>
              <p:nvPicPr>
                <p:cNvPr id="11" name="Ink 10">
                  <a:extLst>
                    <a:ext uri="{FF2B5EF4-FFF2-40B4-BE49-F238E27FC236}">
                      <a16:creationId xmlns:a16="http://schemas.microsoft.com/office/drawing/2014/main" id="{9E501B2A-6CC0-4031-974F-93C2E718C905}"/>
                    </a:ext>
                  </a:extLst>
                </p:cNvPr>
                <p:cNvPicPr/>
                <p:nvPr/>
              </p:nvPicPr>
              <p:blipFill>
                <a:blip r:embed="rId12"/>
                <a:stretch>
                  <a:fillRect/>
                </a:stretch>
              </p:blipFill>
              <p:spPr>
                <a:xfrm>
                  <a:off x="5162697" y="574838"/>
                  <a:ext cx="4032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3B6C7FA6-96D7-4628-BDF7-0A7E1758641E}"/>
                    </a:ext>
                  </a:extLst>
                </p14:cNvPr>
                <p14:cNvContentPartPr/>
                <p14:nvPr/>
              </p14:nvContentPartPr>
              <p14:xfrm>
                <a:off x="5193657" y="481238"/>
                <a:ext cx="6840" cy="25920"/>
              </p14:xfrm>
            </p:contentPart>
          </mc:Choice>
          <mc:Fallback xmlns="">
            <p:pic>
              <p:nvPicPr>
                <p:cNvPr id="42" name="Ink 41">
                  <a:extLst>
                    <a:ext uri="{FF2B5EF4-FFF2-40B4-BE49-F238E27FC236}">
                      <a16:creationId xmlns:a16="http://schemas.microsoft.com/office/drawing/2014/main" id="{3B6C7FA6-96D7-4628-BDF7-0A7E1758641E}"/>
                    </a:ext>
                  </a:extLst>
                </p:cNvPr>
                <p:cNvPicPr/>
                <p:nvPr/>
              </p:nvPicPr>
              <p:blipFill>
                <a:blip r:embed="rId14"/>
                <a:stretch>
                  <a:fillRect/>
                </a:stretch>
              </p:blipFill>
              <p:spPr>
                <a:xfrm>
                  <a:off x="5189337" y="476918"/>
                  <a:ext cx="15480" cy="34560"/>
                </a:xfrm>
                <a:prstGeom prst="rect">
                  <a:avLst/>
                </a:prstGeom>
              </p:spPr>
            </p:pic>
          </mc:Fallback>
        </mc:AlternateContent>
      </p:grpSp>
      <p:grpSp>
        <p:nvGrpSpPr>
          <p:cNvPr id="87" name="Group 86">
            <a:extLst>
              <a:ext uri="{FF2B5EF4-FFF2-40B4-BE49-F238E27FC236}">
                <a16:creationId xmlns:a16="http://schemas.microsoft.com/office/drawing/2014/main" id="{BE899715-DE73-45A2-8FA6-329D11A9AB88}"/>
              </a:ext>
            </a:extLst>
          </p:cNvPr>
          <p:cNvGrpSpPr/>
          <p:nvPr/>
        </p:nvGrpSpPr>
        <p:grpSpPr>
          <a:xfrm>
            <a:off x="5362137" y="467558"/>
            <a:ext cx="968040" cy="189360"/>
            <a:chOff x="5362137" y="467558"/>
            <a:chExt cx="968040" cy="189360"/>
          </a:xfrm>
        </p:grpSpPr>
        <mc:AlternateContent xmlns:mc="http://schemas.openxmlformats.org/markup-compatibility/2006" xmlns:p14="http://schemas.microsoft.com/office/powerpoint/2010/main">
          <mc:Choice Requires="p14">
            <p:contentPart p14:bwMode="auto" r:id="rId15">
              <p14:nvContentPartPr>
                <p14:cNvPr id="58" name="Ink 57">
                  <a:extLst>
                    <a:ext uri="{FF2B5EF4-FFF2-40B4-BE49-F238E27FC236}">
                      <a16:creationId xmlns:a16="http://schemas.microsoft.com/office/drawing/2014/main" id="{1C92FB37-4929-4EFC-A012-AF8F501A4E2F}"/>
                    </a:ext>
                  </a:extLst>
                </p14:cNvPr>
                <p14:cNvContentPartPr/>
                <p14:nvPr/>
              </p14:nvContentPartPr>
              <p14:xfrm>
                <a:off x="5362137" y="565118"/>
                <a:ext cx="52920" cy="91800"/>
              </p14:xfrm>
            </p:contentPart>
          </mc:Choice>
          <mc:Fallback xmlns="">
            <p:pic>
              <p:nvPicPr>
                <p:cNvPr id="58" name="Ink 57">
                  <a:extLst>
                    <a:ext uri="{FF2B5EF4-FFF2-40B4-BE49-F238E27FC236}">
                      <a16:creationId xmlns:a16="http://schemas.microsoft.com/office/drawing/2014/main" id="{1C92FB37-4929-4EFC-A012-AF8F501A4E2F}"/>
                    </a:ext>
                  </a:extLst>
                </p:cNvPr>
                <p:cNvPicPr/>
                <p:nvPr/>
              </p:nvPicPr>
              <p:blipFill>
                <a:blip r:embed="rId16"/>
                <a:stretch>
                  <a:fillRect/>
                </a:stretch>
              </p:blipFill>
              <p:spPr>
                <a:xfrm>
                  <a:off x="5357817" y="560798"/>
                  <a:ext cx="61560" cy="100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9" name="Ink 58">
                  <a:extLst>
                    <a:ext uri="{FF2B5EF4-FFF2-40B4-BE49-F238E27FC236}">
                      <a16:creationId xmlns:a16="http://schemas.microsoft.com/office/drawing/2014/main" id="{2CF6E14A-C62A-4911-B466-F65E664E95BE}"/>
                    </a:ext>
                  </a:extLst>
                </p14:cNvPr>
                <p14:cNvContentPartPr/>
                <p14:nvPr/>
              </p14:nvContentPartPr>
              <p14:xfrm>
                <a:off x="5417217" y="591398"/>
                <a:ext cx="58680" cy="51120"/>
              </p14:xfrm>
            </p:contentPart>
          </mc:Choice>
          <mc:Fallback xmlns="">
            <p:pic>
              <p:nvPicPr>
                <p:cNvPr id="59" name="Ink 58">
                  <a:extLst>
                    <a:ext uri="{FF2B5EF4-FFF2-40B4-BE49-F238E27FC236}">
                      <a16:creationId xmlns:a16="http://schemas.microsoft.com/office/drawing/2014/main" id="{2CF6E14A-C62A-4911-B466-F65E664E95BE}"/>
                    </a:ext>
                  </a:extLst>
                </p:cNvPr>
                <p:cNvPicPr/>
                <p:nvPr/>
              </p:nvPicPr>
              <p:blipFill>
                <a:blip r:embed="rId18"/>
                <a:stretch>
                  <a:fillRect/>
                </a:stretch>
              </p:blipFill>
              <p:spPr>
                <a:xfrm>
                  <a:off x="5412897" y="587078"/>
                  <a:ext cx="67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60" name="Ink 59">
                  <a:extLst>
                    <a:ext uri="{FF2B5EF4-FFF2-40B4-BE49-F238E27FC236}">
                      <a16:creationId xmlns:a16="http://schemas.microsoft.com/office/drawing/2014/main" id="{55A31FE8-11C6-4F98-8F27-ABE798ED5899}"/>
                    </a:ext>
                  </a:extLst>
                </p14:cNvPr>
                <p14:cNvContentPartPr/>
                <p14:nvPr/>
              </p14:nvContentPartPr>
              <p14:xfrm>
                <a:off x="5554017" y="579158"/>
                <a:ext cx="71280" cy="56880"/>
              </p14:xfrm>
            </p:contentPart>
          </mc:Choice>
          <mc:Fallback xmlns="">
            <p:pic>
              <p:nvPicPr>
                <p:cNvPr id="60" name="Ink 59">
                  <a:extLst>
                    <a:ext uri="{FF2B5EF4-FFF2-40B4-BE49-F238E27FC236}">
                      <a16:creationId xmlns:a16="http://schemas.microsoft.com/office/drawing/2014/main" id="{55A31FE8-11C6-4F98-8F27-ABE798ED5899}"/>
                    </a:ext>
                  </a:extLst>
                </p:cNvPr>
                <p:cNvPicPr/>
                <p:nvPr/>
              </p:nvPicPr>
              <p:blipFill>
                <a:blip r:embed="rId20"/>
                <a:stretch>
                  <a:fillRect/>
                </a:stretch>
              </p:blipFill>
              <p:spPr>
                <a:xfrm>
                  <a:off x="5549697" y="574838"/>
                  <a:ext cx="79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1" name="Ink 60">
                  <a:extLst>
                    <a:ext uri="{FF2B5EF4-FFF2-40B4-BE49-F238E27FC236}">
                      <a16:creationId xmlns:a16="http://schemas.microsoft.com/office/drawing/2014/main" id="{66CD1D88-B354-4D51-B6E2-2FB10B3EB2BB}"/>
                    </a:ext>
                  </a:extLst>
                </p14:cNvPr>
                <p14:cNvContentPartPr/>
                <p14:nvPr/>
              </p14:nvContentPartPr>
              <p14:xfrm>
                <a:off x="5569497" y="585638"/>
                <a:ext cx="14760" cy="62640"/>
              </p14:xfrm>
            </p:contentPart>
          </mc:Choice>
          <mc:Fallback xmlns="">
            <p:pic>
              <p:nvPicPr>
                <p:cNvPr id="61" name="Ink 60">
                  <a:extLst>
                    <a:ext uri="{FF2B5EF4-FFF2-40B4-BE49-F238E27FC236}">
                      <a16:creationId xmlns:a16="http://schemas.microsoft.com/office/drawing/2014/main" id="{66CD1D88-B354-4D51-B6E2-2FB10B3EB2BB}"/>
                    </a:ext>
                  </a:extLst>
                </p:cNvPr>
                <p:cNvPicPr/>
                <p:nvPr/>
              </p:nvPicPr>
              <p:blipFill>
                <a:blip r:embed="rId22"/>
                <a:stretch>
                  <a:fillRect/>
                </a:stretch>
              </p:blipFill>
              <p:spPr>
                <a:xfrm>
                  <a:off x="5565177" y="581318"/>
                  <a:ext cx="2340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62" name="Ink 61">
                  <a:extLst>
                    <a:ext uri="{FF2B5EF4-FFF2-40B4-BE49-F238E27FC236}">
                      <a16:creationId xmlns:a16="http://schemas.microsoft.com/office/drawing/2014/main" id="{08D5FAAD-DCEA-4BCC-89E5-1F42BE1A5F81}"/>
                    </a:ext>
                  </a:extLst>
                </p14:cNvPr>
                <p14:cNvContentPartPr/>
                <p14:nvPr/>
              </p14:nvContentPartPr>
              <p14:xfrm>
                <a:off x="5633217" y="591758"/>
                <a:ext cx="41760" cy="41400"/>
              </p14:xfrm>
            </p:contentPart>
          </mc:Choice>
          <mc:Fallback xmlns="">
            <p:pic>
              <p:nvPicPr>
                <p:cNvPr id="62" name="Ink 61">
                  <a:extLst>
                    <a:ext uri="{FF2B5EF4-FFF2-40B4-BE49-F238E27FC236}">
                      <a16:creationId xmlns:a16="http://schemas.microsoft.com/office/drawing/2014/main" id="{08D5FAAD-DCEA-4BCC-89E5-1F42BE1A5F81}"/>
                    </a:ext>
                  </a:extLst>
                </p:cNvPr>
                <p:cNvPicPr/>
                <p:nvPr/>
              </p:nvPicPr>
              <p:blipFill>
                <a:blip r:embed="rId24"/>
                <a:stretch>
                  <a:fillRect/>
                </a:stretch>
              </p:blipFill>
              <p:spPr>
                <a:xfrm>
                  <a:off x="5628897" y="587438"/>
                  <a:ext cx="5040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63" name="Ink 62">
                  <a:extLst>
                    <a:ext uri="{FF2B5EF4-FFF2-40B4-BE49-F238E27FC236}">
                      <a16:creationId xmlns:a16="http://schemas.microsoft.com/office/drawing/2014/main" id="{53C08174-945B-4BD7-8DBB-33A9EFB19EAF}"/>
                    </a:ext>
                  </a:extLst>
                </p14:cNvPr>
                <p14:cNvContentPartPr/>
                <p14:nvPr/>
              </p14:nvContentPartPr>
              <p14:xfrm>
                <a:off x="5742297" y="571958"/>
                <a:ext cx="57240" cy="64440"/>
              </p14:xfrm>
            </p:contentPart>
          </mc:Choice>
          <mc:Fallback xmlns="">
            <p:pic>
              <p:nvPicPr>
                <p:cNvPr id="63" name="Ink 62">
                  <a:extLst>
                    <a:ext uri="{FF2B5EF4-FFF2-40B4-BE49-F238E27FC236}">
                      <a16:creationId xmlns:a16="http://schemas.microsoft.com/office/drawing/2014/main" id="{53C08174-945B-4BD7-8DBB-33A9EFB19EAF}"/>
                    </a:ext>
                  </a:extLst>
                </p:cNvPr>
                <p:cNvPicPr/>
                <p:nvPr/>
              </p:nvPicPr>
              <p:blipFill>
                <a:blip r:embed="rId26"/>
                <a:stretch>
                  <a:fillRect/>
                </a:stretch>
              </p:blipFill>
              <p:spPr>
                <a:xfrm>
                  <a:off x="5737977" y="567638"/>
                  <a:ext cx="6588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64" name="Ink 63">
                  <a:extLst>
                    <a:ext uri="{FF2B5EF4-FFF2-40B4-BE49-F238E27FC236}">
                      <a16:creationId xmlns:a16="http://schemas.microsoft.com/office/drawing/2014/main" id="{771DF10D-FBE2-4B4F-9839-00AEDD219109}"/>
                    </a:ext>
                  </a:extLst>
                </p14:cNvPr>
                <p14:cNvContentPartPr/>
                <p14:nvPr/>
              </p14:nvContentPartPr>
              <p14:xfrm>
                <a:off x="5751297" y="585638"/>
                <a:ext cx="35280" cy="69840"/>
              </p14:xfrm>
            </p:contentPart>
          </mc:Choice>
          <mc:Fallback xmlns="">
            <p:pic>
              <p:nvPicPr>
                <p:cNvPr id="64" name="Ink 63">
                  <a:extLst>
                    <a:ext uri="{FF2B5EF4-FFF2-40B4-BE49-F238E27FC236}">
                      <a16:creationId xmlns:a16="http://schemas.microsoft.com/office/drawing/2014/main" id="{771DF10D-FBE2-4B4F-9839-00AEDD219109}"/>
                    </a:ext>
                  </a:extLst>
                </p:cNvPr>
                <p:cNvPicPr/>
                <p:nvPr/>
              </p:nvPicPr>
              <p:blipFill>
                <a:blip r:embed="rId28"/>
                <a:stretch>
                  <a:fillRect/>
                </a:stretch>
              </p:blipFill>
              <p:spPr>
                <a:xfrm>
                  <a:off x="5746977" y="581318"/>
                  <a:ext cx="43920" cy="784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66" name="Ink 65">
                  <a:extLst>
                    <a:ext uri="{FF2B5EF4-FFF2-40B4-BE49-F238E27FC236}">
                      <a16:creationId xmlns:a16="http://schemas.microsoft.com/office/drawing/2014/main" id="{C9C10218-810B-408D-A478-9C45A80BFE58}"/>
                    </a:ext>
                  </a:extLst>
                </p14:cNvPr>
                <p14:cNvContentPartPr/>
                <p14:nvPr/>
              </p14:nvContentPartPr>
              <p14:xfrm>
                <a:off x="5799177" y="579878"/>
                <a:ext cx="43200" cy="67320"/>
              </p14:xfrm>
            </p:contentPart>
          </mc:Choice>
          <mc:Fallback xmlns="">
            <p:pic>
              <p:nvPicPr>
                <p:cNvPr id="66" name="Ink 65">
                  <a:extLst>
                    <a:ext uri="{FF2B5EF4-FFF2-40B4-BE49-F238E27FC236}">
                      <a16:creationId xmlns:a16="http://schemas.microsoft.com/office/drawing/2014/main" id="{C9C10218-810B-408D-A478-9C45A80BFE58}"/>
                    </a:ext>
                  </a:extLst>
                </p:cNvPr>
                <p:cNvPicPr/>
                <p:nvPr/>
              </p:nvPicPr>
              <p:blipFill>
                <a:blip r:embed="rId30"/>
                <a:stretch>
                  <a:fillRect/>
                </a:stretch>
              </p:blipFill>
              <p:spPr>
                <a:xfrm>
                  <a:off x="5794857" y="575558"/>
                  <a:ext cx="5184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67" name="Ink 66">
                  <a:extLst>
                    <a:ext uri="{FF2B5EF4-FFF2-40B4-BE49-F238E27FC236}">
                      <a16:creationId xmlns:a16="http://schemas.microsoft.com/office/drawing/2014/main" id="{4A5320AB-ACE0-42B9-8CEE-B6AF94A19CEB}"/>
                    </a:ext>
                  </a:extLst>
                </p14:cNvPr>
                <p14:cNvContentPartPr/>
                <p14:nvPr/>
              </p14:nvContentPartPr>
              <p14:xfrm>
                <a:off x="5907897" y="579518"/>
                <a:ext cx="39240" cy="63360"/>
              </p14:xfrm>
            </p:contentPart>
          </mc:Choice>
          <mc:Fallback xmlns="">
            <p:pic>
              <p:nvPicPr>
                <p:cNvPr id="67" name="Ink 66">
                  <a:extLst>
                    <a:ext uri="{FF2B5EF4-FFF2-40B4-BE49-F238E27FC236}">
                      <a16:creationId xmlns:a16="http://schemas.microsoft.com/office/drawing/2014/main" id="{4A5320AB-ACE0-42B9-8CEE-B6AF94A19CEB}"/>
                    </a:ext>
                  </a:extLst>
                </p:cNvPr>
                <p:cNvPicPr/>
                <p:nvPr/>
              </p:nvPicPr>
              <p:blipFill>
                <a:blip r:embed="rId32"/>
                <a:stretch>
                  <a:fillRect/>
                </a:stretch>
              </p:blipFill>
              <p:spPr>
                <a:xfrm>
                  <a:off x="5903577" y="575198"/>
                  <a:ext cx="4788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74" name="Ink 73">
                  <a:extLst>
                    <a:ext uri="{FF2B5EF4-FFF2-40B4-BE49-F238E27FC236}">
                      <a16:creationId xmlns:a16="http://schemas.microsoft.com/office/drawing/2014/main" id="{00B0BCB6-8EC9-4F42-B0A8-C2AB6F5F6645}"/>
                    </a:ext>
                  </a:extLst>
                </p14:cNvPr>
                <p14:cNvContentPartPr/>
                <p14:nvPr/>
              </p14:nvContentPartPr>
              <p14:xfrm>
                <a:off x="5938857" y="591758"/>
                <a:ext cx="60840" cy="47520"/>
              </p14:xfrm>
            </p:contentPart>
          </mc:Choice>
          <mc:Fallback xmlns="">
            <p:pic>
              <p:nvPicPr>
                <p:cNvPr id="74" name="Ink 73">
                  <a:extLst>
                    <a:ext uri="{FF2B5EF4-FFF2-40B4-BE49-F238E27FC236}">
                      <a16:creationId xmlns:a16="http://schemas.microsoft.com/office/drawing/2014/main" id="{00B0BCB6-8EC9-4F42-B0A8-C2AB6F5F6645}"/>
                    </a:ext>
                  </a:extLst>
                </p:cNvPr>
                <p:cNvPicPr/>
                <p:nvPr/>
              </p:nvPicPr>
              <p:blipFill>
                <a:blip r:embed="rId34"/>
                <a:stretch>
                  <a:fillRect/>
                </a:stretch>
              </p:blipFill>
              <p:spPr>
                <a:xfrm>
                  <a:off x="5934537" y="587438"/>
                  <a:ext cx="69480" cy="561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75" name="Ink 74">
                  <a:extLst>
                    <a:ext uri="{FF2B5EF4-FFF2-40B4-BE49-F238E27FC236}">
                      <a16:creationId xmlns:a16="http://schemas.microsoft.com/office/drawing/2014/main" id="{0BCC5110-0248-442B-8722-498CC887E825}"/>
                    </a:ext>
                  </a:extLst>
                </p14:cNvPr>
                <p14:cNvContentPartPr/>
                <p14:nvPr/>
              </p14:nvContentPartPr>
              <p14:xfrm>
                <a:off x="6033177" y="579158"/>
                <a:ext cx="30240" cy="70920"/>
              </p14:xfrm>
            </p:contentPart>
          </mc:Choice>
          <mc:Fallback xmlns="">
            <p:pic>
              <p:nvPicPr>
                <p:cNvPr id="75" name="Ink 74">
                  <a:extLst>
                    <a:ext uri="{FF2B5EF4-FFF2-40B4-BE49-F238E27FC236}">
                      <a16:creationId xmlns:a16="http://schemas.microsoft.com/office/drawing/2014/main" id="{0BCC5110-0248-442B-8722-498CC887E825}"/>
                    </a:ext>
                  </a:extLst>
                </p:cNvPr>
                <p:cNvPicPr/>
                <p:nvPr/>
              </p:nvPicPr>
              <p:blipFill>
                <a:blip r:embed="rId36"/>
                <a:stretch>
                  <a:fillRect/>
                </a:stretch>
              </p:blipFill>
              <p:spPr>
                <a:xfrm>
                  <a:off x="6028857" y="574838"/>
                  <a:ext cx="388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6" name="Ink 75">
                  <a:extLst>
                    <a:ext uri="{FF2B5EF4-FFF2-40B4-BE49-F238E27FC236}">
                      <a16:creationId xmlns:a16="http://schemas.microsoft.com/office/drawing/2014/main" id="{92FC619D-B485-4E90-B3E0-8AECA820C898}"/>
                    </a:ext>
                  </a:extLst>
                </p14:cNvPr>
                <p14:cNvContentPartPr/>
                <p14:nvPr/>
              </p14:nvContentPartPr>
              <p14:xfrm>
                <a:off x="6080697" y="585638"/>
                <a:ext cx="38880" cy="71280"/>
              </p14:xfrm>
            </p:contentPart>
          </mc:Choice>
          <mc:Fallback xmlns="">
            <p:pic>
              <p:nvPicPr>
                <p:cNvPr id="76" name="Ink 75">
                  <a:extLst>
                    <a:ext uri="{FF2B5EF4-FFF2-40B4-BE49-F238E27FC236}">
                      <a16:creationId xmlns:a16="http://schemas.microsoft.com/office/drawing/2014/main" id="{92FC619D-B485-4E90-B3E0-8AECA820C898}"/>
                    </a:ext>
                  </a:extLst>
                </p:cNvPr>
                <p:cNvPicPr/>
                <p:nvPr/>
              </p:nvPicPr>
              <p:blipFill>
                <a:blip r:embed="rId38"/>
                <a:stretch>
                  <a:fillRect/>
                </a:stretch>
              </p:blipFill>
              <p:spPr>
                <a:xfrm>
                  <a:off x="6076377" y="581318"/>
                  <a:ext cx="4752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7" name="Ink 76">
                  <a:extLst>
                    <a:ext uri="{FF2B5EF4-FFF2-40B4-BE49-F238E27FC236}">
                      <a16:creationId xmlns:a16="http://schemas.microsoft.com/office/drawing/2014/main" id="{3CA57AE4-A6DD-4006-B027-81D1EE7200BE}"/>
                    </a:ext>
                  </a:extLst>
                </p14:cNvPr>
                <p14:cNvContentPartPr/>
                <p14:nvPr/>
              </p14:nvContentPartPr>
              <p14:xfrm>
                <a:off x="6184737" y="571958"/>
                <a:ext cx="41400" cy="83880"/>
              </p14:xfrm>
            </p:contentPart>
          </mc:Choice>
          <mc:Fallback xmlns="">
            <p:pic>
              <p:nvPicPr>
                <p:cNvPr id="77" name="Ink 76">
                  <a:extLst>
                    <a:ext uri="{FF2B5EF4-FFF2-40B4-BE49-F238E27FC236}">
                      <a16:creationId xmlns:a16="http://schemas.microsoft.com/office/drawing/2014/main" id="{3CA57AE4-A6DD-4006-B027-81D1EE7200BE}"/>
                    </a:ext>
                  </a:extLst>
                </p:cNvPr>
                <p:cNvPicPr/>
                <p:nvPr/>
              </p:nvPicPr>
              <p:blipFill>
                <a:blip r:embed="rId40"/>
                <a:stretch>
                  <a:fillRect/>
                </a:stretch>
              </p:blipFill>
              <p:spPr>
                <a:xfrm>
                  <a:off x="6180417" y="567638"/>
                  <a:ext cx="50040" cy="925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78" name="Ink 77">
                  <a:extLst>
                    <a:ext uri="{FF2B5EF4-FFF2-40B4-BE49-F238E27FC236}">
                      <a16:creationId xmlns:a16="http://schemas.microsoft.com/office/drawing/2014/main" id="{6B9CD26D-6AD1-4532-B19F-0E7E657094B6}"/>
                    </a:ext>
                  </a:extLst>
                </p14:cNvPr>
                <p14:cNvContentPartPr/>
                <p14:nvPr/>
              </p14:nvContentPartPr>
              <p14:xfrm>
                <a:off x="6275817" y="570518"/>
                <a:ext cx="54360" cy="57600"/>
              </p14:xfrm>
            </p:contentPart>
          </mc:Choice>
          <mc:Fallback xmlns="">
            <p:pic>
              <p:nvPicPr>
                <p:cNvPr id="78" name="Ink 77">
                  <a:extLst>
                    <a:ext uri="{FF2B5EF4-FFF2-40B4-BE49-F238E27FC236}">
                      <a16:creationId xmlns:a16="http://schemas.microsoft.com/office/drawing/2014/main" id="{6B9CD26D-6AD1-4532-B19F-0E7E657094B6}"/>
                    </a:ext>
                  </a:extLst>
                </p:cNvPr>
                <p:cNvPicPr/>
                <p:nvPr/>
              </p:nvPicPr>
              <p:blipFill>
                <a:blip r:embed="rId42"/>
                <a:stretch>
                  <a:fillRect/>
                </a:stretch>
              </p:blipFill>
              <p:spPr>
                <a:xfrm>
                  <a:off x="6271497" y="566198"/>
                  <a:ext cx="6300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80" name="Ink 79">
                  <a:extLst>
                    <a:ext uri="{FF2B5EF4-FFF2-40B4-BE49-F238E27FC236}">
                      <a16:creationId xmlns:a16="http://schemas.microsoft.com/office/drawing/2014/main" id="{6530AB09-30BA-480D-ACAF-C1EF8C7C5174}"/>
                    </a:ext>
                  </a:extLst>
                </p14:cNvPr>
                <p14:cNvContentPartPr/>
                <p14:nvPr/>
              </p14:nvContentPartPr>
              <p14:xfrm>
                <a:off x="5403537" y="488078"/>
                <a:ext cx="12960" cy="42480"/>
              </p14:xfrm>
            </p:contentPart>
          </mc:Choice>
          <mc:Fallback xmlns="">
            <p:pic>
              <p:nvPicPr>
                <p:cNvPr id="80" name="Ink 79">
                  <a:extLst>
                    <a:ext uri="{FF2B5EF4-FFF2-40B4-BE49-F238E27FC236}">
                      <a16:creationId xmlns:a16="http://schemas.microsoft.com/office/drawing/2014/main" id="{6530AB09-30BA-480D-ACAF-C1EF8C7C5174}"/>
                    </a:ext>
                  </a:extLst>
                </p:cNvPr>
                <p:cNvPicPr/>
                <p:nvPr/>
              </p:nvPicPr>
              <p:blipFill>
                <a:blip r:embed="rId44"/>
                <a:stretch>
                  <a:fillRect/>
                </a:stretch>
              </p:blipFill>
              <p:spPr>
                <a:xfrm>
                  <a:off x="5399217" y="483758"/>
                  <a:ext cx="21600" cy="51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81" name="Ink 80">
                  <a:extLst>
                    <a:ext uri="{FF2B5EF4-FFF2-40B4-BE49-F238E27FC236}">
                      <a16:creationId xmlns:a16="http://schemas.microsoft.com/office/drawing/2014/main" id="{EEEA03DF-C400-49B5-B6B4-DE12FFCF3067}"/>
                    </a:ext>
                  </a:extLst>
                </p14:cNvPr>
                <p14:cNvContentPartPr/>
                <p14:nvPr/>
              </p14:nvContentPartPr>
              <p14:xfrm>
                <a:off x="5601897" y="467558"/>
                <a:ext cx="30960" cy="60120"/>
              </p14:xfrm>
            </p:contentPart>
          </mc:Choice>
          <mc:Fallback xmlns="">
            <p:pic>
              <p:nvPicPr>
                <p:cNvPr id="81" name="Ink 80">
                  <a:extLst>
                    <a:ext uri="{FF2B5EF4-FFF2-40B4-BE49-F238E27FC236}">
                      <a16:creationId xmlns:a16="http://schemas.microsoft.com/office/drawing/2014/main" id="{EEEA03DF-C400-49B5-B6B4-DE12FFCF3067}"/>
                    </a:ext>
                  </a:extLst>
                </p:cNvPr>
                <p:cNvPicPr/>
                <p:nvPr/>
              </p:nvPicPr>
              <p:blipFill>
                <a:blip r:embed="rId46"/>
                <a:stretch>
                  <a:fillRect/>
                </a:stretch>
              </p:blipFill>
              <p:spPr>
                <a:xfrm>
                  <a:off x="5597577" y="463238"/>
                  <a:ext cx="3960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83" name="Ink 82">
                  <a:extLst>
                    <a:ext uri="{FF2B5EF4-FFF2-40B4-BE49-F238E27FC236}">
                      <a16:creationId xmlns:a16="http://schemas.microsoft.com/office/drawing/2014/main" id="{3E6AF700-05E3-40AC-B9BF-C5CAC48AAEA3}"/>
                    </a:ext>
                  </a:extLst>
                </p14:cNvPr>
                <p14:cNvContentPartPr/>
                <p14:nvPr/>
              </p14:nvContentPartPr>
              <p14:xfrm>
                <a:off x="5753457" y="474038"/>
                <a:ext cx="19440" cy="40680"/>
              </p14:xfrm>
            </p:contentPart>
          </mc:Choice>
          <mc:Fallback xmlns="">
            <p:pic>
              <p:nvPicPr>
                <p:cNvPr id="83" name="Ink 82">
                  <a:extLst>
                    <a:ext uri="{FF2B5EF4-FFF2-40B4-BE49-F238E27FC236}">
                      <a16:creationId xmlns:a16="http://schemas.microsoft.com/office/drawing/2014/main" id="{3E6AF700-05E3-40AC-B9BF-C5CAC48AAEA3}"/>
                    </a:ext>
                  </a:extLst>
                </p:cNvPr>
                <p:cNvPicPr/>
                <p:nvPr/>
              </p:nvPicPr>
              <p:blipFill>
                <a:blip r:embed="rId48"/>
                <a:stretch>
                  <a:fillRect/>
                </a:stretch>
              </p:blipFill>
              <p:spPr>
                <a:xfrm>
                  <a:off x="5749137" y="469718"/>
                  <a:ext cx="2808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4" name="Ink 83">
                  <a:extLst>
                    <a:ext uri="{FF2B5EF4-FFF2-40B4-BE49-F238E27FC236}">
                      <a16:creationId xmlns:a16="http://schemas.microsoft.com/office/drawing/2014/main" id="{A8A67852-4FC8-4A1B-BFC5-7BC96AE98734}"/>
                    </a:ext>
                  </a:extLst>
                </p14:cNvPr>
                <p14:cNvContentPartPr/>
                <p14:nvPr/>
              </p14:nvContentPartPr>
              <p14:xfrm>
                <a:off x="5924097" y="474038"/>
                <a:ext cx="30240" cy="45000"/>
              </p14:xfrm>
            </p:contentPart>
          </mc:Choice>
          <mc:Fallback xmlns="">
            <p:pic>
              <p:nvPicPr>
                <p:cNvPr id="84" name="Ink 83">
                  <a:extLst>
                    <a:ext uri="{FF2B5EF4-FFF2-40B4-BE49-F238E27FC236}">
                      <a16:creationId xmlns:a16="http://schemas.microsoft.com/office/drawing/2014/main" id="{A8A67852-4FC8-4A1B-BFC5-7BC96AE98734}"/>
                    </a:ext>
                  </a:extLst>
                </p:cNvPr>
                <p:cNvPicPr/>
                <p:nvPr/>
              </p:nvPicPr>
              <p:blipFill>
                <a:blip r:embed="rId50"/>
                <a:stretch>
                  <a:fillRect/>
                </a:stretch>
              </p:blipFill>
              <p:spPr>
                <a:xfrm>
                  <a:off x="5919777" y="469718"/>
                  <a:ext cx="3888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5" name="Ink 84">
                  <a:extLst>
                    <a:ext uri="{FF2B5EF4-FFF2-40B4-BE49-F238E27FC236}">
                      <a16:creationId xmlns:a16="http://schemas.microsoft.com/office/drawing/2014/main" id="{17841811-E690-48A7-8A5F-C653A3F5B096}"/>
                    </a:ext>
                  </a:extLst>
                </p14:cNvPr>
                <p14:cNvContentPartPr/>
                <p14:nvPr/>
              </p14:nvContentPartPr>
              <p14:xfrm>
                <a:off x="6050097" y="467558"/>
                <a:ext cx="15840" cy="34920"/>
              </p14:xfrm>
            </p:contentPart>
          </mc:Choice>
          <mc:Fallback xmlns="">
            <p:pic>
              <p:nvPicPr>
                <p:cNvPr id="85" name="Ink 84">
                  <a:extLst>
                    <a:ext uri="{FF2B5EF4-FFF2-40B4-BE49-F238E27FC236}">
                      <a16:creationId xmlns:a16="http://schemas.microsoft.com/office/drawing/2014/main" id="{17841811-E690-48A7-8A5F-C653A3F5B096}"/>
                    </a:ext>
                  </a:extLst>
                </p:cNvPr>
                <p:cNvPicPr/>
                <p:nvPr/>
              </p:nvPicPr>
              <p:blipFill>
                <a:blip r:embed="rId52"/>
                <a:stretch>
                  <a:fillRect/>
                </a:stretch>
              </p:blipFill>
              <p:spPr>
                <a:xfrm>
                  <a:off x="6045777" y="463238"/>
                  <a:ext cx="24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6" name="Ink 85">
                  <a:extLst>
                    <a:ext uri="{FF2B5EF4-FFF2-40B4-BE49-F238E27FC236}">
                      <a16:creationId xmlns:a16="http://schemas.microsoft.com/office/drawing/2014/main" id="{598E7D38-5775-453A-934C-67C20A90A171}"/>
                    </a:ext>
                  </a:extLst>
                </p14:cNvPr>
                <p14:cNvContentPartPr/>
                <p14:nvPr/>
              </p14:nvContentPartPr>
              <p14:xfrm>
                <a:off x="6216057" y="481238"/>
                <a:ext cx="10080" cy="25560"/>
              </p14:xfrm>
            </p:contentPart>
          </mc:Choice>
          <mc:Fallback xmlns="">
            <p:pic>
              <p:nvPicPr>
                <p:cNvPr id="86" name="Ink 85">
                  <a:extLst>
                    <a:ext uri="{FF2B5EF4-FFF2-40B4-BE49-F238E27FC236}">
                      <a16:creationId xmlns:a16="http://schemas.microsoft.com/office/drawing/2014/main" id="{598E7D38-5775-453A-934C-67C20A90A171}"/>
                    </a:ext>
                  </a:extLst>
                </p:cNvPr>
                <p:cNvPicPr/>
                <p:nvPr/>
              </p:nvPicPr>
              <p:blipFill>
                <a:blip r:embed="rId54"/>
                <a:stretch>
                  <a:fillRect/>
                </a:stretch>
              </p:blipFill>
              <p:spPr>
                <a:xfrm>
                  <a:off x="6211737" y="476918"/>
                  <a:ext cx="18720" cy="342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5">
            <p14:nvContentPartPr>
              <p14:cNvPr id="88" name="Ink 87">
                <a:extLst>
                  <a:ext uri="{FF2B5EF4-FFF2-40B4-BE49-F238E27FC236}">
                    <a16:creationId xmlns:a16="http://schemas.microsoft.com/office/drawing/2014/main" id="{531875B8-63FD-453B-B849-5E8E0F9CA4F0}"/>
                  </a:ext>
                </a:extLst>
              </p14:cNvPr>
              <p14:cNvContentPartPr/>
              <p14:nvPr/>
            </p14:nvContentPartPr>
            <p14:xfrm>
              <a:off x="8089857" y="481238"/>
              <a:ext cx="28440" cy="15480"/>
            </p14:xfrm>
          </p:contentPart>
        </mc:Choice>
        <mc:Fallback xmlns="">
          <p:pic>
            <p:nvPicPr>
              <p:cNvPr id="88" name="Ink 87">
                <a:extLst>
                  <a:ext uri="{FF2B5EF4-FFF2-40B4-BE49-F238E27FC236}">
                    <a16:creationId xmlns:a16="http://schemas.microsoft.com/office/drawing/2014/main" id="{531875B8-63FD-453B-B849-5E8E0F9CA4F0}"/>
                  </a:ext>
                </a:extLst>
              </p:cNvPr>
              <p:cNvPicPr/>
              <p:nvPr/>
            </p:nvPicPr>
            <p:blipFill>
              <a:blip r:embed="rId56"/>
              <a:stretch>
                <a:fillRect/>
              </a:stretch>
            </p:blipFill>
            <p:spPr>
              <a:xfrm>
                <a:off x="8085537" y="476918"/>
                <a:ext cx="370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89" name="Ink 88">
                <a:extLst>
                  <a:ext uri="{FF2B5EF4-FFF2-40B4-BE49-F238E27FC236}">
                    <a16:creationId xmlns:a16="http://schemas.microsoft.com/office/drawing/2014/main" id="{DFB42180-85D5-40A2-98AF-D78C10FE81EE}"/>
                  </a:ext>
                </a:extLst>
              </p14:cNvPr>
              <p14:cNvContentPartPr/>
              <p14:nvPr/>
            </p14:nvContentPartPr>
            <p14:xfrm>
              <a:off x="4665177" y="292958"/>
              <a:ext cx="88560" cy="190080"/>
            </p14:xfrm>
          </p:contentPart>
        </mc:Choice>
        <mc:Fallback xmlns="">
          <p:pic>
            <p:nvPicPr>
              <p:cNvPr id="89" name="Ink 88">
                <a:extLst>
                  <a:ext uri="{FF2B5EF4-FFF2-40B4-BE49-F238E27FC236}">
                    <a16:creationId xmlns:a16="http://schemas.microsoft.com/office/drawing/2014/main" id="{DFB42180-85D5-40A2-98AF-D78C10FE81EE}"/>
                  </a:ext>
                </a:extLst>
              </p:cNvPr>
              <p:cNvPicPr/>
              <p:nvPr/>
            </p:nvPicPr>
            <p:blipFill>
              <a:blip r:embed="rId58"/>
              <a:stretch>
                <a:fillRect/>
              </a:stretch>
            </p:blipFill>
            <p:spPr>
              <a:xfrm>
                <a:off x="4656537" y="283958"/>
                <a:ext cx="106200" cy="20772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90" name="Ink 89">
                <a:extLst>
                  <a:ext uri="{FF2B5EF4-FFF2-40B4-BE49-F238E27FC236}">
                    <a16:creationId xmlns:a16="http://schemas.microsoft.com/office/drawing/2014/main" id="{FE0D606C-C57B-4CF8-A74E-FC2FF7BB3289}"/>
                  </a:ext>
                </a:extLst>
              </p14:cNvPr>
              <p14:cNvContentPartPr/>
              <p14:nvPr/>
            </p14:nvContentPartPr>
            <p14:xfrm>
              <a:off x="4436937" y="591398"/>
              <a:ext cx="94320" cy="87480"/>
            </p14:xfrm>
          </p:contentPart>
        </mc:Choice>
        <mc:Fallback xmlns="">
          <p:pic>
            <p:nvPicPr>
              <p:cNvPr id="90" name="Ink 89">
                <a:extLst>
                  <a:ext uri="{FF2B5EF4-FFF2-40B4-BE49-F238E27FC236}">
                    <a16:creationId xmlns:a16="http://schemas.microsoft.com/office/drawing/2014/main" id="{FE0D606C-C57B-4CF8-A74E-FC2FF7BB3289}"/>
                  </a:ext>
                </a:extLst>
              </p:cNvPr>
              <p:cNvPicPr/>
              <p:nvPr/>
            </p:nvPicPr>
            <p:blipFill>
              <a:blip r:embed="rId60"/>
              <a:stretch>
                <a:fillRect/>
              </a:stretch>
            </p:blipFill>
            <p:spPr>
              <a:xfrm>
                <a:off x="4427937" y="582758"/>
                <a:ext cx="111960" cy="105120"/>
              </a:xfrm>
              <a:prstGeom prst="rect">
                <a:avLst/>
              </a:prstGeom>
            </p:spPr>
          </p:pic>
        </mc:Fallback>
      </mc:AlternateContent>
      <p:sp>
        <p:nvSpPr>
          <p:cNvPr id="97" name="TextBox 96">
            <a:extLst>
              <a:ext uri="{FF2B5EF4-FFF2-40B4-BE49-F238E27FC236}">
                <a16:creationId xmlns:a16="http://schemas.microsoft.com/office/drawing/2014/main" id="{0B7F28F0-CBC9-4D42-8A6B-9EF4C95A95D6}"/>
              </a:ext>
            </a:extLst>
          </p:cNvPr>
          <p:cNvSpPr txBox="1"/>
          <p:nvPr/>
        </p:nvSpPr>
        <p:spPr>
          <a:xfrm>
            <a:off x="223365" y="1225718"/>
            <a:ext cx="6317038"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Values : </a:t>
            </a:r>
            <a:r>
              <a:rPr lang="en-US" sz="1800" dirty="0">
                <a:solidFill>
                  <a:schemeClr val="bg2">
                    <a:lumMod val="50000"/>
                    <a:lumOff val="50000"/>
                  </a:schemeClr>
                </a:solidFill>
                <a:latin typeface="Inter"/>
                <a:cs typeface="Arial" panose="020B0604020202020204" pitchFamily="34" charset="0"/>
              </a:rPr>
              <a:t>10, 20, 30, 40, 44, 44, 45, 50, 55, 60 , 400</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an : </a:t>
            </a:r>
            <a:r>
              <a:rPr lang="en-US" sz="1800" dirty="0">
                <a:solidFill>
                  <a:schemeClr val="bg2">
                    <a:lumMod val="50000"/>
                    <a:lumOff val="50000"/>
                  </a:schemeClr>
                </a:solidFill>
                <a:latin typeface="Inter"/>
                <a:cs typeface="Arial" panose="020B0604020202020204" pitchFamily="34" charset="0"/>
              </a:rPr>
              <a:t>72.5</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dian : </a:t>
            </a:r>
            <a:r>
              <a:rPr lang="en-US" sz="1800" dirty="0">
                <a:solidFill>
                  <a:schemeClr val="bg2">
                    <a:lumMod val="50000"/>
                    <a:lumOff val="50000"/>
                  </a:schemeClr>
                </a:solidFill>
                <a:latin typeface="Inter"/>
                <a:cs typeface="Arial" panose="020B0604020202020204" pitchFamily="34" charset="0"/>
              </a:rPr>
              <a:t>44</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ode : </a:t>
            </a:r>
            <a:r>
              <a:rPr lang="en-US" sz="1800" dirty="0">
                <a:solidFill>
                  <a:schemeClr val="bg2">
                    <a:lumMod val="50000"/>
                    <a:lumOff val="50000"/>
                  </a:schemeClr>
                </a:solidFill>
                <a:latin typeface="Inter"/>
                <a:cs typeface="Arial" panose="020B0604020202020204" pitchFamily="34" charset="0"/>
              </a:rPr>
              <a:t>44</a:t>
            </a:r>
          </a:p>
        </p:txBody>
      </p:sp>
      <p:grpSp>
        <p:nvGrpSpPr>
          <p:cNvPr id="107" name="Group 106">
            <a:extLst>
              <a:ext uri="{FF2B5EF4-FFF2-40B4-BE49-F238E27FC236}">
                <a16:creationId xmlns:a16="http://schemas.microsoft.com/office/drawing/2014/main" id="{B8B535AB-9207-47BE-A1C9-601BB537A3D2}"/>
              </a:ext>
            </a:extLst>
          </p:cNvPr>
          <p:cNvGrpSpPr/>
          <p:nvPr/>
        </p:nvGrpSpPr>
        <p:grpSpPr>
          <a:xfrm>
            <a:off x="7976457" y="585638"/>
            <a:ext cx="263520" cy="139320"/>
            <a:chOff x="7976457" y="585638"/>
            <a:chExt cx="263520" cy="139320"/>
          </a:xfrm>
        </p:grpSpPr>
        <mc:AlternateContent xmlns:mc="http://schemas.openxmlformats.org/markup-compatibility/2006" xmlns:p14="http://schemas.microsoft.com/office/powerpoint/2010/main">
          <mc:Choice Requires="p14">
            <p:contentPart p14:bwMode="auto" r:id="rId61">
              <p14:nvContentPartPr>
                <p14:cNvPr id="103" name="Ink 102">
                  <a:extLst>
                    <a:ext uri="{FF2B5EF4-FFF2-40B4-BE49-F238E27FC236}">
                      <a16:creationId xmlns:a16="http://schemas.microsoft.com/office/drawing/2014/main" id="{42F7E7F6-498A-4924-9E7B-2417E0FEC2F9}"/>
                    </a:ext>
                  </a:extLst>
                </p14:cNvPr>
                <p14:cNvContentPartPr/>
                <p14:nvPr/>
              </p14:nvContentPartPr>
              <p14:xfrm>
                <a:off x="7976457" y="592838"/>
                <a:ext cx="105840" cy="99360"/>
              </p14:xfrm>
            </p:contentPart>
          </mc:Choice>
          <mc:Fallback xmlns="">
            <p:pic>
              <p:nvPicPr>
                <p:cNvPr id="103" name="Ink 102">
                  <a:extLst>
                    <a:ext uri="{FF2B5EF4-FFF2-40B4-BE49-F238E27FC236}">
                      <a16:creationId xmlns:a16="http://schemas.microsoft.com/office/drawing/2014/main" id="{42F7E7F6-498A-4924-9E7B-2417E0FEC2F9}"/>
                    </a:ext>
                  </a:extLst>
                </p:cNvPr>
                <p:cNvPicPr/>
                <p:nvPr/>
              </p:nvPicPr>
              <p:blipFill>
                <a:blip r:embed="rId62"/>
                <a:stretch>
                  <a:fillRect/>
                </a:stretch>
              </p:blipFill>
              <p:spPr>
                <a:xfrm>
                  <a:off x="7972137" y="588518"/>
                  <a:ext cx="11448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4" name="Ink 103">
                  <a:extLst>
                    <a:ext uri="{FF2B5EF4-FFF2-40B4-BE49-F238E27FC236}">
                      <a16:creationId xmlns:a16="http://schemas.microsoft.com/office/drawing/2014/main" id="{E8038FD2-F19F-46A2-B68E-BA4430877E9F}"/>
                    </a:ext>
                  </a:extLst>
                </p14:cNvPr>
                <p14:cNvContentPartPr/>
                <p14:nvPr/>
              </p14:nvContentPartPr>
              <p14:xfrm>
                <a:off x="7999857" y="585638"/>
                <a:ext cx="48240" cy="139320"/>
              </p14:xfrm>
            </p:contentPart>
          </mc:Choice>
          <mc:Fallback xmlns="">
            <p:pic>
              <p:nvPicPr>
                <p:cNvPr id="104" name="Ink 103">
                  <a:extLst>
                    <a:ext uri="{FF2B5EF4-FFF2-40B4-BE49-F238E27FC236}">
                      <a16:creationId xmlns:a16="http://schemas.microsoft.com/office/drawing/2014/main" id="{E8038FD2-F19F-46A2-B68E-BA4430877E9F}"/>
                    </a:ext>
                  </a:extLst>
                </p:cNvPr>
                <p:cNvPicPr/>
                <p:nvPr/>
              </p:nvPicPr>
              <p:blipFill>
                <a:blip r:embed="rId64"/>
                <a:stretch>
                  <a:fillRect/>
                </a:stretch>
              </p:blipFill>
              <p:spPr>
                <a:xfrm>
                  <a:off x="7995537" y="581318"/>
                  <a:ext cx="5688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5" name="Ink 104">
                  <a:extLst>
                    <a:ext uri="{FF2B5EF4-FFF2-40B4-BE49-F238E27FC236}">
                      <a16:creationId xmlns:a16="http://schemas.microsoft.com/office/drawing/2014/main" id="{3624B60D-70CE-4C57-BB13-CDB2CA6188F8}"/>
                    </a:ext>
                  </a:extLst>
                </p14:cNvPr>
                <p14:cNvContentPartPr/>
                <p14:nvPr/>
              </p14:nvContentPartPr>
              <p14:xfrm>
                <a:off x="8103537" y="599318"/>
                <a:ext cx="57240" cy="57600"/>
              </p14:xfrm>
            </p:contentPart>
          </mc:Choice>
          <mc:Fallback xmlns="">
            <p:pic>
              <p:nvPicPr>
                <p:cNvPr id="105" name="Ink 104">
                  <a:extLst>
                    <a:ext uri="{FF2B5EF4-FFF2-40B4-BE49-F238E27FC236}">
                      <a16:creationId xmlns:a16="http://schemas.microsoft.com/office/drawing/2014/main" id="{3624B60D-70CE-4C57-BB13-CDB2CA6188F8}"/>
                    </a:ext>
                  </a:extLst>
                </p:cNvPr>
                <p:cNvPicPr/>
                <p:nvPr/>
              </p:nvPicPr>
              <p:blipFill>
                <a:blip r:embed="rId66"/>
                <a:stretch>
                  <a:fillRect/>
                </a:stretch>
              </p:blipFill>
              <p:spPr>
                <a:xfrm>
                  <a:off x="8099217" y="594998"/>
                  <a:ext cx="6588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6" name="Ink 105">
                  <a:extLst>
                    <a:ext uri="{FF2B5EF4-FFF2-40B4-BE49-F238E27FC236}">
                      <a16:creationId xmlns:a16="http://schemas.microsoft.com/office/drawing/2014/main" id="{F21C355D-4732-414A-8EB8-72F1F4C1964B}"/>
                    </a:ext>
                  </a:extLst>
                </p14:cNvPr>
                <p14:cNvContentPartPr/>
                <p14:nvPr/>
              </p14:nvContentPartPr>
              <p14:xfrm>
                <a:off x="8196057" y="585638"/>
                <a:ext cx="43920" cy="59400"/>
              </p14:xfrm>
            </p:contentPart>
          </mc:Choice>
          <mc:Fallback xmlns="">
            <p:pic>
              <p:nvPicPr>
                <p:cNvPr id="106" name="Ink 105">
                  <a:extLst>
                    <a:ext uri="{FF2B5EF4-FFF2-40B4-BE49-F238E27FC236}">
                      <a16:creationId xmlns:a16="http://schemas.microsoft.com/office/drawing/2014/main" id="{F21C355D-4732-414A-8EB8-72F1F4C1964B}"/>
                    </a:ext>
                  </a:extLst>
                </p:cNvPr>
                <p:cNvPicPr/>
                <p:nvPr/>
              </p:nvPicPr>
              <p:blipFill>
                <a:blip r:embed="rId68"/>
                <a:stretch>
                  <a:fillRect/>
                </a:stretch>
              </p:blipFill>
              <p:spPr>
                <a:xfrm>
                  <a:off x="8191737" y="581318"/>
                  <a:ext cx="52560" cy="68040"/>
                </a:xfrm>
                <a:prstGeom prst="rect">
                  <a:avLst/>
                </a:prstGeom>
              </p:spPr>
            </p:pic>
          </mc:Fallback>
        </mc:AlternateContent>
      </p:grpSp>
      <p:grpSp>
        <p:nvGrpSpPr>
          <p:cNvPr id="114" name="Group 113">
            <a:extLst>
              <a:ext uri="{FF2B5EF4-FFF2-40B4-BE49-F238E27FC236}">
                <a16:creationId xmlns:a16="http://schemas.microsoft.com/office/drawing/2014/main" id="{7885C676-A88E-492A-99A6-F6E6650F46A0}"/>
              </a:ext>
            </a:extLst>
          </p:cNvPr>
          <p:cNvGrpSpPr/>
          <p:nvPr/>
        </p:nvGrpSpPr>
        <p:grpSpPr>
          <a:xfrm>
            <a:off x="8593137" y="320678"/>
            <a:ext cx="327240" cy="315720"/>
            <a:chOff x="8593137" y="320678"/>
            <a:chExt cx="327240" cy="315720"/>
          </a:xfrm>
        </p:grpSpPr>
        <mc:AlternateContent xmlns:mc="http://schemas.openxmlformats.org/markup-compatibility/2006" xmlns:p14="http://schemas.microsoft.com/office/powerpoint/2010/main">
          <mc:Choice Requires="p14">
            <p:contentPart p14:bwMode="auto" r:id="rId69">
              <p14:nvContentPartPr>
                <p14:cNvPr id="109" name="Ink 108">
                  <a:extLst>
                    <a:ext uri="{FF2B5EF4-FFF2-40B4-BE49-F238E27FC236}">
                      <a16:creationId xmlns:a16="http://schemas.microsoft.com/office/drawing/2014/main" id="{8E5A5103-2C20-473B-B261-46E44E2A34E3}"/>
                    </a:ext>
                  </a:extLst>
                </p14:cNvPr>
                <p14:cNvContentPartPr/>
                <p14:nvPr/>
              </p14:nvContentPartPr>
              <p14:xfrm>
                <a:off x="8593137" y="320678"/>
                <a:ext cx="118080" cy="194040"/>
              </p14:xfrm>
            </p:contentPart>
          </mc:Choice>
          <mc:Fallback xmlns="">
            <p:pic>
              <p:nvPicPr>
                <p:cNvPr id="109" name="Ink 108">
                  <a:extLst>
                    <a:ext uri="{FF2B5EF4-FFF2-40B4-BE49-F238E27FC236}">
                      <a16:creationId xmlns:a16="http://schemas.microsoft.com/office/drawing/2014/main" id="{8E5A5103-2C20-473B-B261-46E44E2A34E3}"/>
                    </a:ext>
                  </a:extLst>
                </p:cNvPr>
                <p:cNvPicPr/>
                <p:nvPr/>
              </p:nvPicPr>
              <p:blipFill>
                <a:blip r:embed="rId70"/>
                <a:stretch>
                  <a:fillRect/>
                </a:stretch>
              </p:blipFill>
              <p:spPr>
                <a:xfrm>
                  <a:off x="8584137" y="311678"/>
                  <a:ext cx="13572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10" name="Ink 109">
                  <a:extLst>
                    <a:ext uri="{FF2B5EF4-FFF2-40B4-BE49-F238E27FC236}">
                      <a16:creationId xmlns:a16="http://schemas.microsoft.com/office/drawing/2014/main" id="{667A8D23-64F8-4238-9EDA-1EFFEDE5EA8D}"/>
                    </a:ext>
                  </a:extLst>
                </p14:cNvPr>
                <p14:cNvContentPartPr/>
                <p14:nvPr/>
              </p14:nvContentPartPr>
              <p14:xfrm>
                <a:off x="8657217" y="488078"/>
                <a:ext cx="96120" cy="148320"/>
              </p14:xfrm>
            </p:contentPart>
          </mc:Choice>
          <mc:Fallback xmlns="">
            <p:pic>
              <p:nvPicPr>
                <p:cNvPr id="110" name="Ink 109">
                  <a:extLst>
                    <a:ext uri="{FF2B5EF4-FFF2-40B4-BE49-F238E27FC236}">
                      <a16:creationId xmlns:a16="http://schemas.microsoft.com/office/drawing/2014/main" id="{667A8D23-64F8-4238-9EDA-1EFFEDE5EA8D}"/>
                    </a:ext>
                  </a:extLst>
                </p:cNvPr>
                <p:cNvPicPr/>
                <p:nvPr/>
              </p:nvPicPr>
              <p:blipFill>
                <a:blip r:embed="rId72"/>
                <a:stretch>
                  <a:fillRect/>
                </a:stretch>
              </p:blipFill>
              <p:spPr>
                <a:xfrm>
                  <a:off x="8648577" y="479078"/>
                  <a:ext cx="11376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12" name="Ink 111">
                  <a:extLst>
                    <a:ext uri="{FF2B5EF4-FFF2-40B4-BE49-F238E27FC236}">
                      <a16:creationId xmlns:a16="http://schemas.microsoft.com/office/drawing/2014/main" id="{D7AE6E3D-4C7A-4FAC-A1E4-6F7C020B45ED}"/>
                    </a:ext>
                  </a:extLst>
                </p14:cNvPr>
                <p14:cNvContentPartPr/>
                <p14:nvPr/>
              </p14:nvContentPartPr>
              <p14:xfrm>
                <a:off x="8753337" y="518318"/>
                <a:ext cx="79200" cy="87480"/>
              </p14:xfrm>
            </p:contentPart>
          </mc:Choice>
          <mc:Fallback xmlns="">
            <p:pic>
              <p:nvPicPr>
                <p:cNvPr id="112" name="Ink 111">
                  <a:extLst>
                    <a:ext uri="{FF2B5EF4-FFF2-40B4-BE49-F238E27FC236}">
                      <a16:creationId xmlns:a16="http://schemas.microsoft.com/office/drawing/2014/main" id="{D7AE6E3D-4C7A-4FAC-A1E4-6F7C020B45ED}"/>
                    </a:ext>
                  </a:extLst>
                </p:cNvPr>
                <p:cNvPicPr/>
                <p:nvPr/>
              </p:nvPicPr>
              <p:blipFill>
                <a:blip r:embed="rId74"/>
                <a:stretch>
                  <a:fillRect/>
                </a:stretch>
              </p:blipFill>
              <p:spPr>
                <a:xfrm>
                  <a:off x="8744337" y="509678"/>
                  <a:ext cx="9684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13" name="Ink 112">
                  <a:extLst>
                    <a:ext uri="{FF2B5EF4-FFF2-40B4-BE49-F238E27FC236}">
                      <a16:creationId xmlns:a16="http://schemas.microsoft.com/office/drawing/2014/main" id="{970F2986-0FFF-4ECB-BE85-093BDF17A43A}"/>
                    </a:ext>
                  </a:extLst>
                </p14:cNvPr>
                <p14:cNvContentPartPr/>
                <p14:nvPr/>
              </p14:nvContentPartPr>
              <p14:xfrm>
                <a:off x="8872857" y="503918"/>
                <a:ext cx="47520" cy="68040"/>
              </p14:xfrm>
            </p:contentPart>
          </mc:Choice>
          <mc:Fallback xmlns="">
            <p:pic>
              <p:nvPicPr>
                <p:cNvPr id="113" name="Ink 112">
                  <a:extLst>
                    <a:ext uri="{FF2B5EF4-FFF2-40B4-BE49-F238E27FC236}">
                      <a16:creationId xmlns:a16="http://schemas.microsoft.com/office/drawing/2014/main" id="{970F2986-0FFF-4ECB-BE85-093BDF17A43A}"/>
                    </a:ext>
                  </a:extLst>
                </p:cNvPr>
                <p:cNvPicPr/>
                <p:nvPr/>
              </p:nvPicPr>
              <p:blipFill>
                <a:blip r:embed="rId76"/>
                <a:stretch>
                  <a:fillRect/>
                </a:stretch>
              </p:blipFill>
              <p:spPr>
                <a:xfrm>
                  <a:off x="8863857" y="495278"/>
                  <a:ext cx="65160" cy="85680"/>
                </a:xfrm>
                <a:prstGeom prst="rect">
                  <a:avLst/>
                </a:prstGeom>
              </p:spPr>
            </p:pic>
          </mc:Fallback>
        </mc:AlternateContent>
      </p:grpSp>
      <p:sp>
        <p:nvSpPr>
          <p:cNvPr id="118" name="TextBox 117">
            <a:extLst>
              <a:ext uri="{FF2B5EF4-FFF2-40B4-BE49-F238E27FC236}">
                <a16:creationId xmlns:a16="http://schemas.microsoft.com/office/drawing/2014/main" id="{9FD59B1B-B3B2-450D-B9E2-D257740BB6D2}"/>
              </a:ext>
            </a:extLst>
          </p:cNvPr>
          <p:cNvSpPr txBox="1"/>
          <p:nvPr/>
        </p:nvSpPr>
        <p:spPr>
          <a:xfrm>
            <a:off x="142902" y="3671560"/>
            <a:ext cx="6489449" cy="36933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Inter"/>
                <a:cs typeface="Arial" panose="020B0604020202020204" pitchFamily="34" charset="0"/>
              </a:rPr>
              <a:t>Let’s learn how to identify and treat outliers in our ML classes</a:t>
            </a:r>
          </a:p>
        </p:txBody>
      </p:sp>
      <mc:AlternateContent xmlns:mc="http://schemas.openxmlformats.org/markup-compatibility/2006" xmlns:p14="http://schemas.microsoft.com/office/powerpoint/2010/main">
        <mc:Choice Requires="p14">
          <p:contentPart p14:bwMode="auto" r:id="rId77">
            <p14:nvContentPartPr>
              <p14:cNvPr id="2" name="Ink 1">
                <a:extLst>
                  <a:ext uri="{FF2B5EF4-FFF2-40B4-BE49-F238E27FC236}">
                    <a16:creationId xmlns:a16="http://schemas.microsoft.com/office/drawing/2014/main" id="{C4B3869E-E137-4186-B02D-22FEA0210604}"/>
                  </a:ext>
                </a:extLst>
              </p14:cNvPr>
              <p14:cNvContentPartPr/>
              <p14:nvPr/>
            </p14:nvContentPartPr>
            <p14:xfrm>
              <a:off x="200160" y="114480"/>
              <a:ext cx="7839360" cy="4086360"/>
            </p14:xfrm>
          </p:contentPart>
        </mc:Choice>
        <mc:Fallback xmlns="">
          <p:pic>
            <p:nvPicPr>
              <p:cNvPr id="2" name="Ink 1">
                <a:extLst>
                  <a:ext uri="{FF2B5EF4-FFF2-40B4-BE49-F238E27FC236}">
                    <a16:creationId xmlns:a16="http://schemas.microsoft.com/office/drawing/2014/main" id="{C4B3869E-E137-4186-B02D-22FEA0210604}"/>
                  </a:ext>
                </a:extLst>
              </p:cNvPr>
              <p:cNvPicPr/>
              <p:nvPr/>
            </p:nvPicPr>
            <p:blipFill>
              <a:blip r:embed="rId78"/>
              <a:stretch>
                <a:fillRect/>
              </a:stretch>
            </p:blipFill>
            <p:spPr>
              <a:xfrm>
                <a:off x="190800" y="105120"/>
                <a:ext cx="7858080" cy="4105080"/>
              </a:xfrm>
              <a:prstGeom prst="rect">
                <a:avLst/>
              </a:prstGeom>
            </p:spPr>
          </p:pic>
        </mc:Fallback>
      </mc:AlternateContent>
    </p:spTree>
    <p:extLst>
      <p:ext uri="{BB962C8B-B14F-4D97-AF65-F5344CB8AC3E}">
        <p14:creationId xmlns:p14="http://schemas.microsoft.com/office/powerpoint/2010/main" val="293059769"/>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6FF563-E73D-4114-871D-69CA13511BB3}"/>
              </a:ext>
            </a:extLst>
          </p:cNvPr>
          <p:cNvSpPr>
            <a:spLocks noGrp="1"/>
          </p:cNvSpPr>
          <p:nvPr>
            <p:ph type="title"/>
          </p:nvPr>
        </p:nvSpPr>
        <p:spPr>
          <a:xfrm>
            <a:off x="0" y="0"/>
            <a:ext cx="7955280" cy="640080"/>
          </a:xfrm>
        </p:spPr>
        <p:txBody>
          <a:bodyPr>
            <a:normAutofit fontScale="90000"/>
          </a:bodyPr>
          <a:lstStyle/>
          <a:p>
            <a:r>
              <a:rPr lang="en-US" dirty="0"/>
              <a:t>Mean – Continued</a:t>
            </a:r>
            <a:br>
              <a:rPr lang="en-US" dirty="0"/>
            </a:br>
            <a:r>
              <a:rPr lang="en-US" dirty="0">
                <a:solidFill>
                  <a:schemeClr val="bg2">
                    <a:lumMod val="50000"/>
                    <a:lumOff val="50000"/>
                  </a:schemeClr>
                </a:solidFill>
              </a:rPr>
              <a:t>Different types of Mean</a:t>
            </a:r>
          </a:p>
        </p:txBody>
      </p:sp>
      <p:sp>
        <p:nvSpPr>
          <p:cNvPr id="4" name="Content Placeholder 3">
            <a:extLst>
              <a:ext uri="{FF2B5EF4-FFF2-40B4-BE49-F238E27FC236}">
                <a16:creationId xmlns:a16="http://schemas.microsoft.com/office/drawing/2014/main" id="{7D3B6E85-01D6-4560-BC37-4C032EA4F8B6}"/>
              </a:ext>
            </a:extLst>
          </p:cNvPr>
          <p:cNvSpPr>
            <a:spLocks noGrp="1"/>
          </p:cNvSpPr>
          <p:nvPr>
            <p:ph sz="half" idx="1"/>
          </p:nvPr>
        </p:nvSpPr>
        <p:spPr>
          <a:xfrm>
            <a:off x="64915" y="898005"/>
            <a:ext cx="8073943" cy="3820578"/>
          </a:xfrm>
        </p:spPr>
        <p:txBody>
          <a:bodyPr/>
          <a:lstStyle/>
          <a:p>
            <a:pPr marL="0" indent="0">
              <a:buNone/>
            </a:pPr>
            <a:r>
              <a:rPr lang="en-US" sz="2500" dirty="0">
                <a:solidFill>
                  <a:srgbClr val="007DB8"/>
                </a:solidFill>
              </a:rPr>
              <a:t>Arithmetic Mean </a:t>
            </a:r>
          </a:p>
          <a:p>
            <a:r>
              <a:rPr lang="en-US" dirty="0">
                <a:solidFill>
                  <a:schemeClr val="bg2">
                    <a:lumMod val="50000"/>
                    <a:lumOff val="50000"/>
                  </a:schemeClr>
                </a:solidFill>
                <a:latin typeface="Inter"/>
              </a:rPr>
              <a:t>When you add up all the values and divide by the number of values it is called Arithmetic Mean. To calculate, just add up all the given numbers then divide by how many numbers are given.</a:t>
            </a:r>
          </a:p>
          <a:p>
            <a:pPr lvl="1"/>
            <a:r>
              <a:rPr lang="en-US" sz="1400" dirty="0">
                <a:solidFill>
                  <a:schemeClr val="bg2">
                    <a:lumMod val="50000"/>
                    <a:lumOff val="50000"/>
                  </a:schemeClr>
                </a:solidFill>
                <a:latin typeface="Inter"/>
              </a:rPr>
              <a:t>Example: What is the mean of 3, 5, 9, 5, 7, 2?</a:t>
            </a:r>
          </a:p>
          <a:p>
            <a:pPr lvl="1"/>
            <a:r>
              <a:rPr lang="en-US" sz="1400" dirty="0">
                <a:solidFill>
                  <a:schemeClr val="bg2">
                    <a:lumMod val="50000"/>
                    <a:lumOff val="50000"/>
                  </a:schemeClr>
                </a:solidFill>
                <a:latin typeface="Inter"/>
              </a:rPr>
              <a:t>Now add up all the given numbers:</a:t>
            </a:r>
          </a:p>
          <a:p>
            <a:pPr lvl="1"/>
            <a:r>
              <a:rPr lang="en-US" sz="1400" dirty="0">
                <a:solidFill>
                  <a:schemeClr val="bg2">
                    <a:lumMod val="50000"/>
                    <a:lumOff val="50000"/>
                  </a:schemeClr>
                </a:solidFill>
                <a:latin typeface="Inter"/>
              </a:rPr>
              <a:t>3 + 5 + 9 + 5 + 7 + 2 = 31</a:t>
            </a:r>
          </a:p>
          <a:p>
            <a:pPr lvl="1"/>
            <a:r>
              <a:rPr lang="en-US" sz="1400" dirty="0">
                <a:solidFill>
                  <a:schemeClr val="bg2">
                    <a:lumMod val="50000"/>
                    <a:lumOff val="50000"/>
                  </a:schemeClr>
                </a:solidFill>
                <a:latin typeface="Inter"/>
              </a:rPr>
              <a:t>Now divide by how many numbers provided in the sequence:</a:t>
            </a:r>
          </a:p>
          <a:p>
            <a:pPr lvl="1"/>
            <a:r>
              <a:rPr lang="en-US" sz="1400" dirty="0">
                <a:solidFill>
                  <a:schemeClr val="bg2">
                    <a:lumMod val="50000"/>
                    <a:lumOff val="50000"/>
                  </a:schemeClr>
                </a:solidFill>
                <a:latin typeface="Inter"/>
              </a:rPr>
              <a:t>316= 5.16</a:t>
            </a:r>
          </a:p>
          <a:p>
            <a:pPr lvl="1"/>
            <a:r>
              <a:rPr lang="en-US" sz="1400" dirty="0">
                <a:solidFill>
                  <a:schemeClr val="bg2">
                    <a:lumMod val="50000"/>
                    <a:lumOff val="50000"/>
                  </a:schemeClr>
                </a:solidFill>
                <a:latin typeface="Inter"/>
              </a:rPr>
              <a:t>5.16 is the answer</a:t>
            </a:r>
            <a:r>
              <a:rPr lang="en-US" dirty="0"/>
              <a:t>.</a:t>
            </a:r>
          </a:p>
          <a:p>
            <a:endParaRPr lang="en-US" dirty="0"/>
          </a:p>
        </p:txBody>
      </p:sp>
      <p:pic>
        <p:nvPicPr>
          <p:cNvPr id="6" name="Picture 5">
            <a:extLst>
              <a:ext uri="{FF2B5EF4-FFF2-40B4-BE49-F238E27FC236}">
                <a16:creationId xmlns:a16="http://schemas.microsoft.com/office/drawing/2014/main" id="{27CA7337-1D9D-4B99-B6FB-2A461EFDE4E9}"/>
              </a:ext>
            </a:extLst>
          </p:cNvPr>
          <p:cNvPicPr>
            <a:picLocks noChangeAspect="1"/>
          </p:cNvPicPr>
          <p:nvPr/>
        </p:nvPicPr>
        <p:blipFill>
          <a:blip r:embed="rId2"/>
          <a:stretch>
            <a:fillRect/>
          </a:stretch>
        </p:blipFill>
        <p:spPr>
          <a:xfrm>
            <a:off x="531909" y="3657310"/>
            <a:ext cx="4143375" cy="495300"/>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72A70066-CA60-45FA-A11D-461CEC4D32E0}"/>
                  </a:ext>
                </a:extLst>
              </p14:cNvPr>
              <p14:cNvContentPartPr/>
              <p14:nvPr/>
            </p14:nvContentPartPr>
            <p14:xfrm>
              <a:off x="2643120" y="952560"/>
              <a:ext cx="1252800" cy="333720"/>
            </p14:xfrm>
          </p:contentPart>
        </mc:Choice>
        <mc:Fallback xmlns="">
          <p:pic>
            <p:nvPicPr>
              <p:cNvPr id="2" name="Ink 1">
                <a:extLst>
                  <a:ext uri="{FF2B5EF4-FFF2-40B4-BE49-F238E27FC236}">
                    <a16:creationId xmlns:a16="http://schemas.microsoft.com/office/drawing/2014/main" id="{72A70066-CA60-45FA-A11D-461CEC4D32E0}"/>
                  </a:ext>
                </a:extLst>
              </p:cNvPr>
              <p:cNvPicPr/>
              <p:nvPr/>
            </p:nvPicPr>
            <p:blipFill>
              <a:blip r:embed="rId4"/>
              <a:stretch>
                <a:fillRect/>
              </a:stretch>
            </p:blipFill>
            <p:spPr>
              <a:xfrm>
                <a:off x="2633760" y="943200"/>
                <a:ext cx="1271520" cy="352440"/>
              </a:xfrm>
              <a:prstGeom prst="rect">
                <a:avLst/>
              </a:prstGeom>
            </p:spPr>
          </p:pic>
        </mc:Fallback>
      </mc:AlternateContent>
    </p:spTree>
    <p:extLst>
      <p:ext uri="{BB962C8B-B14F-4D97-AF65-F5344CB8AC3E}">
        <p14:creationId xmlns:p14="http://schemas.microsoft.com/office/powerpoint/2010/main" val="2903660889"/>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161586" y="1054691"/>
            <a:ext cx="7924386" cy="32004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161585" y="3993481"/>
            <a:ext cx="8606633" cy="523220"/>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1"/>
                </a:solidFill>
                <a:latin typeface="+mn-lt"/>
              </a:rPr>
              <a:t>So, you can challenge most of the statements here. But these statements will be applicable to most of the population but there can be exceptions.</a:t>
            </a:r>
          </a:p>
        </p:txBody>
      </p:sp>
    </p:spTree>
    <p:extLst>
      <p:ext uri="{BB962C8B-B14F-4D97-AF65-F5344CB8AC3E}">
        <p14:creationId xmlns:p14="http://schemas.microsoft.com/office/powerpoint/2010/main" val="386559179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5DE446-0BA5-47DD-9C34-E22160028D02}"/>
              </a:ext>
            </a:extLst>
          </p:cNvPr>
          <p:cNvSpPr>
            <a:spLocks noGrp="1"/>
          </p:cNvSpPr>
          <p:nvPr>
            <p:ph type="title"/>
          </p:nvPr>
        </p:nvSpPr>
        <p:spPr>
          <a:xfrm>
            <a:off x="0" y="27981"/>
            <a:ext cx="7955280" cy="640080"/>
          </a:xfrm>
        </p:spPr>
        <p:txBody>
          <a:bodyPr/>
          <a:lstStyle/>
          <a:p>
            <a:r>
              <a:rPr lang="en-US" dirty="0"/>
              <a:t>Geometric Mean</a:t>
            </a:r>
          </a:p>
        </p:txBody>
      </p:sp>
      <p:sp>
        <p:nvSpPr>
          <p:cNvPr id="4" name="Content Placeholder 3">
            <a:extLst>
              <a:ext uri="{FF2B5EF4-FFF2-40B4-BE49-F238E27FC236}">
                <a16:creationId xmlns:a16="http://schemas.microsoft.com/office/drawing/2014/main" id="{8B864218-C049-4F5F-973F-1252FE3B9728}"/>
              </a:ext>
            </a:extLst>
          </p:cNvPr>
          <p:cNvSpPr>
            <a:spLocks noGrp="1"/>
          </p:cNvSpPr>
          <p:nvPr>
            <p:ph sz="half" idx="1"/>
          </p:nvPr>
        </p:nvSpPr>
        <p:spPr>
          <a:xfrm>
            <a:off x="274320" y="607273"/>
            <a:ext cx="7955280" cy="3964727"/>
          </a:xfrm>
        </p:spPr>
        <p:txBody>
          <a:bodyPr/>
          <a:lstStyle/>
          <a:p>
            <a:r>
              <a:rPr lang="en-US" dirty="0">
                <a:solidFill>
                  <a:schemeClr val="bg2">
                    <a:lumMod val="50000"/>
                    <a:lumOff val="50000"/>
                  </a:schemeClr>
                </a:solidFill>
                <a:latin typeface="Inter"/>
              </a:rPr>
              <a:t>While finding geometric mean the values are </a:t>
            </a:r>
            <a:r>
              <a:rPr lang="en-US" dirty="0" err="1">
                <a:solidFill>
                  <a:schemeClr val="bg2">
                    <a:lumMod val="50000"/>
                    <a:lumOff val="50000"/>
                  </a:schemeClr>
                </a:solidFill>
                <a:latin typeface="Inter"/>
              </a:rPr>
              <a:t>multipled</a:t>
            </a:r>
            <a:r>
              <a:rPr lang="en-US" dirty="0">
                <a:solidFill>
                  <a:schemeClr val="bg2">
                    <a:lumMod val="50000"/>
                    <a:lumOff val="50000"/>
                  </a:schemeClr>
                </a:solidFill>
                <a:latin typeface="Inter"/>
              </a:rPr>
              <a:t> rather than summed up </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ample: Find the geometric mean of 4 and 3 ?</a:t>
            </a:r>
          </a:p>
          <a:p>
            <a:pPr lvl="1"/>
            <a:r>
              <a:rPr lang="en-US" sz="1400" dirty="0">
                <a:solidFill>
                  <a:schemeClr val="bg2">
                    <a:lumMod val="50000"/>
                    <a:lumOff val="50000"/>
                  </a:schemeClr>
                </a:solidFill>
                <a:latin typeface="Inter"/>
              </a:rPr>
              <a:t>Geometric Mean =√4×3=2√23= 3.46</a:t>
            </a:r>
          </a:p>
          <a:p>
            <a:r>
              <a:rPr lang="en-US" dirty="0">
                <a:solidFill>
                  <a:schemeClr val="bg2">
                    <a:lumMod val="50000"/>
                    <a:lumOff val="50000"/>
                  </a:schemeClr>
                </a:solidFill>
                <a:latin typeface="Inter"/>
              </a:rPr>
              <a:t>GM of 2 numbers is like finding area and the GM of 3 numbers is like finding the volume of area.. </a:t>
            </a:r>
          </a:p>
          <a:p>
            <a:pPr lvl="1"/>
            <a:r>
              <a:rPr lang="en-US" sz="1400" dirty="0">
                <a:solidFill>
                  <a:schemeClr val="bg2">
                    <a:lumMod val="50000"/>
                    <a:lumOff val="50000"/>
                  </a:schemeClr>
                </a:solidFill>
                <a:latin typeface="Inter"/>
              </a:rPr>
              <a:t>Ex : What is geometric mean of 1,3,9,27,81 ? </a:t>
            </a:r>
          </a:p>
          <a:p>
            <a:r>
              <a:rPr lang="en-US" dirty="0">
                <a:solidFill>
                  <a:schemeClr val="bg2">
                    <a:lumMod val="50000"/>
                    <a:lumOff val="50000"/>
                  </a:schemeClr>
                </a:solidFill>
                <a:latin typeface="Inter"/>
              </a:rPr>
              <a:t>Why Geometric Mean ? </a:t>
            </a:r>
          </a:p>
          <a:p>
            <a:pPr lvl="1"/>
            <a:r>
              <a:rPr lang="en-US" sz="1400" dirty="0">
                <a:solidFill>
                  <a:schemeClr val="bg2">
                    <a:lumMod val="50000"/>
                    <a:lumOff val="50000"/>
                  </a:schemeClr>
                </a:solidFill>
                <a:latin typeface="Inter"/>
              </a:rPr>
              <a:t>Ex : Buying a laptop </a:t>
            </a:r>
          </a:p>
          <a:p>
            <a:endParaRPr lang="en-US" dirty="0"/>
          </a:p>
        </p:txBody>
      </p:sp>
      <p:pic>
        <p:nvPicPr>
          <p:cNvPr id="6" name="Picture 5" descr="A picture containing text, electronics, computer, display&#10;&#10;Description automatically generated">
            <a:extLst>
              <a:ext uri="{FF2B5EF4-FFF2-40B4-BE49-F238E27FC236}">
                <a16:creationId xmlns:a16="http://schemas.microsoft.com/office/drawing/2014/main" id="{5F3DBB60-44C0-4843-BD26-C515BA6729B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99018" y="2836996"/>
            <a:ext cx="2559126" cy="1413917"/>
          </a:xfrm>
          <a:prstGeom prst="rect">
            <a:avLst/>
          </a:prstGeom>
        </p:spPr>
      </p:pic>
      <p:pic>
        <p:nvPicPr>
          <p:cNvPr id="9" name="Picture 8">
            <a:extLst>
              <a:ext uri="{FF2B5EF4-FFF2-40B4-BE49-F238E27FC236}">
                <a16:creationId xmlns:a16="http://schemas.microsoft.com/office/drawing/2014/main" id="{EF92DF04-2F8E-4143-B9E7-DB7E0542E115}"/>
              </a:ext>
            </a:extLst>
          </p:cNvPr>
          <p:cNvPicPr>
            <a:picLocks noChangeAspect="1"/>
          </p:cNvPicPr>
          <p:nvPr/>
        </p:nvPicPr>
        <p:blipFill>
          <a:blip r:embed="rId4"/>
          <a:stretch>
            <a:fillRect/>
          </a:stretch>
        </p:blipFill>
        <p:spPr>
          <a:xfrm>
            <a:off x="1619396" y="818583"/>
            <a:ext cx="3657600" cy="466725"/>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F6FBB83E-FA23-4B14-816F-85CFDDA8F07E}"/>
                  </a:ext>
                </a:extLst>
              </p14:cNvPr>
              <p14:cNvContentPartPr/>
              <p14:nvPr/>
            </p14:nvContentPartPr>
            <p14:xfrm>
              <a:off x="571680" y="171360"/>
              <a:ext cx="7848720" cy="4343760"/>
            </p14:xfrm>
          </p:contentPart>
        </mc:Choice>
        <mc:Fallback xmlns="">
          <p:pic>
            <p:nvPicPr>
              <p:cNvPr id="2" name="Ink 1">
                <a:extLst>
                  <a:ext uri="{FF2B5EF4-FFF2-40B4-BE49-F238E27FC236}">
                    <a16:creationId xmlns:a16="http://schemas.microsoft.com/office/drawing/2014/main" id="{F6FBB83E-FA23-4B14-816F-85CFDDA8F07E}"/>
                  </a:ext>
                </a:extLst>
              </p:cNvPr>
              <p:cNvPicPr/>
              <p:nvPr/>
            </p:nvPicPr>
            <p:blipFill>
              <a:blip r:embed="rId6"/>
              <a:stretch>
                <a:fillRect/>
              </a:stretch>
            </p:blipFill>
            <p:spPr>
              <a:xfrm>
                <a:off x="562320" y="162000"/>
                <a:ext cx="7867440" cy="4362480"/>
              </a:xfrm>
              <a:prstGeom prst="rect">
                <a:avLst/>
              </a:prstGeom>
            </p:spPr>
          </p:pic>
        </mc:Fallback>
      </mc:AlternateContent>
    </p:spTree>
    <p:extLst>
      <p:ext uri="{BB962C8B-B14F-4D97-AF65-F5344CB8AC3E}">
        <p14:creationId xmlns:p14="http://schemas.microsoft.com/office/powerpoint/2010/main" val="2355739922"/>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2BE7F-23BD-4650-9881-92293F42646A}"/>
              </a:ext>
            </a:extLst>
          </p:cNvPr>
          <p:cNvSpPr>
            <a:spLocks noGrp="1"/>
          </p:cNvSpPr>
          <p:nvPr>
            <p:ph type="title"/>
          </p:nvPr>
        </p:nvSpPr>
        <p:spPr>
          <a:xfrm>
            <a:off x="0" y="0"/>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FE64AFE6-BC36-4F1D-ACEC-72EB9E24C942}"/>
              </a:ext>
            </a:extLst>
          </p:cNvPr>
          <p:cNvSpPr>
            <a:spLocks noGrp="1"/>
          </p:cNvSpPr>
          <p:nvPr>
            <p:ph sz="half" idx="1"/>
          </p:nvPr>
        </p:nvSpPr>
        <p:spPr>
          <a:xfrm>
            <a:off x="57936" y="570889"/>
            <a:ext cx="8534632" cy="4001721"/>
          </a:xfrm>
        </p:spPr>
        <p:txBody>
          <a:bodyPr/>
          <a:lstStyle/>
          <a:p>
            <a:r>
              <a:rPr lang="en-US" sz="1800" kern="1200" dirty="0">
                <a:solidFill>
                  <a:schemeClr val="bg2">
                    <a:lumMod val="50000"/>
                    <a:lumOff val="50000"/>
                  </a:schemeClr>
                </a:solidFill>
                <a:latin typeface="Inter"/>
                <a:ea typeface="+mn-ea"/>
              </a:rPr>
              <a:t>The harmonic mean is a type of numerical average. It is calculated by dividing the number of observations by the reciprocal of each number in the series. </a:t>
            </a:r>
          </a:p>
          <a:p>
            <a:r>
              <a:rPr lang="en-US" sz="1800" kern="1200" dirty="0">
                <a:solidFill>
                  <a:schemeClr val="bg2">
                    <a:lumMod val="50000"/>
                    <a:lumOff val="50000"/>
                  </a:schemeClr>
                </a:solidFill>
                <a:latin typeface="Inter"/>
                <a:ea typeface="+mn-ea"/>
              </a:rPr>
              <a:t>The reciprocal of a number n is simply 1 / n.</a:t>
            </a:r>
          </a:p>
          <a:p>
            <a:r>
              <a:rPr lang="en-US" sz="1800" kern="1200" dirty="0">
                <a:solidFill>
                  <a:schemeClr val="bg2">
                    <a:lumMod val="50000"/>
                    <a:lumOff val="50000"/>
                  </a:schemeClr>
                </a:solidFill>
                <a:latin typeface="Inter"/>
                <a:ea typeface="+mn-ea"/>
              </a:rPr>
              <a:t>Ex : the harmonic mean of 2, 4, 6, 8, 50 is </a:t>
            </a:r>
          </a:p>
        </p:txBody>
      </p:sp>
      <mc:AlternateContent xmlns:mc="http://schemas.openxmlformats.org/markup-compatibility/2006" xmlns:p14="http://schemas.microsoft.com/office/powerpoint/2010/main">
        <mc:Choice Requires="p14">
          <p:contentPart p14:bwMode="auto" r:id="rId2">
            <p14:nvContentPartPr>
              <p14:cNvPr id="9" name="Ink 8">
                <a:extLst>
                  <a:ext uri="{FF2B5EF4-FFF2-40B4-BE49-F238E27FC236}">
                    <a16:creationId xmlns:a16="http://schemas.microsoft.com/office/drawing/2014/main" id="{521DD35F-BF5C-4C24-8567-60DAF0F0E899}"/>
                  </a:ext>
                </a:extLst>
              </p14:cNvPr>
              <p14:cNvContentPartPr/>
              <p14:nvPr/>
            </p14:nvContentPartPr>
            <p14:xfrm>
              <a:off x="1577097" y="2882438"/>
              <a:ext cx="360" cy="360"/>
            </p14:xfrm>
          </p:contentPart>
        </mc:Choice>
        <mc:Fallback xmlns="">
          <p:pic>
            <p:nvPicPr>
              <p:cNvPr id="9" name="Ink 8">
                <a:extLst>
                  <a:ext uri="{FF2B5EF4-FFF2-40B4-BE49-F238E27FC236}">
                    <a16:creationId xmlns:a16="http://schemas.microsoft.com/office/drawing/2014/main" id="{521DD35F-BF5C-4C24-8567-60DAF0F0E899}"/>
                  </a:ext>
                </a:extLst>
              </p:cNvPr>
              <p:cNvPicPr/>
              <p:nvPr/>
            </p:nvPicPr>
            <p:blipFill>
              <a:blip r:embed="rId3"/>
              <a:stretch>
                <a:fillRect/>
              </a:stretch>
            </p:blipFill>
            <p:spPr>
              <a:xfrm>
                <a:off x="1572777" y="2878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13" name="Ink 12">
                <a:extLst>
                  <a:ext uri="{FF2B5EF4-FFF2-40B4-BE49-F238E27FC236}">
                    <a16:creationId xmlns:a16="http://schemas.microsoft.com/office/drawing/2014/main" id="{C247D014-0380-4712-8703-F5FA9E77D00C}"/>
                  </a:ext>
                </a:extLst>
              </p14:cNvPr>
              <p14:cNvContentPartPr/>
              <p14:nvPr/>
            </p14:nvContentPartPr>
            <p14:xfrm>
              <a:off x="439497" y="2460878"/>
              <a:ext cx="1454400" cy="93960"/>
            </p14:xfrm>
          </p:contentPart>
        </mc:Choice>
        <mc:Fallback xmlns="">
          <p:pic>
            <p:nvPicPr>
              <p:cNvPr id="13" name="Ink 12">
                <a:extLst>
                  <a:ext uri="{FF2B5EF4-FFF2-40B4-BE49-F238E27FC236}">
                    <a16:creationId xmlns:a16="http://schemas.microsoft.com/office/drawing/2014/main" id="{C247D014-0380-4712-8703-F5FA9E77D00C}"/>
                  </a:ext>
                </a:extLst>
              </p:cNvPr>
              <p:cNvPicPr/>
              <p:nvPr/>
            </p:nvPicPr>
            <p:blipFill>
              <a:blip r:embed="rId5"/>
              <a:stretch>
                <a:fillRect/>
              </a:stretch>
            </p:blipFill>
            <p:spPr>
              <a:xfrm>
                <a:off x="435177" y="2456558"/>
                <a:ext cx="1463040" cy="102600"/>
              </a:xfrm>
              <a:prstGeom prst="rect">
                <a:avLst/>
              </a:prstGeom>
            </p:spPr>
          </p:pic>
        </mc:Fallback>
      </mc:AlternateContent>
      <p:grpSp>
        <p:nvGrpSpPr>
          <p:cNvPr id="31" name="Group 30">
            <a:extLst>
              <a:ext uri="{FF2B5EF4-FFF2-40B4-BE49-F238E27FC236}">
                <a16:creationId xmlns:a16="http://schemas.microsoft.com/office/drawing/2014/main" id="{7F6642C1-E870-4010-B0E9-EF747B2FA80D}"/>
              </a:ext>
            </a:extLst>
          </p:cNvPr>
          <p:cNvGrpSpPr/>
          <p:nvPr/>
        </p:nvGrpSpPr>
        <p:grpSpPr>
          <a:xfrm>
            <a:off x="160137" y="2617118"/>
            <a:ext cx="1249920" cy="397440"/>
            <a:chOff x="160137" y="2617118"/>
            <a:chExt cx="1249920" cy="397440"/>
          </a:xfrm>
        </p:grpSpPr>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BBCC6A1-7D66-471E-B664-9C36034A1695}"/>
                    </a:ext>
                  </a:extLst>
                </p14:cNvPr>
                <p14:cNvContentPartPr/>
                <p14:nvPr/>
              </p14:nvContentPartPr>
              <p14:xfrm>
                <a:off x="281457" y="2652398"/>
                <a:ext cx="18720" cy="69120"/>
              </p14:xfrm>
            </p:contentPart>
          </mc:Choice>
          <mc:Fallback xmlns="">
            <p:pic>
              <p:nvPicPr>
                <p:cNvPr id="15" name="Ink 14">
                  <a:extLst>
                    <a:ext uri="{FF2B5EF4-FFF2-40B4-BE49-F238E27FC236}">
                      <a16:creationId xmlns:a16="http://schemas.microsoft.com/office/drawing/2014/main" id="{ABBCC6A1-7D66-471E-B664-9C36034A1695}"/>
                    </a:ext>
                  </a:extLst>
                </p:cNvPr>
                <p:cNvPicPr/>
                <p:nvPr/>
              </p:nvPicPr>
              <p:blipFill>
                <a:blip r:embed="rId7"/>
                <a:stretch>
                  <a:fillRect/>
                </a:stretch>
              </p:blipFill>
              <p:spPr>
                <a:xfrm>
                  <a:off x="277137" y="2648078"/>
                  <a:ext cx="27360" cy="77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E827FF3F-D218-4768-83C1-269622D7BE6B}"/>
                    </a:ext>
                  </a:extLst>
                </p14:cNvPr>
                <p14:cNvContentPartPr/>
                <p14:nvPr/>
              </p14:nvContentPartPr>
              <p14:xfrm>
                <a:off x="160137" y="2777678"/>
                <a:ext cx="195480" cy="9360"/>
              </p14:xfrm>
            </p:contentPart>
          </mc:Choice>
          <mc:Fallback xmlns="">
            <p:pic>
              <p:nvPicPr>
                <p:cNvPr id="16" name="Ink 15">
                  <a:extLst>
                    <a:ext uri="{FF2B5EF4-FFF2-40B4-BE49-F238E27FC236}">
                      <a16:creationId xmlns:a16="http://schemas.microsoft.com/office/drawing/2014/main" id="{E827FF3F-D218-4768-83C1-269622D7BE6B}"/>
                    </a:ext>
                  </a:extLst>
                </p:cNvPr>
                <p:cNvPicPr/>
                <p:nvPr/>
              </p:nvPicPr>
              <p:blipFill>
                <a:blip r:embed="rId9"/>
                <a:stretch>
                  <a:fillRect/>
                </a:stretch>
              </p:blipFill>
              <p:spPr>
                <a:xfrm>
                  <a:off x="155817" y="2773358"/>
                  <a:ext cx="2041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808A8589-F238-4BBB-833C-8E6EB5A163A0}"/>
                    </a:ext>
                  </a:extLst>
                </p14:cNvPr>
                <p14:cNvContentPartPr/>
                <p14:nvPr/>
              </p14:nvContentPartPr>
              <p14:xfrm>
                <a:off x="184977" y="2847158"/>
                <a:ext cx="104760" cy="98280"/>
              </p14:xfrm>
            </p:contentPart>
          </mc:Choice>
          <mc:Fallback xmlns="">
            <p:pic>
              <p:nvPicPr>
                <p:cNvPr id="17" name="Ink 16">
                  <a:extLst>
                    <a:ext uri="{FF2B5EF4-FFF2-40B4-BE49-F238E27FC236}">
                      <a16:creationId xmlns:a16="http://schemas.microsoft.com/office/drawing/2014/main" id="{808A8589-F238-4BBB-833C-8E6EB5A163A0}"/>
                    </a:ext>
                  </a:extLst>
                </p:cNvPr>
                <p:cNvPicPr/>
                <p:nvPr/>
              </p:nvPicPr>
              <p:blipFill>
                <a:blip r:embed="rId11"/>
                <a:stretch>
                  <a:fillRect/>
                </a:stretch>
              </p:blipFill>
              <p:spPr>
                <a:xfrm>
                  <a:off x="180657" y="2842838"/>
                  <a:ext cx="113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ADC4EA80-7CFB-4BBE-ABC7-58B9F39C8CE8}"/>
                    </a:ext>
                  </a:extLst>
                </p14:cNvPr>
                <p14:cNvContentPartPr/>
                <p14:nvPr/>
              </p14:nvContentPartPr>
              <p14:xfrm>
                <a:off x="488817" y="2699558"/>
                <a:ext cx="6840" cy="91440"/>
              </p14:xfrm>
            </p:contentPart>
          </mc:Choice>
          <mc:Fallback xmlns="">
            <p:pic>
              <p:nvPicPr>
                <p:cNvPr id="18" name="Ink 17">
                  <a:extLst>
                    <a:ext uri="{FF2B5EF4-FFF2-40B4-BE49-F238E27FC236}">
                      <a16:creationId xmlns:a16="http://schemas.microsoft.com/office/drawing/2014/main" id="{ADC4EA80-7CFB-4BBE-ABC7-58B9F39C8CE8}"/>
                    </a:ext>
                  </a:extLst>
                </p:cNvPr>
                <p:cNvPicPr/>
                <p:nvPr/>
              </p:nvPicPr>
              <p:blipFill>
                <a:blip r:embed="rId13"/>
                <a:stretch>
                  <a:fillRect/>
                </a:stretch>
              </p:blipFill>
              <p:spPr>
                <a:xfrm>
                  <a:off x="484497" y="2695238"/>
                  <a:ext cx="15480" cy="1000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A80AF556-75FB-4007-89BC-179550900F1D}"/>
                    </a:ext>
                  </a:extLst>
                </p14:cNvPr>
                <p14:cNvContentPartPr/>
                <p14:nvPr/>
              </p14:nvContentPartPr>
              <p14:xfrm>
                <a:off x="425817" y="2766518"/>
                <a:ext cx="76320" cy="4320"/>
              </p14:xfrm>
            </p:contentPart>
          </mc:Choice>
          <mc:Fallback xmlns="">
            <p:pic>
              <p:nvPicPr>
                <p:cNvPr id="19" name="Ink 18">
                  <a:extLst>
                    <a:ext uri="{FF2B5EF4-FFF2-40B4-BE49-F238E27FC236}">
                      <a16:creationId xmlns:a16="http://schemas.microsoft.com/office/drawing/2014/main" id="{A80AF556-75FB-4007-89BC-179550900F1D}"/>
                    </a:ext>
                  </a:extLst>
                </p:cNvPr>
                <p:cNvPicPr/>
                <p:nvPr/>
              </p:nvPicPr>
              <p:blipFill>
                <a:blip r:embed="rId15"/>
                <a:stretch>
                  <a:fillRect/>
                </a:stretch>
              </p:blipFill>
              <p:spPr>
                <a:xfrm>
                  <a:off x="421497" y="2762198"/>
                  <a:ext cx="84960" cy="129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Ink 19">
                  <a:extLst>
                    <a:ext uri="{FF2B5EF4-FFF2-40B4-BE49-F238E27FC236}">
                      <a16:creationId xmlns:a16="http://schemas.microsoft.com/office/drawing/2014/main" id="{6E0D1770-2FF1-49B0-B884-EB534999F7B1}"/>
                    </a:ext>
                  </a:extLst>
                </p14:cNvPr>
                <p14:cNvContentPartPr/>
                <p14:nvPr/>
              </p14:nvContentPartPr>
              <p14:xfrm>
                <a:off x="677457" y="2637998"/>
                <a:ext cx="15480" cy="139320"/>
              </p14:xfrm>
            </p:contentPart>
          </mc:Choice>
          <mc:Fallback xmlns="">
            <p:pic>
              <p:nvPicPr>
                <p:cNvPr id="20" name="Ink 19">
                  <a:extLst>
                    <a:ext uri="{FF2B5EF4-FFF2-40B4-BE49-F238E27FC236}">
                      <a16:creationId xmlns:a16="http://schemas.microsoft.com/office/drawing/2014/main" id="{6E0D1770-2FF1-49B0-B884-EB534999F7B1}"/>
                    </a:ext>
                  </a:extLst>
                </p:cNvPr>
                <p:cNvPicPr/>
                <p:nvPr/>
              </p:nvPicPr>
              <p:blipFill>
                <a:blip r:embed="rId17"/>
                <a:stretch>
                  <a:fillRect/>
                </a:stretch>
              </p:blipFill>
              <p:spPr>
                <a:xfrm>
                  <a:off x="673137" y="2633678"/>
                  <a:ext cx="2412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Ink 20">
                  <a:extLst>
                    <a:ext uri="{FF2B5EF4-FFF2-40B4-BE49-F238E27FC236}">
                      <a16:creationId xmlns:a16="http://schemas.microsoft.com/office/drawing/2014/main" id="{701DEE8B-F426-46BC-A8D6-2F140690654E}"/>
                    </a:ext>
                  </a:extLst>
                </p14:cNvPr>
                <p14:cNvContentPartPr/>
                <p14:nvPr/>
              </p14:nvContentPartPr>
              <p14:xfrm>
                <a:off x="586017" y="2798558"/>
                <a:ext cx="279720" cy="14400"/>
              </p14:xfrm>
            </p:contentPart>
          </mc:Choice>
          <mc:Fallback xmlns="">
            <p:pic>
              <p:nvPicPr>
                <p:cNvPr id="21" name="Ink 20">
                  <a:extLst>
                    <a:ext uri="{FF2B5EF4-FFF2-40B4-BE49-F238E27FC236}">
                      <a16:creationId xmlns:a16="http://schemas.microsoft.com/office/drawing/2014/main" id="{701DEE8B-F426-46BC-A8D6-2F140690654E}"/>
                    </a:ext>
                  </a:extLst>
                </p:cNvPr>
                <p:cNvPicPr/>
                <p:nvPr/>
              </p:nvPicPr>
              <p:blipFill>
                <a:blip r:embed="rId19"/>
                <a:stretch>
                  <a:fillRect/>
                </a:stretch>
              </p:blipFill>
              <p:spPr>
                <a:xfrm>
                  <a:off x="581697" y="2794238"/>
                  <a:ext cx="2883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2" name="Ink 21">
                  <a:extLst>
                    <a:ext uri="{FF2B5EF4-FFF2-40B4-BE49-F238E27FC236}">
                      <a16:creationId xmlns:a16="http://schemas.microsoft.com/office/drawing/2014/main" id="{FAE1AE06-5FE8-4148-8B52-F004B4A5D083}"/>
                    </a:ext>
                  </a:extLst>
                </p14:cNvPr>
                <p14:cNvContentPartPr/>
                <p14:nvPr/>
              </p14:nvContentPartPr>
              <p14:xfrm>
                <a:off x="645417" y="2882438"/>
                <a:ext cx="142920" cy="64080"/>
              </p14:xfrm>
            </p:contentPart>
          </mc:Choice>
          <mc:Fallback xmlns="">
            <p:pic>
              <p:nvPicPr>
                <p:cNvPr id="22" name="Ink 21">
                  <a:extLst>
                    <a:ext uri="{FF2B5EF4-FFF2-40B4-BE49-F238E27FC236}">
                      <a16:creationId xmlns:a16="http://schemas.microsoft.com/office/drawing/2014/main" id="{FAE1AE06-5FE8-4148-8B52-F004B4A5D083}"/>
                    </a:ext>
                  </a:extLst>
                </p:cNvPr>
                <p:cNvPicPr/>
                <p:nvPr/>
              </p:nvPicPr>
              <p:blipFill>
                <a:blip r:embed="rId21"/>
                <a:stretch>
                  <a:fillRect/>
                </a:stretch>
              </p:blipFill>
              <p:spPr>
                <a:xfrm>
                  <a:off x="641097" y="2878118"/>
                  <a:ext cx="15156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3" name="Ink 22">
                  <a:extLst>
                    <a:ext uri="{FF2B5EF4-FFF2-40B4-BE49-F238E27FC236}">
                      <a16:creationId xmlns:a16="http://schemas.microsoft.com/office/drawing/2014/main" id="{EB4BAC1B-4F7A-4D56-A8AE-52BAA53BED62}"/>
                    </a:ext>
                  </a:extLst>
                </p14:cNvPr>
                <p14:cNvContentPartPr/>
                <p14:nvPr/>
              </p14:nvContentPartPr>
              <p14:xfrm>
                <a:off x="660177" y="2889278"/>
                <a:ext cx="37800" cy="125280"/>
              </p14:xfrm>
            </p:contentPart>
          </mc:Choice>
          <mc:Fallback xmlns="">
            <p:pic>
              <p:nvPicPr>
                <p:cNvPr id="23" name="Ink 22">
                  <a:extLst>
                    <a:ext uri="{FF2B5EF4-FFF2-40B4-BE49-F238E27FC236}">
                      <a16:creationId xmlns:a16="http://schemas.microsoft.com/office/drawing/2014/main" id="{EB4BAC1B-4F7A-4D56-A8AE-52BAA53BED62}"/>
                    </a:ext>
                  </a:extLst>
                </p:cNvPr>
                <p:cNvPicPr/>
                <p:nvPr/>
              </p:nvPicPr>
              <p:blipFill>
                <a:blip r:embed="rId23"/>
                <a:stretch>
                  <a:fillRect/>
                </a:stretch>
              </p:blipFill>
              <p:spPr>
                <a:xfrm>
                  <a:off x="655857" y="2884958"/>
                  <a:ext cx="4644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6" name="Ink 25">
                  <a:extLst>
                    <a:ext uri="{FF2B5EF4-FFF2-40B4-BE49-F238E27FC236}">
                      <a16:creationId xmlns:a16="http://schemas.microsoft.com/office/drawing/2014/main" id="{B66B6A31-3D97-4A0C-A2EB-9697A5137218}"/>
                    </a:ext>
                  </a:extLst>
                </p14:cNvPr>
                <p14:cNvContentPartPr/>
                <p14:nvPr/>
              </p14:nvContentPartPr>
              <p14:xfrm>
                <a:off x="970497" y="2714678"/>
                <a:ext cx="6840" cy="76680"/>
              </p14:xfrm>
            </p:contentPart>
          </mc:Choice>
          <mc:Fallback xmlns="">
            <p:pic>
              <p:nvPicPr>
                <p:cNvPr id="26" name="Ink 25">
                  <a:extLst>
                    <a:ext uri="{FF2B5EF4-FFF2-40B4-BE49-F238E27FC236}">
                      <a16:creationId xmlns:a16="http://schemas.microsoft.com/office/drawing/2014/main" id="{B66B6A31-3D97-4A0C-A2EB-9697A5137218}"/>
                    </a:ext>
                  </a:extLst>
                </p:cNvPr>
                <p:cNvPicPr/>
                <p:nvPr/>
              </p:nvPicPr>
              <p:blipFill>
                <a:blip r:embed="rId25"/>
                <a:stretch>
                  <a:fillRect/>
                </a:stretch>
              </p:blipFill>
              <p:spPr>
                <a:xfrm>
                  <a:off x="966177" y="2710358"/>
                  <a:ext cx="15480" cy="8532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7" name="Ink 26">
                  <a:extLst>
                    <a:ext uri="{FF2B5EF4-FFF2-40B4-BE49-F238E27FC236}">
                      <a16:creationId xmlns:a16="http://schemas.microsoft.com/office/drawing/2014/main" id="{19ED34EB-BF86-44FD-BC89-488EA6E66ABF}"/>
                    </a:ext>
                  </a:extLst>
                </p14:cNvPr>
                <p14:cNvContentPartPr/>
                <p14:nvPr/>
              </p14:nvContentPartPr>
              <p14:xfrm>
                <a:off x="948897" y="2749598"/>
                <a:ext cx="40680" cy="7560"/>
              </p14:xfrm>
            </p:contentPart>
          </mc:Choice>
          <mc:Fallback xmlns="">
            <p:pic>
              <p:nvPicPr>
                <p:cNvPr id="27" name="Ink 26">
                  <a:extLst>
                    <a:ext uri="{FF2B5EF4-FFF2-40B4-BE49-F238E27FC236}">
                      <a16:creationId xmlns:a16="http://schemas.microsoft.com/office/drawing/2014/main" id="{19ED34EB-BF86-44FD-BC89-488EA6E66ABF}"/>
                    </a:ext>
                  </a:extLst>
                </p:cNvPr>
                <p:cNvPicPr/>
                <p:nvPr/>
              </p:nvPicPr>
              <p:blipFill>
                <a:blip r:embed="rId27"/>
                <a:stretch>
                  <a:fillRect/>
                </a:stretch>
              </p:blipFill>
              <p:spPr>
                <a:xfrm>
                  <a:off x="944577" y="2745278"/>
                  <a:ext cx="49320" cy="162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9" name="Ink 28">
                  <a:extLst>
                    <a:ext uri="{FF2B5EF4-FFF2-40B4-BE49-F238E27FC236}">
                      <a16:creationId xmlns:a16="http://schemas.microsoft.com/office/drawing/2014/main" id="{958D456E-D080-40F6-AAF6-58B13AC96704}"/>
                    </a:ext>
                  </a:extLst>
                </p14:cNvPr>
                <p14:cNvContentPartPr/>
                <p14:nvPr/>
              </p14:nvContentPartPr>
              <p14:xfrm>
                <a:off x="1243377" y="2617118"/>
                <a:ext cx="20160" cy="83160"/>
              </p14:xfrm>
            </p:contentPart>
          </mc:Choice>
          <mc:Fallback xmlns="">
            <p:pic>
              <p:nvPicPr>
                <p:cNvPr id="29" name="Ink 28">
                  <a:extLst>
                    <a:ext uri="{FF2B5EF4-FFF2-40B4-BE49-F238E27FC236}">
                      <a16:creationId xmlns:a16="http://schemas.microsoft.com/office/drawing/2014/main" id="{958D456E-D080-40F6-AAF6-58B13AC96704}"/>
                    </a:ext>
                  </a:extLst>
                </p:cNvPr>
                <p:cNvPicPr/>
                <p:nvPr/>
              </p:nvPicPr>
              <p:blipFill>
                <a:blip r:embed="rId29"/>
                <a:stretch>
                  <a:fillRect/>
                </a:stretch>
              </p:blipFill>
              <p:spPr>
                <a:xfrm>
                  <a:off x="1239057" y="2612798"/>
                  <a:ext cx="2880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0" name="Ink 29">
                  <a:extLst>
                    <a:ext uri="{FF2B5EF4-FFF2-40B4-BE49-F238E27FC236}">
                      <a16:creationId xmlns:a16="http://schemas.microsoft.com/office/drawing/2014/main" id="{7F3C5EC0-6AAC-4326-8F00-D53A917C07D7}"/>
                    </a:ext>
                  </a:extLst>
                </p14:cNvPr>
                <p14:cNvContentPartPr/>
                <p14:nvPr/>
              </p14:nvContentPartPr>
              <p14:xfrm>
                <a:off x="1130337" y="2748518"/>
                <a:ext cx="279720" cy="8640"/>
              </p14:xfrm>
            </p:contentPart>
          </mc:Choice>
          <mc:Fallback xmlns="">
            <p:pic>
              <p:nvPicPr>
                <p:cNvPr id="30" name="Ink 29">
                  <a:extLst>
                    <a:ext uri="{FF2B5EF4-FFF2-40B4-BE49-F238E27FC236}">
                      <a16:creationId xmlns:a16="http://schemas.microsoft.com/office/drawing/2014/main" id="{7F3C5EC0-6AAC-4326-8F00-D53A917C07D7}"/>
                    </a:ext>
                  </a:extLst>
                </p:cNvPr>
                <p:cNvPicPr/>
                <p:nvPr/>
              </p:nvPicPr>
              <p:blipFill>
                <a:blip r:embed="rId31"/>
                <a:stretch>
                  <a:fillRect/>
                </a:stretch>
              </p:blipFill>
              <p:spPr>
                <a:xfrm>
                  <a:off x="1126017" y="2744198"/>
                  <a:ext cx="288360" cy="172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2">
            <p14:nvContentPartPr>
              <p14:cNvPr id="51" name="Ink 50">
                <a:extLst>
                  <a:ext uri="{FF2B5EF4-FFF2-40B4-BE49-F238E27FC236}">
                    <a16:creationId xmlns:a16="http://schemas.microsoft.com/office/drawing/2014/main" id="{147E4D44-176A-4371-91BB-08E459C0414E}"/>
                  </a:ext>
                </a:extLst>
              </p14:cNvPr>
              <p14:cNvContentPartPr/>
              <p14:nvPr/>
            </p14:nvContentPartPr>
            <p14:xfrm>
              <a:off x="1180737" y="2869838"/>
              <a:ext cx="77040" cy="117360"/>
            </p14:xfrm>
          </p:contentPart>
        </mc:Choice>
        <mc:Fallback xmlns="">
          <p:pic>
            <p:nvPicPr>
              <p:cNvPr id="51" name="Ink 50">
                <a:extLst>
                  <a:ext uri="{FF2B5EF4-FFF2-40B4-BE49-F238E27FC236}">
                    <a16:creationId xmlns:a16="http://schemas.microsoft.com/office/drawing/2014/main" id="{147E4D44-176A-4371-91BB-08E459C0414E}"/>
                  </a:ext>
                </a:extLst>
              </p:cNvPr>
              <p:cNvPicPr/>
              <p:nvPr/>
            </p:nvPicPr>
            <p:blipFill>
              <a:blip r:embed="rId33"/>
              <a:stretch>
                <a:fillRect/>
              </a:stretch>
            </p:blipFill>
            <p:spPr>
              <a:xfrm>
                <a:off x="1176417" y="2865518"/>
                <a:ext cx="85680" cy="126000"/>
              </a:xfrm>
              <a:prstGeom prst="rect">
                <a:avLst/>
              </a:prstGeom>
            </p:spPr>
          </p:pic>
        </mc:Fallback>
      </mc:AlternateContent>
      <p:grpSp>
        <p:nvGrpSpPr>
          <p:cNvPr id="60" name="Group 59">
            <a:extLst>
              <a:ext uri="{FF2B5EF4-FFF2-40B4-BE49-F238E27FC236}">
                <a16:creationId xmlns:a16="http://schemas.microsoft.com/office/drawing/2014/main" id="{5500A8B3-627B-44F8-A466-699BAAE65DAB}"/>
              </a:ext>
            </a:extLst>
          </p:cNvPr>
          <p:cNvGrpSpPr/>
          <p:nvPr/>
        </p:nvGrpSpPr>
        <p:grpSpPr>
          <a:xfrm>
            <a:off x="1486737" y="2589398"/>
            <a:ext cx="495720" cy="335880"/>
            <a:chOff x="1486737" y="2589398"/>
            <a:chExt cx="495720" cy="335880"/>
          </a:xfrm>
        </p:grpSpPr>
        <mc:AlternateContent xmlns:mc="http://schemas.openxmlformats.org/markup-compatibility/2006" xmlns:p14="http://schemas.microsoft.com/office/powerpoint/2010/main">
          <mc:Choice Requires="p14">
            <p:contentPart p14:bwMode="auto" r:id="rId34">
              <p14:nvContentPartPr>
                <p14:cNvPr id="52" name="Ink 51">
                  <a:extLst>
                    <a:ext uri="{FF2B5EF4-FFF2-40B4-BE49-F238E27FC236}">
                      <a16:creationId xmlns:a16="http://schemas.microsoft.com/office/drawing/2014/main" id="{8FA09571-9A51-4CE5-873F-9A52DAFC1104}"/>
                    </a:ext>
                  </a:extLst>
                </p14:cNvPr>
                <p14:cNvContentPartPr/>
                <p14:nvPr/>
              </p14:nvContentPartPr>
              <p14:xfrm>
                <a:off x="1567017" y="2678678"/>
                <a:ext cx="3240" cy="86040"/>
              </p14:xfrm>
            </p:contentPart>
          </mc:Choice>
          <mc:Fallback xmlns="">
            <p:pic>
              <p:nvPicPr>
                <p:cNvPr id="52" name="Ink 51">
                  <a:extLst>
                    <a:ext uri="{FF2B5EF4-FFF2-40B4-BE49-F238E27FC236}">
                      <a16:creationId xmlns:a16="http://schemas.microsoft.com/office/drawing/2014/main" id="{8FA09571-9A51-4CE5-873F-9A52DAFC1104}"/>
                    </a:ext>
                  </a:extLst>
                </p:cNvPr>
                <p:cNvPicPr/>
                <p:nvPr/>
              </p:nvPicPr>
              <p:blipFill>
                <a:blip r:embed="rId35"/>
                <a:stretch>
                  <a:fillRect/>
                </a:stretch>
              </p:blipFill>
              <p:spPr>
                <a:xfrm>
                  <a:off x="1562697" y="2674358"/>
                  <a:ext cx="1188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3" name="Ink 52">
                  <a:extLst>
                    <a:ext uri="{FF2B5EF4-FFF2-40B4-BE49-F238E27FC236}">
                      <a16:creationId xmlns:a16="http://schemas.microsoft.com/office/drawing/2014/main" id="{1A8E33E0-5E67-451F-AF01-FFF4767A37F0}"/>
                    </a:ext>
                  </a:extLst>
                </p14:cNvPr>
                <p14:cNvContentPartPr/>
                <p14:nvPr/>
              </p14:nvContentPartPr>
              <p14:xfrm>
                <a:off x="1486737" y="2714678"/>
                <a:ext cx="123840" cy="360"/>
              </p14:xfrm>
            </p:contentPart>
          </mc:Choice>
          <mc:Fallback xmlns="">
            <p:pic>
              <p:nvPicPr>
                <p:cNvPr id="53" name="Ink 52">
                  <a:extLst>
                    <a:ext uri="{FF2B5EF4-FFF2-40B4-BE49-F238E27FC236}">
                      <a16:creationId xmlns:a16="http://schemas.microsoft.com/office/drawing/2014/main" id="{1A8E33E0-5E67-451F-AF01-FFF4767A37F0}"/>
                    </a:ext>
                  </a:extLst>
                </p:cNvPr>
                <p:cNvPicPr/>
                <p:nvPr/>
              </p:nvPicPr>
              <p:blipFill>
                <a:blip r:embed="rId37"/>
                <a:stretch>
                  <a:fillRect/>
                </a:stretch>
              </p:blipFill>
              <p:spPr>
                <a:xfrm>
                  <a:off x="1482417" y="2710358"/>
                  <a:ext cx="132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5" name="Ink 54">
                  <a:extLst>
                    <a:ext uri="{FF2B5EF4-FFF2-40B4-BE49-F238E27FC236}">
                      <a16:creationId xmlns:a16="http://schemas.microsoft.com/office/drawing/2014/main" id="{7977434D-220A-4EFB-BC3F-55598BA839DF}"/>
                    </a:ext>
                  </a:extLst>
                </p14:cNvPr>
                <p14:cNvContentPartPr/>
                <p14:nvPr/>
              </p14:nvContentPartPr>
              <p14:xfrm>
                <a:off x="1814697" y="2589398"/>
                <a:ext cx="21240" cy="118080"/>
              </p14:xfrm>
            </p:contentPart>
          </mc:Choice>
          <mc:Fallback xmlns="">
            <p:pic>
              <p:nvPicPr>
                <p:cNvPr id="55" name="Ink 54">
                  <a:extLst>
                    <a:ext uri="{FF2B5EF4-FFF2-40B4-BE49-F238E27FC236}">
                      <a16:creationId xmlns:a16="http://schemas.microsoft.com/office/drawing/2014/main" id="{7977434D-220A-4EFB-BC3F-55598BA839DF}"/>
                    </a:ext>
                  </a:extLst>
                </p:cNvPr>
                <p:cNvPicPr/>
                <p:nvPr/>
              </p:nvPicPr>
              <p:blipFill>
                <a:blip r:embed="rId39"/>
                <a:stretch>
                  <a:fillRect/>
                </a:stretch>
              </p:blipFill>
              <p:spPr>
                <a:xfrm>
                  <a:off x="1810377" y="2585078"/>
                  <a:ext cx="2988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6" name="Ink 55">
                  <a:extLst>
                    <a:ext uri="{FF2B5EF4-FFF2-40B4-BE49-F238E27FC236}">
                      <a16:creationId xmlns:a16="http://schemas.microsoft.com/office/drawing/2014/main" id="{34C9B2D5-82D6-4C61-AA2F-9DB4139C99F2}"/>
                    </a:ext>
                  </a:extLst>
                </p14:cNvPr>
                <p14:cNvContentPartPr/>
                <p14:nvPr/>
              </p14:nvContentPartPr>
              <p14:xfrm>
                <a:off x="1723617" y="2721878"/>
                <a:ext cx="258840" cy="28080"/>
              </p14:xfrm>
            </p:contentPart>
          </mc:Choice>
          <mc:Fallback xmlns="">
            <p:pic>
              <p:nvPicPr>
                <p:cNvPr id="56" name="Ink 55">
                  <a:extLst>
                    <a:ext uri="{FF2B5EF4-FFF2-40B4-BE49-F238E27FC236}">
                      <a16:creationId xmlns:a16="http://schemas.microsoft.com/office/drawing/2014/main" id="{34C9B2D5-82D6-4C61-AA2F-9DB4139C99F2}"/>
                    </a:ext>
                  </a:extLst>
                </p:cNvPr>
                <p:cNvPicPr/>
                <p:nvPr/>
              </p:nvPicPr>
              <p:blipFill>
                <a:blip r:embed="rId41"/>
                <a:stretch>
                  <a:fillRect/>
                </a:stretch>
              </p:blipFill>
              <p:spPr>
                <a:xfrm>
                  <a:off x="1719297" y="2717558"/>
                  <a:ext cx="26748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8" name="Ink 57">
                  <a:extLst>
                    <a:ext uri="{FF2B5EF4-FFF2-40B4-BE49-F238E27FC236}">
                      <a16:creationId xmlns:a16="http://schemas.microsoft.com/office/drawing/2014/main" id="{CA821B2D-06F0-48D0-83A3-75445FC3F964}"/>
                    </a:ext>
                  </a:extLst>
                </p14:cNvPr>
                <p14:cNvContentPartPr/>
                <p14:nvPr/>
              </p14:nvContentPartPr>
              <p14:xfrm>
                <a:off x="1706697" y="2828078"/>
                <a:ext cx="117360" cy="97200"/>
              </p14:xfrm>
            </p:contentPart>
          </mc:Choice>
          <mc:Fallback xmlns="">
            <p:pic>
              <p:nvPicPr>
                <p:cNvPr id="58" name="Ink 57">
                  <a:extLst>
                    <a:ext uri="{FF2B5EF4-FFF2-40B4-BE49-F238E27FC236}">
                      <a16:creationId xmlns:a16="http://schemas.microsoft.com/office/drawing/2014/main" id="{CA821B2D-06F0-48D0-83A3-75445FC3F964}"/>
                    </a:ext>
                  </a:extLst>
                </p:cNvPr>
                <p:cNvPicPr/>
                <p:nvPr/>
              </p:nvPicPr>
              <p:blipFill>
                <a:blip r:embed="rId43"/>
                <a:stretch>
                  <a:fillRect/>
                </a:stretch>
              </p:blipFill>
              <p:spPr>
                <a:xfrm>
                  <a:off x="1702377" y="2823758"/>
                  <a:ext cx="126000" cy="10584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9" name="Ink 58">
                  <a:extLst>
                    <a:ext uri="{FF2B5EF4-FFF2-40B4-BE49-F238E27FC236}">
                      <a16:creationId xmlns:a16="http://schemas.microsoft.com/office/drawing/2014/main" id="{47C56DC8-4860-43BE-9987-8909F6894683}"/>
                    </a:ext>
                  </a:extLst>
                </p14:cNvPr>
                <p14:cNvContentPartPr/>
                <p14:nvPr/>
              </p14:nvContentPartPr>
              <p14:xfrm>
                <a:off x="1891377" y="2841398"/>
                <a:ext cx="71280" cy="77040"/>
              </p14:xfrm>
            </p:contentPart>
          </mc:Choice>
          <mc:Fallback xmlns="">
            <p:pic>
              <p:nvPicPr>
                <p:cNvPr id="59" name="Ink 58">
                  <a:extLst>
                    <a:ext uri="{FF2B5EF4-FFF2-40B4-BE49-F238E27FC236}">
                      <a16:creationId xmlns:a16="http://schemas.microsoft.com/office/drawing/2014/main" id="{47C56DC8-4860-43BE-9987-8909F6894683}"/>
                    </a:ext>
                  </a:extLst>
                </p:cNvPr>
                <p:cNvPicPr/>
                <p:nvPr/>
              </p:nvPicPr>
              <p:blipFill>
                <a:blip r:embed="rId45"/>
                <a:stretch>
                  <a:fillRect/>
                </a:stretch>
              </p:blipFill>
              <p:spPr>
                <a:xfrm>
                  <a:off x="1887057" y="2837078"/>
                  <a:ext cx="79920" cy="85680"/>
                </a:xfrm>
                <a:prstGeom prst="rect">
                  <a:avLst/>
                </a:prstGeom>
              </p:spPr>
            </p:pic>
          </mc:Fallback>
        </mc:AlternateContent>
      </p:grpSp>
      <p:grpSp>
        <p:nvGrpSpPr>
          <p:cNvPr id="65" name="Group 64">
            <a:extLst>
              <a:ext uri="{FF2B5EF4-FFF2-40B4-BE49-F238E27FC236}">
                <a16:creationId xmlns:a16="http://schemas.microsoft.com/office/drawing/2014/main" id="{B21D57C7-8482-4DD6-AF96-719B98630E9F}"/>
              </a:ext>
            </a:extLst>
          </p:cNvPr>
          <p:cNvGrpSpPr/>
          <p:nvPr/>
        </p:nvGrpSpPr>
        <p:grpSpPr>
          <a:xfrm>
            <a:off x="1103697" y="2261438"/>
            <a:ext cx="156600" cy="132480"/>
            <a:chOff x="1103697" y="2261438"/>
            <a:chExt cx="156600" cy="132480"/>
          </a:xfrm>
        </p:grpSpPr>
        <mc:AlternateContent xmlns:mc="http://schemas.openxmlformats.org/markup-compatibility/2006" xmlns:p14="http://schemas.microsoft.com/office/powerpoint/2010/main">
          <mc:Choice Requires="p14">
            <p:contentPart p14:bwMode="auto" r:id="rId46">
              <p14:nvContentPartPr>
                <p14:cNvPr id="61" name="Ink 60">
                  <a:extLst>
                    <a:ext uri="{FF2B5EF4-FFF2-40B4-BE49-F238E27FC236}">
                      <a16:creationId xmlns:a16="http://schemas.microsoft.com/office/drawing/2014/main" id="{480E3E99-EF3A-4C88-93F3-6D77EB41F963}"/>
                    </a:ext>
                  </a:extLst>
                </p14:cNvPr>
                <p14:cNvContentPartPr/>
                <p14:nvPr/>
              </p14:nvContentPartPr>
              <p14:xfrm>
                <a:off x="1103697" y="2261438"/>
                <a:ext cx="156600" cy="92520"/>
              </p14:xfrm>
            </p:contentPart>
          </mc:Choice>
          <mc:Fallback xmlns="">
            <p:pic>
              <p:nvPicPr>
                <p:cNvPr id="61" name="Ink 60">
                  <a:extLst>
                    <a:ext uri="{FF2B5EF4-FFF2-40B4-BE49-F238E27FC236}">
                      <a16:creationId xmlns:a16="http://schemas.microsoft.com/office/drawing/2014/main" id="{480E3E99-EF3A-4C88-93F3-6D77EB41F963}"/>
                    </a:ext>
                  </a:extLst>
                </p:cNvPr>
                <p:cNvPicPr/>
                <p:nvPr/>
              </p:nvPicPr>
              <p:blipFill>
                <a:blip r:embed="rId47"/>
                <a:stretch>
                  <a:fillRect/>
                </a:stretch>
              </p:blipFill>
              <p:spPr>
                <a:xfrm>
                  <a:off x="1099377" y="2257118"/>
                  <a:ext cx="165240"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62" name="Ink 61">
                  <a:extLst>
                    <a:ext uri="{FF2B5EF4-FFF2-40B4-BE49-F238E27FC236}">
                      <a16:creationId xmlns:a16="http://schemas.microsoft.com/office/drawing/2014/main" id="{87064BBA-9E69-46B3-A4EE-110E2D5BCC62}"/>
                    </a:ext>
                  </a:extLst>
                </p14:cNvPr>
                <p14:cNvContentPartPr/>
                <p14:nvPr/>
              </p14:nvContentPartPr>
              <p14:xfrm>
                <a:off x="1160937" y="2261438"/>
                <a:ext cx="11880" cy="100080"/>
              </p14:xfrm>
            </p:contentPart>
          </mc:Choice>
          <mc:Fallback xmlns="">
            <p:pic>
              <p:nvPicPr>
                <p:cNvPr id="62" name="Ink 61">
                  <a:extLst>
                    <a:ext uri="{FF2B5EF4-FFF2-40B4-BE49-F238E27FC236}">
                      <a16:creationId xmlns:a16="http://schemas.microsoft.com/office/drawing/2014/main" id="{87064BBA-9E69-46B3-A4EE-110E2D5BCC62}"/>
                    </a:ext>
                  </a:extLst>
                </p:cNvPr>
                <p:cNvPicPr/>
                <p:nvPr/>
              </p:nvPicPr>
              <p:blipFill>
                <a:blip r:embed="rId49"/>
                <a:stretch>
                  <a:fillRect/>
                </a:stretch>
              </p:blipFill>
              <p:spPr>
                <a:xfrm>
                  <a:off x="1156617" y="2257118"/>
                  <a:ext cx="205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64" name="Ink 63">
                  <a:extLst>
                    <a:ext uri="{FF2B5EF4-FFF2-40B4-BE49-F238E27FC236}">
                      <a16:creationId xmlns:a16="http://schemas.microsoft.com/office/drawing/2014/main" id="{043A83EE-DB33-4020-B958-C79356266DCB}"/>
                    </a:ext>
                  </a:extLst>
                </p14:cNvPr>
                <p14:cNvContentPartPr/>
                <p14:nvPr/>
              </p14:nvContentPartPr>
              <p14:xfrm>
                <a:off x="1165257" y="2344958"/>
                <a:ext cx="6120" cy="48960"/>
              </p14:xfrm>
            </p:contentPart>
          </mc:Choice>
          <mc:Fallback xmlns="">
            <p:pic>
              <p:nvPicPr>
                <p:cNvPr id="64" name="Ink 63">
                  <a:extLst>
                    <a:ext uri="{FF2B5EF4-FFF2-40B4-BE49-F238E27FC236}">
                      <a16:creationId xmlns:a16="http://schemas.microsoft.com/office/drawing/2014/main" id="{043A83EE-DB33-4020-B958-C79356266DCB}"/>
                    </a:ext>
                  </a:extLst>
                </p:cNvPr>
                <p:cNvPicPr/>
                <p:nvPr/>
              </p:nvPicPr>
              <p:blipFill>
                <a:blip r:embed="rId51"/>
                <a:stretch>
                  <a:fillRect/>
                </a:stretch>
              </p:blipFill>
              <p:spPr>
                <a:xfrm>
                  <a:off x="1160937" y="2340638"/>
                  <a:ext cx="14760" cy="57600"/>
                </a:xfrm>
                <a:prstGeom prst="rect">
                  <a:avLst/>
                </a:prstGeom>
              </p:spPr>
            </p:pic>
          </mc:Fallback>
        </mc:AlternateContent>
      </p:grpSp>
      <p:grpSp>
        <p:nvGrpSpPr>
          <p:cNvPr id="69" name="Group 68">
            <a:extLst>
              <a:ext uri="{FF2B5EF4-FFF2-40B4-BE49-F238E27FC236}">
                <a16:creationId xmlns:a16="http://schemas.microsoft.com/office/drawing/2014/main" id="{1EB69986-8F72-4419-98F3-B23336B89302}"/>
              </a:ext>
            </a:extLst>
          </p:cNvPr>
          <p:cNvGrpSpPr/>
          <p:nvPr/>
        </p:nvGrpSpPr>
        <p:grpSpPr>
          <a:xfrm>
            <a:off x="2324097" y="2421638"/>
            <a:ext cx="92520" cy="70200"/>
            <a:chOff x="2324097" y="2421638"/>
            <a:chExt cx="92520" cy="70200"/>
          </a:xfrm>
        </p:grpSpPr>
        <mc:AlternateContent xmlns:mc="http://schemas.openxmlformats.org/markup-compatibility/2006" xmlns:p14="http://schemas.microsoft.com/office/powerpoint/2010/main">
          <mc:Choice Requires="p14">
            <p:contentPart p14:bwMode="auto" r:id="rId52">
              <p14:nvContentPartPr>
                <p14:cNvPr id="66" name="Ink 65">
                  <a:extLst>
                    <a:ext uri="{FF2B5EF4-FFF2-40B4-BE49-F238E27FC236}">
                      <a16:creationId xmlns:a16="http://schemas.microsoft.com/office/drawing/2014/main" id="{6CE74AAD-E46E-48EC-979F-BE10F983C6F4}"/>
                    </a:ext>
                  </a:extLst>
                </p14:cNvPr>
                <p14:cNvContentPartPr/>
                <p14:nvPr/>
              </p14:nvContentPartPr>
              <p14:xfrm>
                <a:off x="2400777" y="2421638"/>
                <a:ext cx="15840" cy="360"/>
              </p14:xfrm>
            </p:contentPart>
          </mc:Choice>
          <mc:Fallback xmlns="">
            <p:pic>
              <p:nvPicPr>
                <p:cNvPr id="66" name="Ink 65">
                  <a:extLst>
                    <a:ext uri="{FF2B5EF4-FFF2-40B4-BE49-F238E27FC236}">
                      <a16:creationId xmlns:a16="http://schemas.microsoft.com/office/drawing/2014/main" id="{6CE74AAD-E46E-48EC-979F-BE10F983C6F4}"/>
                    </a:ext>
                  </a:extLst>
                </p:cNvPr>
                <p:cNvPicPr/>
                <p:nvPr/>
              </p:nvPicPr>
              <p:blipFill>
                <a:blip r:embed="rId53"/>
                <a:stretch>
                  <a:fillRect/>
                </a:stretch>
              </p:blipFill>
              <p:spPr>
                <a:xfrm>
                  <a:off x="2396457" y="2417318"/>
                  <a:ext cx="24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7" name="Ink 66">
                  <a:extLst>
                    <a:ext uri="{FF2B5EF4-FFF2-40B4-BE49-F238E27FC236}">
                      <a16:creationId xmlns:a16="http://schemas.microsoft.com/office/drawing/2014/main" id="{1EA26F19-E686-436D-A93F-0CC403F15E5F}"/>
                    </a:ext>
                  </a:extLst>
                </p14:cNvPr>
                <p14:cNvContentPartPr/>
                <p14:nvPr/>
              </p14:nvContentPartPr>
              <p14:xfrm>
                <a:off x="2324097" y="2491478"/>
                <a:ext cx="76680" cy="360"/>
              </p14:xfrm>
            </p:contentPart>
          </mc:Choice>
          <mc:Fallback xmlns="">
            <p:pic>
              <p:nvPicPr>
                <p:cNvPr id="67" name="Ink 66">
                  <a:extLst>
                    <a:ext uri="{FF2B5EF4-FFF2-40B4-BE49-F238E27FC236}">
                      <a16:creationId xmlns:a16="http://schemas.microsoft.com/office/drawing/2014/main" id="{1EA26F19-E686-436D-A93F-0CC403F15E5F}"/>
                    </a:ext>
                  </a:extLst>
                </p:cNvPr>
                <p:cNvPicPr/>
                <p:nvPr/>
              </p:nvPicPr>
              <p:blipFill>
                <a:blip r:embed="rId55"/>
                <a:stretch>
                  <a:fillRect/>
                </a:stretch>
              </p:blipFill>
              <p:spPr>
                <a:xfrm>
                  <a:off x="2319777" y="2487158"/>
                  <a:ext cx="8532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8" name="Ink 67">
                  <a:extLst>
                    <a:ext uri="{FF2B5EF4-FFF2-40B4-BE49-F238E27FC236}">
                      <a16:creationId xmlns:a16="http://schemas.microsoft.com/office/drawing/2014/main" id="{F9EF1054-8C28-4C16-A6FA-50DD1ED26A21}"/>
                    </a:ext>
                  </a:extLst>
                </p14:cNvPr>
                <p14:cNvContentPartPr/>
                <p14:nvPr/>
              </p14:nvContentPartPr>
              <p14:xfrm>
                <a:off x="2344977" y="2421638"/>
                <a:ext cx="47880" cy="21240"/>
              </p14:xfrm>
            </p:contentPart>
          </mc:Choice>
          <mc:Fallback xmlns="">
            <p:pic>
              <p:nvPicPr>
                <p:cNvPr id="68" name="Ink 67">
                  <a:extLst>
                    <a:ext uri="{FF2B5EF4-FFF2-40B4-BE49-F238E27FC236}">
                      <a16:creationId xmlns:a16="http://schemas.microsoft.com/office/drawing/2014/main" id="{F9EF1054-8C28-4C16-A6FA-50DD1ED26A21}"/>
                    </a:ext>
                  </a:extLst>
                </p:cNvPr>
                <p:cNvPicPr/>
                <p:nvPr/>
              </p:nvPicPr>
              <p:blipFill>
                <a:blip r:embed="rId57"/>
                <a:stretch>
                  <a:fillRect/>
                </a:stretch>
              </p:blipFill>
              <p:spPr>
                <a:xfrm>
                  <a:off x="2340657" y="2417318"/>
                  <a:ext cx="56520" cy="29880"/>
                </a:xfrm>
                <a:prstGeom prst="rect">
                  <a:avLst/>
                </a:prstGeom>
              </p:spPr>
            </p:pic>
          </mc:Fallback>
        </mc:AlternateContent>
      </p:grpSp>
      <p:grpSp>
        <p:nvGrpSpPr>
          <p:cNvPr id="73" name="Group 72">
            <a:extLst>
              <a:ext uri="{FF2B5EF4-FFF2-40B4-BE49-F238E27FC236}">
                <a16:creationId xmlns:a16="http://schemas.microsoft.com/office/drawing/2014/main" id="{4424BF29-E655-4E00-9CEF-396E97441723}"/>
              </a:ext>
            </a:extLst>
          </p:cNvPr>
          <p:cNvGrpSpPr/>
          <p:nvPr/>
        </p:nvGrpSpPr>
        <p:grpSpPr>
          <a:xfrm>
            <a:off x="2945097" y="2191238"/>
            <a:ext cx="1828440" cy="356400"/>
            <a:chOff x="2945097" y="2191238"/>
            <a:chExt cx="1828440" cy="356400"/>
          </a:xfrm>
        </p:grpSpPr>
        <mc:AlternateContent xmlns:mc="http://schemas.openxmlformats.org/markup-compatibility/2006" xmlns:p14="http://schemas.microsoft.com/office/powerpoint/2010/main">
          <mc:Choice Requires="p14">
            <p:contentPart p14:bwMode="auto" r:id="rId58">
              <p14:nvContentPartPr>
                <p14:cNvPr id="70" name="Ink 69">
                  <a:extLst>
                    <a:ext uri="{FF2B5EF4-FFF2-40B4-BE49-F238E27FC236}">
                      <a16:creationId xmlns:a16="http://schemas.microsoft.com/office/drawing/2014/main" id="{4317C1E6-A60C-4D3F-B40E-FB6A28C6716C}"/>
                    </a:ext>
                  </a:extLst>
                </p14:cNvPr>
                <p14:cNvContentPartPr/>
                <p14:nvPr/>
              </p14:nvContentPartPr>
              <p14:xfrm>
                <a:off x="3479337" y="2198438"/>
                <a:ext cx="206280" cy="154080"/>
              </p14:xfrm>
            </p:contentPart>
          </mc:Choice>
          <mc:Fallback xmlns="">
            <p:pic>
              <p:nvPicPr>
                <p:cNvPr id="70" name="Ink 69">
                  <a:extLst>
                    <a:ext uri="{FF2B5EF4-FFF2-40B4-BE49-F238E27FC236}">
                      <a16:creationId xmlns:a16="http://schemas.microsoft.com/office/drawing/2014/main" id="{4317C1E6-A60C-4D3F-B40E-FB6A28C6716C}"/>
                    </a:ext>
                  </a:extLst>
                </p:cNvPr>
                <p:cNvPicPr/>
                <p:nvPr/>
              </p:nvPicPr>
              <p:blipFill>
                <a:blip r:embed="rId59"/>
                <a:stretch>
                  <a:fillRect/>
                </a:stretch>
              </p:blipFill>
              <p:spPr>
                <a:xfrm>
                  <a:off x="3475017" y="2194118"/>
                  <a:ext cx="214920" cy="16272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71" name="Ink 70">
                  <a:extLst>
                    <a:ext uri="{FF2B5EF4-FFF2-40B4-BE49-F238E27FC236}">
                      <a16:creationId xmlns:a16="http://schemas.microsoft.com/office/drawing/2014/main" id="{9ABBD5C8-320C-4FD3-B16D-DF9709F0A3F9}"/>
                    </a:ext>
                  </a:extLst>
                </p14:cNvPr>
                <p14:cNvContentPartPr/>
                <p14:nvPr/>
              </p14:nvContentPartPr>
              <p14:xfrm>
                <a:off x="3545577" y="2191238"/>
                <a:ext cx="77040" cy="223920"/>
              </p14:xfrm>
            </p:contentPart>
          </mc:Choice>
          <mc:Fallback xmlns="">
            <p:pic>
              <p:nvPicPr>
                <p:cNvPr id="71" name="Ink 70">
                  <a:extLst>
                    <a:ext uri="{FF2B5EF4-FFF2-40B4-BE49-F238E27FC236}">
                      <a16:creationId xmlns:a16="http://schemas.microsoft.com/office/drawing/2014/main" id="{9ABBD5C8-320C-4FD3-B16D-DF9709F0A3F9}"/>
                    </a:ext>
                  </a:extLst>
                </p:cNvPr>
                <p:cNvPicPr/>
                <p:nvPr/>
              </p:nvPicPr>
              <p:blipFill>
                <a:blip r:embed="rId61"/>
                <a:stretch>
                  <a:fillRect/>
                </a:stretch>
              </p:blipFill>
              <p:spPr>
                <a:xfrm>
                  <a:off x="3541257" y="2186918"/>
                  <a:ext cx="85680" cy="2325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72" name="Ink 71">
                  <a:extLst>
                    <a:ext uri="{FF2B5EF4-FFF2-40B4-BE49-F238E27FC236}">
                      <a16:creationId xmlns:a16="http://schemas.microsoft.com/office/drawing/2014/main" id="{242EB795-7C6E-40FE-A792-B604ADDC4D6F}"/>
                    </a:ext>
                  </a:extLst>
                </p14:cNvPr>
                <p14:cNvContentPartPr/>
                <p14:nvPr/>
              </p14:nvContentPartPr>
              <p14:xfrm>
                <a:off x="2945097" y="2463038"/>
                <a:ext cx="1828440" cy="84600"/>
              </p14:xfrm>
            </p:contentPart>
          </mc:Choice>
          <mc:Fallback xmlns="">
            <p:pic>
              <p:nvPicPr>
                <p:cNvPr id="72" name="Ink 71">
                  <a:extLst>
                    <a:ext uri="{FF2B5EF4-FFF2-40B4-BE49-F238E27FC236}">
                      <a16:creationId xmlns:a16="http://schemas.microsoft.com/office/drawing/2014/main" id="{242EB795-7C6E-40FE-A792-B604ADDC4D6F}"/>
                    </a:ext>
                  </a:extLst>
                </p:cNvPr>
                <p:cNvPicPr/>
                <p:nvPr/>
              </p:nvPicPr>
              <p:blipFill>
                <a:blip r:embed="rId63"/>
                <a:stretch>
                  <a:fillRect/>
                </a:stretch>
              </p:blipFill>
              <p:spPr>
                <a:xfrm>
                  <a:off x="2940777" y="2458718"/>
                  <a:ext cx="1837080" cy="93240"/>
                </a:xfrm>
                <a:prstGeom prst="rect">
                  <a:avLst/>
                </a:prstGeom>
              </p:spPr>
            </p:pic>
          </mc:Fallback>
        </mc:AlternateContent>
      </p:grpSp>
      <p:grpSp>
        <p:nvGrpSpPr>
          <p:cNvPr id="87" name="Group 86">
            <a:extLst>
              <a:ext uri="{FF2B5EF4-FFF2-40B4-BE49-F238E27FC236}">
                <a16:creationId xmlns:a16="http://schemas.microsoft.com/office/drawing/2014/main" id="{AF082C2C-E264-4EDF-91E8-19018BEA3604}"/>
              </a:ext>
            </a:extLst>
          </p:cNvPr>
          <p:cNvGrpSpPr/>
          <p:nvPr/>
        </p:nvGrpSpPr>
        <p:grpSpPr>
          <a:xfrm>
            <a:off x="2940417" y="2666078"/>
            <a:ext cx="1247400" cy="171720"/>
            <a:chOff x="2940417" y="2666078"/>
            <a:chExt cx="1247400" cy="171720"/>
          </a:xfrm>
        </p:grpSpPr>
        <mc:AlternateContent xmlns:mc="http://schemas.openxmlformats.org/markup-compatibility/2006" xmlns:p14="http://schemas.microsoft.com/office/powerpoint/2010/main">
          <mc:Choice Requires="p14">
            <p:contentPart p14:bwMode="auto" r:id="rId64">
              <p14:nvContentPartPr>
                <p14:cNvPr id="74" name="Ink 73">
                  <a:extLst>
                    <a:ext uri="{FF2B5EF4-FFF2-40B4-BE49-F238E27FC236}">
                      <a16:creationId xmlns:a16="http://schemas.microsoft.com/office/drawing/2014/main" id="{E2DC2372-3F00-4641-A310-766F79B8828F}"/>
                    </a:ext>
                  </a:extLst>
                </p14:cNvPr>
                <p14:cNvContentPartPr/>
                <p14:nvPr/>
              </p14:nvContentPartPr>
              <p14:xfrm>
                <a:off x="2940417" y="2749598"/>
                <a:ext cx="68040" cy="88200"/>
              </p14:xfrm>
            </p:contentPart>
          </mc:Choice>
          <mc:Fallback xmlns="">
            <p:pic>
              <p:nvPicPr>
                <p:cNvPr id="74" name="Ink 73">
                  <a:extLst>
                    <a:ext uri="{FF2B5EF4-FFF2-40B4-BE49-F238E27FC236}">
                      <a16:creationId xmlns:a16="http://schemas.microsoft.com/office/drawing/2014/main" id="{E2DC2372-3F00-4641-A310-766F79B8828F}"/>
                    </a:ext>
                  </a:extLst>
                </p:cNvPr>
                <p:cNvPicPr/>
                <p:nvPr/>
              </p:nvPicPr>
              <p:blipFill>
                <a:blip r:embed="rId65"/>
                <a:stretch>
                  <a:fillRect/>
                </a:stretch>
              </p:blipFill>
              <p:spPr>
                <a:xfrm>
                  <a:off x="2936097" y="2745278"/>
                  <a:ext cx="76680" cy="9684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75" name="Ink 74">
                  <a:extLst>
                    <a:ext uri="{FF2B5EF4-FFF2-40B4-BE49-F238E27FC236}">
                      <a16:creationId xmlns:a16="http://schemas.microsoft.com/office/drawing/2014/main" id="{82CD5D70-D9AD-439F-ABA1-74AD526D5D66}"/>
                    </a:ext>
                  </a:extLst>
                </p14:cNvPr>
                <p14:cNvContentPartPr/>
                <p14:nvPr/>
              </p14:nvContentPartPr>
              <p14:xfrm>
                <a:off x="3082257" y="2784878"/>
                <a:ext cx="3240" cy="360"/>
              </p14:xfrm>
            </p:contentPart>
          </mc:Choice>
          <mc:Fallback xmlns="">
            <p:pic>
              <p:nvPicPr>
                <p:cNvPr id="75" name="Ink 74">
                  <a:extLst>
                    <a:ext uri="{FF2B5EF4-FFF2-40B4-BE49-F238E27FC236}">
                      <a16:creationId xmlns:a16="http://schemas.microsoft.com/office/drawing/2014/main" id="{82CD5D70-D9AD-439F-ABA1-74AD526D5D66}"/>
                    </a:ext>
                  </a:extLst>
                </p:cNvPr>
                <p:cNvPicPr/>
                <p:nvPr/>
              </p:nvPicPr>
              <p:blipFill>
                <a:blip r:embed="rId67"/>
                <a:stretch>
                  <a:fillRect/>
                </a:stretch>
              </p:blipFill>
              <p:spPr>
                <a:xfrm>
                  <a:off x="3077937" y="2780558"/>
                  <a:ext cx="118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76" name="Ink 75">
                  <a:extLst>
                    <a:ext uri="{FF2B5EF4-FFF2-40B4-BE49-F238E27FC236}">
                      <a16:creationId xmlns:a16="http://schemas.microsoft.com/office/drawing/2014/main" id="{A96F12AE-A523-459C-AFEE-917B9CDF547F}"/>
                    </a:ext>
                  </a:extLst>
                </p14:cNvPr>
                <p14:cNvContentPartPr/>
                <p14:nvPr/>
              </p14:nvContentPartPr>
              <p14:xfrm>
                <a:off x="3121857" y="2721518"/>
                <a:ext cx="56520" cy="106200"/>
              </p14:xfrm>
            </p:contentPart>
          </mc:Choice>
          <mc:Fallback xmlns="">
            <p:pic>
              <p:nvPicPr>
                <p:cNvPr id="76" name="Ink 75">
                  <a:extLst>
                    <a:ext uri="{FF2B5EF4-FFF2-40B4-BE49-F238E27FC236}">
                      <a16:creationId xmlns:a16="http://schemas.microsoft.com/office/drawing/2014/main" id="{A96F12AE-A523-459C-AFEE-917B9CDF547F}"/>
                    </a:ext>
                  </a:extLst>
                </p:cNvPr>
                <p:cNvPicPr/>
                <p:nvPr/>
              </p:nvPicPr>
              <p:blipFill>
                <a:blip r:embed="rId69"/>
                <a:stretch>
                  <a:fillRect/>
                </a:stretch>
              </p:blipFill>
              <p:spPr>
                <a:xfrm>
                  <a:off x="3117537" y="2717198"/>
                  <a:ext cx="65160" cy="11484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77" name="Ink 76">
                  <a:extLst>
                    <a:ext uri="{FF2B5EF4-FFF2-40B4-BE49-F238E27FC236}">
                      <a16:creationId xmlns:a16="http://schemas.microsoft.com/office/drawing/2014/main" id="{61C33078-B810-4587-A6A4-42D84EE583FB}"/>
                    </a:ext>
                  </a:extLst>
                </p14:cNvPr>
                <p14:cNvContentPartPr/>
                <p14:nvPr/>
              </p14:nvContentPartPr>
              <p14:xfrm>
                <a:off x="3133737" y="2721518"/>
                <a:ext cx="73800" cy="7920"/>
              </p14:xfrm>
            </p:contentPart>
          </mc:Choice>
          <mc:Fallback xmlns="">
            <p:pic>
              <p:nvPicPr>
                <p:cNvPr id="77" name="Ink 76">
                  <a:extLst>
                    <a:ext uri="{FF2B5EF4-FFF2-40B4-BE49-F238E27FC236}">
                      <a16:creationId xmlns:a16="http://schemas.microsoft.com/office/drawing/2014/main" id="{61C33078-B810-4587-A6A4-42D84EE583FB}"/>
                    </a:ext>
                  </a:extLst>
                </p:cNvPr>
                <p:cNvPicPr/>
                <p:nvPr/>
              </p:nvPicPr>
              <p:blipFill>
                <a:blip r:embed="rId71"/>
                <a:stretch>
                  <a:fillRect/>
                </a:stretch>
              </p:blipFill>
              <p:spPr>
                <a:xfrm>
                  <a:off x="3129417" y="2717198"/>
                  <a:ext cx="82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79" name="Ink 78">
                  <a:extLst>
                    <a:ext uri="{FF2B5EF4-FFF2-40B4-BE49-F238E27FC236}">
                      <a16:creationId xmlns:a16="http://schemas.microsoft.com/office/drawing/2014/main" id="{5C9CABE6-4E9B-4141-83E3-87F86B150E5B}"/>
                    </a:ext>
                  </a:extLst>
                </p14:cNvPr>
                <p14:cNvContentPartPr/>
                <p14:nvPr/>
              </p14:nvContentPartPr>
              <p14:xfrm>
                <a:off x="3392217" y="2693798"/>
                <a:ext cx="28080" cy="104040"/>
              </p14:xfrm>
            </p:contentPart>
          </mc:Choice>
          <mc:Fallback xmlns="">
            <p:pic>
              <p:nvPicPr>
                <p:cNvPr id="79" name="Ink 78">
                  <a:extLst>
                    <a:ext uri="{FF2B5EF4-FFF2-40B4-BE49-F238E27FC236}">
                      <a16:creationId xmlns:a16="http://schemas.microsoft.com/office/drawing/2014/main" id="{5C9CABE6-4E9B-4141-83E3-87F86B150E5B}"/>
                    </a:ext>
                  </a:extLst>
                </p:cNvPr>
                <p:cNvPicPr/>
                <p:nvPr/>
              </p:nvPicPr>
              <p:blipFill>
                <a:blip r:embed="rId73"/>
                <a:stretch>
                  <a:fillRect/>
                </a:stretch>
              </p:blipFill>
              <p:spPr>
                <a:xfrm>
                  <a:off x="3387897" y="2689478"/>
                  <a:ext cx="3672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80" name="Ink 79">
                  <a:extLst>
                    <a:ext uri="{FF2B5EF4-FFF2-40B4-BE49-F238E27FC236}">
                      <a16:creationId xmlns:a16="http://schemas.microsoft.com/office/drawing/2014/main" id="{B58D5708-C6CE-436E-992C-2154E0E86019}"/>
                    </a:ext>
                  </a:extLst>
                </p14:cNvPr>
                <p14:cNvContentPartPr/>
                <p14:nvPr/>
              </p14:nvContentPartPr>
              <p14:xfrm>
                <a:off x="3350097" y="2749598"/>
                <a:ext cx="83520" cy="360"/>
              </p14:xfrm>
            </p:contentPart>
          </mc:Choice>
          <mc:Fallback xmlns="">
            <p:pic>
              <p:nvPicPr>
                <p:cNvPr id="80" name="Ink 79">
                  <a:extLst>
                    <a:ext uri="{FF2B5EF4-FFF2-40B4-BE49-F238E27FC236}">
                      <a16:creationId xmlns:a16="http://schemas.microsoft.com/office/drawing/2014/main" id="{B58D5708-C6CE-436E-992C-2154E0E86019}"/>
                    </a:ext>
                  </a:extLst>
                </p:cNvPr>
                <p:cNvPicPr/>
                <p:nvPr/>
              </p:nvPicPr>
              <p:blipFill>
                <a:blip r:embed="rId75"/>
                <a:stretch>
                  <a:fillRect/>
                </a:stretch>
              </p:blipFill>
              <p:spPr>
                <a:xfrm>
                  <a:off x="3345777" y="2745278"/>
                  <a:ext cx="9216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81" name="Ink 80">
                  <a:extLst>
                    <a:ext uri="{FF2B5EF4-FFF2-40B4-BE49-F238E27FC236}">
                      <a16:creationId xmlns:a16="http://schemas.microsoft.com/office/drawing/2014/main" id="{766E1BF5-C8AF-47F3-A2CC-CF96E0B3DCBC}"/>
                    </a:ext>
                  </a:extLst>
                </p14:cNvPr>
                <p14:cNvContentPartPr/>
                <p14:nvPr/>
              </p14:nvContentPartPr>
              <p14:xfrm>
                <a:off x="3566817" y="2704598"/>
                <a:ext cx="85320" cy="97920"/>
              </p14:xfrm>
            </p:contentPart>
          </mc:Choice>
          <mc:Fallback xmlns="">
            <p:pic>
              <p:nvPicPr>
                <p:cNvPr id="81" name="Ink 80">
                  <a:extLst>
                    <a:ext uri="{FF2B5EF4-FFF2-40B4-BE49-F238E27FC236}">
                      <a16:creationId xmlns:a16="http://schemas.microsoft.com/office/drawing/2014/main" id="{766E1BF5-C8AF-47F3-A2CC-CF96E0B3DCBC}"/>
                    </a:ext>
                  </a:extLst>
                </p:cNvPr>
                <p:cNvPicPr/>
                <p:nvPr/>
              </p:nvPicPr>
              <p:blipFill>
                <a:blip r:embed="rId77"/>
                <a:stretch>
                  <a:fillRect/>
                </a:stretch>
              </p:blipFill>
              <p:spPr>
                <a:xfrm>
                  <a:off x="3562497" y="2700278"/>
                  <a:ext cx="93960" cy="10656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82" name="Ink 81">
                  <a:extLst>
                    <a:ext uri="{FF2B5EF4-FFF2-40B4-BE49-F238E27FC236}">
                      <a16:creationId xmlns:a16="http://schemas.microsoft.com/office/drawing/2014/main" id="{8493DB77-04CA-44B7-A3CF-5B2B78681B2F}"/>
                    </a:ext>
                  </a:extLst>
                </p14:cNvPr>
                <p14:cNvContentPartPr/>
                <p14:nvPr/>
              </p14:nvContentPartPr>
              <p14:xfrm>
                <a:off x="3733857" y="2742758"/>
                <a:ext cx="360" cy="360"/>
              </p14:xfrm>
            </p:contentPart>
          </mc:Choice>
          <mc:Fallback xmlns="">
            <p:pic>
              <p:nvPicPr>
                <p:cNvPr id="82" name="Ink 81">
                  <a:extLst>
                    <a:ext uri="{FF2B5EF4-FFF2-40B4-BE49-F238E27FC236}">
                      <a16:creationId xmlns:a16="http://schemas.microsoft.com/office/drawing/2014/main" id="{8493DB77-04CA-44B7-A3CF-5B2B78681B2F}"/>
                    </a:ext>
                  </a:extLst>
                </p:cNvPr>
                <p:cNvPicPr/>
                <p:nvPr/>
              </p:nvPicPr>
              <p:blipFill>
                <a:blip r:embed="rId3"/>
                <a:stretch>
                  <a:fillRect/>
                </a:stretch>
              </p:blipFill>
              <p:spPr>
                <a:xfrm>
                  <a:off x="3729537" y="27384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83" name="Ink 82">
                  <a:extLst>
                    <a:ext uri="{FF2B5EF4-FFF2-40B4-BE49-F238E27FC236}">
                      <a16:creationId xmlns:a16="http://schemas.microsoft.com/office/drawing/2014/main" id="{7717E4D3-1A14-4BD6-BB56-CC41BA460A6B}"/>
                    </a:ext>
                  </a:extLst>
                </p14:cNvPr>
                <p14:cNvContentPartPr/>
                <p14:nvPr/>
              </p14:nvContentPartPr>
              <p14:xfrm>
                <a:off x="3808737" y="2676878"/>
                <a:ext cx="92160" cy="114480"/>
              </p14:xfrm>
            </p:contentPart>
          </mc:Choice>
          <mc:Fallback xmlns="">
            <p:pic>
              <p:nvPicPr>
                <p:cNvPr id="83" name="Ink 82">
                  <a:extLst>
                    <a:ext uri="{FF2B5EF4-FFF2-40B4-BE49-F238E27FC236}">
                      <a16:creationId xmlns:a16="http://schemas.microsoft.com/office/drawing/2014/main" id="{7717E4D3-1A14-4BD6-BB56-CC41BA460A6B}"/>
                    </a:ext>
                  </a:extLst>
                </p:cNvPr>
                <p:cNvPicPr/>
                <p:nvPr/>
              </p:nvPicPr>
              <p:blipFill>
                <a:blip r:embed="rId80"/>
                <a:stretch>
                  <a:fillRect/>
                </a:stretch>
              </p:blipFill>
              <p:spPr>
                <a:xfrm>
                  <a:off x="3804417" y="2672558"/>
                  <a:ext cx="1008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84" name="Ink 83">
                  <a:extLst>
                    <a:ext uri="{FF2B5EF4-FFF2-40B4-BE49-F238E27FC236}">
                      <a16:creationId xmlns:a16="http://schemas.microsoft.com/office/drawing/2014/main" id="{2305226F-A32F-4E0D-BEB4-09C8163BBC31}"/>
                    </a:ext>
                  </a:extLst>
                </p14:cNvPr>
                <p14:cNvContentPartPr/>
                <p14:nvPr/>
              </p14:nvContentPartPr>
              <p14:xfrm>
                <a:off x="3888657" y="2666078"/>
                <a:ext cx="103320" cy="112680"/>
              </p14:xfrm>
            </p:contentPart>
          </mc:Choice>
          <mc:Fallback xmlns="">
            <p:pic>
              <p:nvPicPr>
                <p:cNvPr id="84" name="Ink 83">
                  <a:extLst>
                    <a:ext uri="{FF2B5EF4-FFF2-40B4-BE49-F238E27FC236}">
                      <a16:creationId xmlns:a16="http://schemas.microsoft.com/office/drawing/2014/main" id="{2305226F-A32F-4E0D-BEB4-09C8163BBC31}"/>
                    </a:ext>
                  </a:extLst>
                </p:cNvPr>
                <p:cNvPicPr/>
                <p:nvPr/>
              </p:nvPicPr>
              <p:blipFill>
                <a:blip r:embed="rId82"/>
                <a:stretch>
                  <a:fillRect/>
                </a:stretch>
              </p:blipFill>
              <p:spPr>
                <a:xfrm>
                  <a:off x="3884337" y="2661758"/>
                  <a:ext cx="111960" cy="12132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85" name="Ink 84">
                  <a:extLst>
                    <a:ext uri="{FF2B5EF4-FFF2-40B4-BE49-F238E27FC236}">
                      <a16:creationId xmlns:a16="http://schemas.microsoft.com/office/drawing/2014/main" id="{D5EE0536-0E3B-4A6B-81D1-EB3FFB91D185}"/>
                    </a:ext>
                  </a:extLst>
                </p14:cNvPr>
                <p14:cNvContentPartPr/>
                <p14:nvPr/>
              </p14:nvContentPartPr>
              <p14:xfrm>
                <a:off x="4105017" y="2686958"/>
                <a:ext cx="20160" cy="82800"/>
              </p14:xfrm>
            </p:contentPart>
          </mc:Choice>
          <mc:Fallback xmlns="">
            <p:pic>
              <p:nvPicPr>
                <p:cNvPr id="85" name="Ink 84">
                  <a:extLst>
                    <a:ext uri="{FF2B5EF4-FFF2-40B4-BE49-F238E27FC236}">
                      <a16:creationId xmlns:a16="http://schemas.microsoft.com/office/drawing/2014/main" id="{D5EE0536-0E3B-4A6B-81D1-EB3FFB91D185}"/>
                    </a:ext>
                  </a:extLst>
                </p:cNvPr>
                <p:cNvPicPr/>
                <p:nvPr/>
              </p:nvPicPr>
              <p:blipFill>
                <a:blip r:embed="rId29"/>
                <a:stretch>
                  <a:fillRect/>
                </a:stretch>
              </p:blipFill>
              <p:spPr>
                <a:xfrm>
                  <a:off x="4100697" y="2682638"/>
                  <a:ext cx="28800" cy="9144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86" name="Ink 85">
                  <a:extLst>
                    <a:ext uri="{FF2B5EF4-FFF2-40B4-BE49-F238E27FC236}">
                      <a16:creationId xmlns:a16="http://schemas.microsoft.com/office/drawing/2014/main" id="{EFD931F9-B7D6-4A0C-ADF2-48A294C2F01D}"/>
                    </a:ext>
                  </a:extLst>
                </p14:cNvPr>
                <p14:cNvContentPartPr/>
                <p14:nvPr/>
              </p14:nvContentPartPr>
              <p14:xfrm>
                <a:off x="4062177" y="2716118"/>
                <a:ext cx="125640" cy="12960"/>
              </p14:xfrm>
            </p:contentPart>
          </mc:Choice>
          <mc:Fallback xmlns="">
            <p:pic>
              <p:nvPicPr>
                <p:cNvPr id="86" name="Ink 85">
                  <a:extLst>
                    <a:ext uri="{FF2B5EF4-FFF2-40B4-BE49-F238E27FC236}">
                      <a16:creationId xmlns:a16="http://schemas.microsoft.com/office/drawing/2014/main" id="{EFD931F9-B7D6-4A0C-ADF2-48A294C2F01D}"/>
                    </a:ext>
                  </a:extLst>
                </p:cNvPr>
                <p:cNvPicPr/>
                <p:nvPr/>
              </p:nvPicPr>
              <p:blipFill>
                <a:blip r:embed="rId85"/>
                <a:stretch>
                  <a:fillRect/>
                </a:stretch>
              </p:blipFill>
              <p:spPr>
                <a:xfrm>
                  <a:off x="4057857" y="2711798"/>
                  <a:ext cx="134280" cy="21600"/>
                </a:xfrm>
                <a:prstGeom prst="rect">
                  <a:avLst/>
                </a:prstGeom>
              </p:spPr>
            </p:pic>
          </mc:Fallback>
        </mc:AlternateContent>
      </p:grpSp>
      <p:grpSp>
        <p:nvGrpSpPr>
          <p:cNvPr id="100" name="Group 99">
            <a:extLst>
              <a:ext uri="{FF2B5EF4-FFF2-40B4-BE49-F238E27FC236}">
                <a16:creationId xmlns:a16="http://schemas.microsoft.com/office/drawing/2014/main" id="{A9F4159A-25B1-4432-866A-4E7FB4FD22E7}"/>
              </a:ext>
            </a:extLst>
          </p:cNvPr>
          <p:cNvGrpSpPr/>
          <p:nvPr/>
        </p:nvGrpSpPr>
        <p:grpSpPr>
          <a:xfrm>
            <a:off x="4300137" y="2589398"/>
            <a:ext cx="990000" cy="161640"/>
            <a:chOff x="4300137" y="2589398"/>
            <a:chExt cx="990000" cy="161640"/>
          </a:xfrm>
        </p:grpSpPr>
        <mc:AlternateContent xmlns:mc="http://schemas.openxmlformats.org/markup-compatibility/2006" xmlns:p14="http://schemas.microsoft.com/office/powerpoint/2010/main">
          <mc:Choice Requires="p14">
            <p:contentPart p14:bwMode="auto" r:id="rId86">
              <p14:nvContentPartPr>
                <p14:cNvPr id="88" name="Ink 87">
                  <a:extLst>
                    <a:ext uri="{FF2B5EF4-FFF2-40B4-BE49-F238E27FC236}">
                      <a16:creationId xmlns:a16="http://schemas.microsoft.com/office/drawing/2014/main" id="{7150333E-B932-465E-BDB6-198191C88484}"/>
                    </a:ext>
                  </a:extLst>
                </p14:cNvPr>
                <p14:cNvContentPartPr/>
                <p14:nvPr/>
              </p14:nvContentPartPr>
              <p14:xfrm>
                <a:off x="4300137" y="2671838"/>
                <a:ext cx="68400" cy="79200"/>
              </p14:xfrm>
            </p:contentPart>
          </mc:Choice>
          <mc:Fallback xmlns="">
            <p:pic>
              <p:nvPicPr>
                <p:cNvPr id="88" name="Ink 87">
                  <a:extLst>
                    <a:ext uri="{FF2B5EF4-FFF2-40B4-BE49-F238E27FC236}">
                      <a16:creationId xmlns:a16="http://schemas.microsoft.com/office/drawing/2014/main" id="{7150333E-B932-465E-BDB6-198191C88484}"/>
                    </a:ext>
                  </a:extLst>
                </p:cNvPr>
                <p:cNvPicPr/>
                <p:nvPr/>
              </p:nvPicPr>
              <p:blipFill>
                <a:blip r:embed="rId87"/>
                <a:stretch>
                  <a:fillRect/>
                </a:stretch>
              </p:blipFill>
              <p:spPr>
                <a:xfrm>
                  <a:off x="4295817" y="2667518"/>
                  <a:ext cx="7704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89" name="Ink 88">
                  <a:extLst>
                    <a:ext uri="{FF2B5EF4-FFF2-40B4-BE49-F238E27FC236}">
                      <a16:creationId xmlns:a16="http://schemas.microsoft.com/office/drawing/2014/main" id="{903AD705-D9ED-4493-9168-511B1DDDD9F4}"/>
                    </a:ext>
                  </a:extLst>
                </p14:cNvPr>
                <p14:cNvContentPartPr/>
                <p14:nvPr/>
              </p14:nvContentPartPr>
              <p14:xfrm>
                <a:off x="4411017" y="2729078"/>
                <a:ext cx="360" cy="2880"/>
              </p14:xfrm>
            </p:contentPart>
          </mc:Choice>
          <mc:Fallback xmlns="">
            <p:pic>
              <p:nvPicPr>
                <p:cNvPr id="89" name="Ink 88">
                  <a:extLst>
                    <a:ext uri="{FF2B5EF4-FFF2-40B4-BE49-F238E27FC236}">
                      <a16:creationId xmlns:a16="http://schemas.microsoft.com/office/drawing/2014/main" id="{903AD705-D9ED-4493-9168-511B1DDDD9F4}"/>
                    </a:ext>
                  </a:extLst>
                </p:cNvPr>
                <p:cNvPicPr/>
                <p:nvPr/>
              </p:nvPicPr>
              <p:blipFill>
                <a:blip r:embed="rId89"/>
                <a:stretch>
                  <a:fillRect/>
                </a:stretch>
              </p:blipFill>
              <p:spPr>
                <a:xfrm>
                  <a:off x="4406697" y="2724758"/>
                  <a:ext cx="9000" cy="115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90" name="Ink 89">
                  <a:extLst>
                    <a:ext uri="{FF2B5EF4-FFF2-40B4-BE49-F238E27FC236}">
                      <a16:creationId xmlns:a16="http://schemas.microsoft.com/office/drawing/2014/main" id="{864DAD99-776D-47A1-A649-B066EA8886B1}"/>
                    </a:ext>
                  </a:extLst>
                </p14:cNvPr>
                <p14:cNvContentPartPr/>
                <p14:nvPr/>
              </p14:nvContentPartPr>
              <p14:xfrm>
                <a:off x="4452777" y="2652398"/>
                <a:ext cx="7920" cy="90000"/>
              </p14:xfrm>
            </p:contentPart>
          </mc:Choice>
          <mc:Fallback xmlns="">
            <p:pic>
              <p:nvPicPr>
                <p:cNvPr id="90" name="Ink 89">
                  <a:extLst>
                    <a:ext uri="{FF2B5EF4-FFF2-40B4-BE49-F238E27FC236}">
                      <a16:creationId xmlns:a16="http://schemas.microsoft.com/office/drawing/2014/main" id="{864DAD99-776D-47A1-A649-B066EA8886B1}"/>
                    </a:ext>
                  </a:extLst>
                </p:cNvPr>
                <p:cNvPicPr/>
                <p:nvPr/>
              </p:nvPicPr>
              <p:blipFill>
                <a:blip r:embed="rId91"/>
                <a:stretch>
                  <a:fillRect/>
                </a:stretch>
              </p:blipFill>
              <p:spPr>
                <a:xfrm>
                  <a:off x="4448457" y="2648078"/>
                  <a:ext cx="1656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91" name="Ink 90">
                  <a:extLst>
                    <a:ext uri="{FF2B5EF4-FFF2-40B4-BE49-F238E27FC236}">
                      <a16:creationId xmlns:a16="http://schemas.microsoft.com/office/drawing/2014/main" id="{6322F807-6C41-42E6-A1B0-4C5F248B647A}"/>
                    </a:ext>
                  </a:extLst>
                </p14:cNvPr>
                <p14:cNvContentPartPr/>
                <p14:nvPr/>
              </p14:nvContentPartPr>
              <p14:xfrm>
                <a:off x="4506417" y="2652038"/>
                <a:ext cx="65160" cy="78480"/>
              </p14:xfrm>
            </p:contentPart>
          </mc:Choice>
          <mc:Fallback xmlns="">
            <p:pic>
              <p:nvPicPr>
                <p:cNvPr id="91" name="Ink 90">
                  <a:extLst>
                    <a:ext uri="{FF2B5EF4-FFF2-40B4-BE49-F238E27FC236}">
                      <a16:creationId xmlns:a16="http://schemas.microsoft.com/office/drawing/2014/main" id="{6322F807-6C41-42E6-A1B0-4C5F248B647A}"/>
                    </a:ext>
                  </a:extLst>
                </p:cNvPr>
                <p:cNvPicPr/>
                <p:nvPr/>
              </p:nvPicPr>
              <p:blipFill>
                <a:blip r:embed="rId93"/>
                <a:stretch>
                  <a:fillRect/>
                </a:stretch>
              </p:blipFill>
              <p:spPr>
                <a:xfrm>
                  <a:off x="4502097" y="2647718"/>
                  <a:ext cx="7380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92" name="Ink 91">
                  <a:extLst>
                    <a:ext uri="{FF2B5EF4-FFF2-40B4-BE49-F238E27FC236}">
                      <a16:creationId xmlns:a16="http://schemas.microsoft.com/office/drawing/2014/main" id="{570943C6-E320-44AB-8D76-5609F373ABED}"/>
                    </a:ext>
                  </a:extLst>
                </p14:cNvPr>
                <p14:cNvContentPartPr/>
                <p14:nvPr/>
              </p14:nvContentPartPr>
              <p14:xfrm>
                <a:off x="4612257" y="2642678"/>
                <a:ext cx="58320" cy="104040"/>
              </p14:xfrm>
            </p:contentPart>
          </mc:Choice>
          <mc:Fallback xmlns="">
            <p:pic>
              <p:nvPicPr>
                <p:cNvPr id="92" name="Ink 91">
                  <a:extLst>
                    <a:ext uri="{FF2B5EF4-FFF2-40B4-BE49-F238E27FC236}">
                      <a16:creationId xmlns:a16="http://schemas.microsoft.com/office/drawing/2014/main" id="{570943C6-E320-44AB-8D76-5609F373ABED}"/>
                    </a:ext>
                  </a:extLst>
                </p:cNvPr>
                <p:cNvPicPr/>
                <p:nvPr/>
              </p:nvPicPr>
              <p:blipFill>
                <a:blip r:embed="rId95"/>
                <a:stretch>
                  <a:fillRect/>
                </a:stretch>
              </p:blipFill>
              <p:spPr>
                <a:xfrm>
                  <a:off x="4607937" y="2638358"/>
                  <a:ext cx="6696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93" name="Ink 92">
                  <a:extLst>
                    <a:ext uri="{FF2B5EF4-FFF2-40B4-BE49-F238E27FC236}">
                      <a16:creationId xmlns:a16="http://schemas.microsoft.com/office/drawing/2014/main" id="{9D44812A-A5A3-42E5-AF55-F1205B0D3AEA}"/>
                    </a:ext>
                  </a:extLst>
                </p14:cNvPr>
                <p14:cNvContentPartPr/>
                <p14:nvPr/>
              </p14:nvContentPartPr>
              <p14:xfrm>
                <a:off x="4767057" y="2624318"/>
                <a:ext cx="7920" cy="90360"/>
              </p14:xfrm>
            </p:contentPart>
          </mc:Choice>
          <mc:Fallback xmlns="">
            <p:pic>
              <p:nvPicPr>
                <p:cNvPr id="93" name="Ink 92">
                  <a:extLst>
                    <a:ext uri="{FF2B5EF4-FFF2-40B4-BE49-F238E27FC236}">
                      <a16:creationId xmlns:a16="http://schemas.microsoft.com/office/drawing/2014/main" id="{9D44812A-A5A3-42E5-AF55-F1205B0D3AEA}"/>
                    </a:ext>
                  </a:extLst>
                </p:cNvPr>
                <p:cNvPicPr/>
                <p:nvPr/>
              </p:nvPicPr>
              <p:blipFill>
                <a:blip r:embed="rId97"/>
                <a:stretch>
                  <a:fillRect/>
                </a:stretch>
              </p:blipFill>
              <p:spPr>
                <a:xfrm>
                  <a:off x="4762737" y="2619998"/>
                  <a:ext cx="1656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94" name="Ink 93">
                  <a:extLst>
                    <a:ext uri="{FF2B5EF4-FFF2-40B4-BE49-F238E27FC236}">
                      <a16:creationId xmlns:a16="http://schemas.microsoft.com/office/drawing/2014/main" id="{3E07791C-A239-417F-BCCC-C715632EBAC4}"/>
                    </a:ext>
                  </a:extLst>
                </p14:cNvPr>
                <p14:cNvContentPartPr/>
                <p14:nvPr/>
              </p14:nvContentPartPr>
              <p14:xfrm>
                <a:off x="4725297" y="2673278"/>
                <a:ext cx="76320" cy="14040"/>
              </p14:xfrm>
            </p:contentPart>
          </mc:Choice>
          <mc:Fallback xmlns="">
            <p:pic>
              <p:nvPicPr>
                <p:cNvPr id="94" name="Ink 93">
                  <a:extLst>
                    <a:ext uri="{FF2B5EF4-FFF2-40B4-BE49-F238E27FC236}">
                      <a16:creationId xmlns:a16="http://schemas.microsoft.com/office/drawing/2014/main" id="{3E07791C-A239-417F-BCCC-C715632EBAC4}"/>
                    </a:ext>
                  </a:extLst>
                </p:cNvPr>
                <p:cNvPicPr/>
                <p:nvPr/>
              </p:nvPicPr>
              <p:blipFill>
                <a:blip r:embed="rId99"/>
                <a:stretch>
                  <a:fillRect/>
                </a:stretch>
              </p:blipFill>
              <p:spPr>
                <a:xfrm>
                  <a:off x="4720977" y="2668958"/>
                  <a:ext cx="8496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96" name="Ink 95">
                  <a:extLst>
                    <a:ext uri="{FF2B5EF4-FFF2-40B4-BE49-F238E27FC236}">
                      <a16:creationId xmlns:a16="http://schemas.microsoft.com/office/drawing/2014/main" id="{45EEE506-88A2-4193-9C54-8C8449DFE730}"/>
                    </a:ext>
                  </a:extLst>
                </p14:cNvPr>
                <p14:cNvContentPartPr/>
                <p14:nvPr/>
              </p14:nvContentPartPr>
              <p14:xfrm>
                <a:off x="4936617" y="2603798"/>
                <a:ext cx="95760" cy="85320"/>
              </p14:xfrm>
            </p:contentPart>
          </mc:Choice>
          <mc:Fallback xmlns="">
            <p:pic>
              <p:nvPicPr>
                <p:cNvPr id="96" name="Ink 95">
                  <a:extLst>
                    <a:ext uri="{FF2B5EF4-FFF2-40B4-BE49-F238E27FC236}">
                      <a16:creationId xmlns:a16="http://schemas.microsoft.com/office/drawing/2014/main" id="{45EEE506-88A2-4193-9C54-8C8449DFE730}"/>
                    </a:ext>
                  </a:extLst>
                </p:cNvPr>
                <p:cNvPicPr/>
                <p:nvPr/>
              </p:nvPicPr>
              <p:blipFill>
                <a:blip r:embed="rId101"/>
                <a:stretch>
                  <a:fillRect/>
                </a:stretch>
              </p:blipFill>
              <p:spPr>
                <a:xfrm>
                  <a:off x="4932297" y="2599478"/>
                  <a:ext cx="10440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97" name="Ink 96">
                  <a:extLst>
                    <a:ext uri="{FF2B5EF4-FFF2-40B4-BE49-F238E27FC236}">
                      <a16:creationId xmlns:a16="http://schemas.microsoft.com/office/drawing/2014/main" id="{B715EBB9-3E3F-4D08-ACA5-9DC3F8F6B292}"/>
                    </a:ext>
                  </a:extLst>
                </p14:cNvPr>
                <p14:cNvContentPartPr/>
                <p14:nvPr/>
              </p14:nvContentPartPr>
              <p14:xfrm>
                <a:off x="5088177" y="2666078"/>
                <a:ext cx="360" cy="360"/>
              </p14:xfrm>
            </p:contentPart>
          </mc:Choice>
          <mc:Fallback xmlns="">
            <p:pic>
              <p:nvPicPr>
                <p:cNvPr id="97" name="Ink 96">
                  <a:extLst>
                    <a:ext uri="{FF2B5EF4-FFF2-40B4-BE49-F238E27FC236}">
                      <a16:creationId xmlns:a16="http://schemas.microsoft.com/office/drawing/2014/main" id="{B715EBB9-3E3F-4D08-ACA5-9DC3F8F6B292}"/>
                    </a:ext>
                  </a:extLst>
                </p:cNvPr>
                <p:cNvPicPr/>
                <p:nvPr/>
              </p:nvPicPr>
              <p:blipFill>
                <a:blip r:embed="rId3"/>
                <a:stretch>
                  <a:fillRect/>
                </a:stretch>
              </p:blipFill>
              <p:spPr>
                <a:xfrm>
                  <a:off x="5083857" y="2661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98" name="Ink 97">
                  <a:extLst>
                    <a:ext uri="{FF2B5EF4-FFF2-40B4-BE49-F238E27FC236}">
                      <a16:creationId xmlns:a16="http://schemas.microsoft.com/office/drawing/2014/main" id="{D3A830D0-F0D6-44F5-B9F2-36FF45C191DB}"/>
                    </a:ext>
                  </a:extLst>
                </p14:cNvPr>
                <p14:cNvContentPartPr/>
                <p14:nvPr/>
              </p14:nvContentPartPr>
              <p14:xfrm>
                <a:off x="5131737" y="2589398"/>
                <a:ext cx="61920" cy="89280"/>
              </p14:xfrm>
            </p:contentPart>
          </mc:Choice>
          <mc:Fallback xmlns="">
            <p:pic>
              <p:nvPicPr>
                <p:cNvPr id="98" name="Ink 97">
                  <a:extLst>
                    <a:ext uri="{FF2B5EF4-FFF2-40B4-BE49-F238E27FC236}">
                      <a16:creationId xmlns:a16="http://schemas.microsoft.com/office/drawing/2014/main" id="{D3A830D0-F0D6-44F5-B9F2-36FF45C191DB}"/>
                    </a:ext>
                  </a:extLst>
                </p:cNvPr>
                <p:cNvPicPr/>
                <p:nvPr/>
              </p:nvPicPr>
              <p:blipFill>
                <a:blip r:embed="rId104"/>
                <a:stretch>
                  <a:fillRect/>
                </a:stretch>
              </p:blipFill>
              <p:spPr>
                <a:xfrm>
                  <a:off x="5127417" y="2585078"/>
                  <a:ext cx="7056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99" name="Ink 98">
                  <a:extLst>
                    <a:ext uri="{FF2B5EF4-FFF2-40B4-BE49-F238E27FC236}">
                      <a16:creationId xmlns:a16="http://schemas.microsoft.com/office/drawing/2014/main" id="{20F5E6BA-171F-4F0C-A1E4-124FE3399DBA}"/>
                    </a:ext>
                  </a:extLst>
                </p14:cNvPr>
                <p14:cNvContentPartPr/>
                <p14:nvPr/>
              </p14:nvContentPartPr>
              <p14:xfrm>
                <a:off x="5229297" y="2595518"/>
                <a:ext cx="60840" cy="72360"/>
              </p14:xfrm>
            </p:contentPart>
          </mc:Choice>
          <mc:Fallback xmlns="">
            <p:pic>
              <p:nvPicPr>
                <p:cNvPr id="99" name="Ink 98">
                  <a:extLst>
                    <a:ext uri="{FF2B5EF4-FFF2-40B4-BE49-F238E27FC236}">
                      <a16:creationId xmlns:a16="http://schemas.microsoft.com/office/drawing/2014/main" id="{20F5E6BA-171F-4F0C-A1E4-124FE3399DBA}"/>
                    </a:ext>
                  </a:extLst>
                </p:cNvPr>
                <p:cNvPicPr/>
                <p:nvPr/>
              </p:nvPicPr>
              <p:blipFill>
                <a:blip r:embed="rId106"/>
                <a:stretch>
                  <a:fillRect/>
                </a:stretch>
              </p:blipFill>
              <p:spPr>
                <a:xfrm>
                  <a:off x="5224977" y="2591198"/>
                  <a:ext cx="69480" cy="81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7">
            <p14:nvContentPartPr>
              <p14:cNvPr id="101" name="Ink 100">
                <a:extLst>
                  <a:ext uri="{FF2B5EF4-FFF2-40B4-BE49-F238E27FC236}">
                    <a16:creationId xmlns:a16="http://schemas.microsoft.com/office/drawing/2014/main" id="{D9CAB537-CA15-47F7-898B-A67370E7504E}"/>
                  </a:ext>
                </a:extLst>
              </p14:cNvPr>
              <p14:cNvContentPartPr/>
              <p14:nvPr/>
            </p14:nvContentPartPr>
            <p14:xfrm>
              <a:off x="5576697" y="2351798"/>
              <a:ext cx="88920" cy="360"/>
            </p14:xfrm>
          </p:contentPart>
        </mc:Choice>
        <mc:Fallback xmlns="">
          <p:pic>
            <p:nvPicPr>
              <p:cNvPr id="101" name="Ink 100">
                <a:extLst>
                  <a:ext uri="{FF2B5EF4-FFF2-40B4-BE49-F238E27FC236}">
                    <a16:creationId xmlns:a16="http://schemas.microsoft.com/office/drawing/2014/main" id="{D9CAB537-CA15-47F7-898B-A67370E7504E}"/>
                  </a:ext>
                </a:extLst>
              </p:cNvPr>
              <p:cNvPicPr/>
              <p:nvPr/>
            </p:nvPicPr>
            <p:blipFill>
              <a:blip r:embed="rId108"/>
              <a:stretch>
                <a:fillRect/>
              </a:stretch>
            </p:blipFill>
            <p:spPr>
              <a:xfrm>
                <a:off x="5572377" y="2347478"/>
                <a:ext cx="97560" cy="9000"/>
              </a:xfrm>
              <a:prstGeom prst="rect">
                <a:avLst/>
              </a:prstGeom>
            </p:spPr>
          </p:pic>
        </mc:Fallback>
      </mc:AlternateContent>
      <p:grpSp>
        <p:nvGrpSpPr>
          <p:cNvPr id="104" name="Group 103">
            <a:extLst>
              <a:ext uri="{FF2B5EF4-FFF2-40B4-BE49-F238E27FC236}">
                <a16:creationId xmlns:a16="http://schemas.microsoft.com/office/drawing/2014/main" id="{673549E1-D675-42AA-BE35-08B353582A17}"/>
              </a:ext>
            </a:extLst>
          </p:cNvPr>
          <p:cNvGrpSpPr/>
          <p:nvPr/>
        </p:nvGrpSpPr>
        <p:grpSpPr>
          <a:xfrm>
            <a:off x="5583897" y="2416238"/>
            <a:ext cx="111600" cy="5760"/>
            <a:chOff x="5583897" y="2416238"/>
            <a:chExt cx="111600" cy="5760"/>
          </a:xfrm>
        </p:grpSpPr>
        <mc:AlternateContent xmlns:mc="http://schemas.openxmlformats.org/markup-compatibility/2006" xmlns:p14="http://schemas.microsoft.com/office/powerpoint/2010/main">
          <mc:Choice Requires="p14">
            <p:contentPart p14:bwMode="auto" r:id="rId109">
              <p14:nvContentPartPr>
                <p14:cNvPr id="102" name="Ink 101">
                  <a:extLst>
                    <a:ext uri="{FF2B5EF4-FFF2-40B4-BE49-F238E27FC236}">
                      <a16:creationId xmlns:a16="http://schemas.microsoft.com/office/drawing/2014/main" id="{385105F5-29F1-4053-8C51-F613A2E39263}"/>
                    </a:ext>
                  </a:extLst>
                </p14:cNvPr>
                <p14:cNvContentPartPr/>
                <p14:nvPr/>
              </p14:nvContentPartPr>
              <p14:xfrm>
                <a:off x="5583897" y="2416238"/>
                <a:ext cx="37440" cy="5760"/>
              </p14:xfrm>
            </p:contentPart>
          </mc:Choice>
          <mc:Fallback xmlns="">
            <p:pic>
              <p:nvPicPr>
                <p:cNvPr id="102" name="Ink 101">
                  <a:extLst>
                    <a:ext uri="{FF2B5EF4-FFF2-40B4-BE49-F238E27FC236}">
                      <a16:creationId xmlns:a16="http://schemas.microsoft.com/office/drawing/2014/main" id="{385105F5-29F1-4053-8C51-F613A2E39263}"/>
                    </a:ext>
                  </a:extLst>
                </p:cNvPr>
                <p:cNvPicPr/>
                <p:nvPr/>
              </p:nvPicPr>
              <p:blipFill>
                <a:blip r:embed="rId110"/>
                <a:stretch>
                  <a:fillRect/>
                </a:stretch>
              </p:blipFill>
              <p:spPr>
                <a:xfrm>
                  <a:off x="5579577" y="2411918"/>
                  <a:ext cx="46080"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03" name="Ink 102">
                  <a:extLst>
                    <a:ext uri="{FF2B5EF4-FFF2-40B4-BE49-F238E27FC236}">
                      <a16:creationId xmlns:a16="http://schemas.microsoft.com/office/drawing/2014/main" id="{397FCE79-ED80-4ED5-A468-FF0165DA9002}"/>
                    </a:ext>
                  </a:extLst>
                </p14:cNvPr>
                <p14:cNvContentPartPr/>
                <p14:nvPr/>
              </p14:nvContentPartPr>
              <p14:xfrm>
                <a:off x="5597937" y="2421638"/>
                <a:ext cx="97560" cy="360"/>
              </p14:xfrm>
            </p:contentPart>
          </mc:Choice>
          <mc:Fallback xmlns="">
            <p:pic>
              <p:nvPicPr>
                <p:cNvPr id="103" name="Ink 102">
                  <a:extLst>
                    <a:ext uri="{FF2B5EF4-FFF2-40B4-BE49-F238E27FC236}">
                      <a16:creationId xmlns:a16="http://schemas.microsoft.com/office/drawing/2014/main" id="{397FCE79-ED80-4ED5-A468-FF0165DA9002}"/>
                    </a:ext>
                  </a:extLst>
                </p:cNvPr>
                <p:cNvPicPr/>
                <p:nvPr/>
              </p:nvPicPr>
              <p:blipFill>
                <a:blip r:embed="rId112"/>
                <a:stretch>
                  <a:fillRect/>
                </a:stretch>
              </p:blipFill>
              <p:spPr>
                <a:xfrm>
                  <a:off x="5593617" y="2417318"/>
                  <a:ext cx="106200" cy="9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13">
            <p14:nvContentPartPr>
              <p14:cNvPr id="2" name="Ink 1">
                <a:extLst>
                  <a:ext uri="{FF2B5EF4-FFF2-40B4-BE49-F238E27FC236}">
                    <a16:creationId xmlns:a16="http://schemas.microsoft.com/office/drawing/2014/main" id="{DD060C0D-4EE0-46ED-BEEC-AFBB86C2C785}"/>
                  </a:ext>
                </a:extLst>
              </p14:cNvPr>
              <p14:cNvContentPartPr/>
              <p14:nvPr/>
            </p14:nvContentPartPr>
            <p14:xfrm>
              <a:off x="866880" y="333360"/>
              <a:ext cx="7415640" cy="3976920"/>
            </p14:xfrm>
          </p:contentPart>
        </mc:Choice>
        <mc:Fallback xmlns="">
          <p:pic>
            <p:nvPicPr>
              <p:cNvPr id="2" name="Ink 1">
                <a:extLst>
                  <a:ext uri="{FF2B5EF4-FFF2-40B4-BE49-F238E27FC236}">
                    <a16:creationId xmlns:a16="http://schemas.microsoft.com/office/drawing/2014/main" id="{DD060C0D-4EE0-46ED-BEEC-AFBB86C2C785}"/>
                  </a:ext>
                </a:extLst>
              </p:cNvPr>
              <p:cNvPicPr/>
              <p:nvPr/>
            </p:nvPicPr>
            <p:blipFill>
              <a:blip r:embed="rId114"/>
              <a:stretch>
                <a:fillRect/>
              </a:stretch>
            </p:blipFill>
            <p:spPr>
              <a:xfrm>
                <a:off x="857520" y="324000"/>
                <a:ext cx="7434360" cy="3995640"/>
              </a:xfrm>
              <a:prstGeom prst="rect">
                <a:avLst/>
              </a:prstGeom>
            </p:spPr>
          </p:pic>
        </mc:Fallback>
      </mc:AlternateContent>
    </p:spTree>
    <p:extLst>
      <p:ext uri="{BB962C8B-B14F-4D97-AF65-F5344CB8AC3E}">
        <p14:creationId xmlns:p14="http://schemas.microsoft.com/office/powerpoint/2010/main" val="1236711108"/>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ECB27-EAA2-4EE0-A357-855C3ABB6A5B}"/>
              </a:ext>
            </a:extLst>
          </p:cNvPr>
          <p:cNvSpPr>
            <a:spLocks noGrp="1"/>
          </p:cNvSpPr>
          <p:nvPr>
            <p:ph type="title"/>
          </p:nvPr>
        </p:nvSpPr>
        <p:spPr>
          <a:xfrm>
            <a:off x="0" y="0"/>
            <a:ext cx="7955280" cy="640080"/>
          </a:xfrm>
        </p:spPr>
        <p:txBody>
          <a:bodyPr/>
          <a:lstStyle/>
          <a:p>
            <a:r>
              <a:rPr lang="en-US" dirty="0"/>
              <a:t>Harmonic Mean - </a:t>
            </a:r>
            <a:r>
              <a:rPr lang="en-US" sz="2400" dirty="0">
                <a:solidFill>
                  <a:schemeClr val="bg2">
                    <a:lumMod val="50000"/>
                    <a:lumOff val="50000"/>
                  </a:schemeClr>
                </a:solidFill>
              </a:rPr>
              <a:t>Continued</a:t>
            </a:r>
            <a:endParaRPr lang="en-US" dirty="0">
              <a:solidFill>
                <a:schemeClr val="bg2">
                  <a:lumMod val="50000"/>
                  <a:lumOff val="50000"/>
                </a:schemeClr>
              </a:solidFill>
            </a:endParaRPr>
          </a:p>
        </p:txBody>
      </p:sp>
      <p:sp>
        <p:nvSpPr>
          <p:cNvPr id="4" name="Content Placeholder 3">
            <a:extLst>
              <a:ext uri="{FF2B5EF4-FFF2-40B4-BE49-F238E27FC236}">
                <a16:creationId xmlns:a16="http://schemas.microsoft.com/office/drawing/2014/main" id="{B5302A69-3D48-4326-8584-D4306A30249E}"/>
              </a:ext>
            </a:extLst>
          </p:cNvPr>
          <p:cNvSpPr>
            <a:spLocks noGrp="1"/>
          </p:cNvSpPr>
          <p:nvPr>
            <p:ph sz="half" idx="1"/>
          </p:nvPr>
        </p:nvSpPr>
        <p:spPr>
          <a:xfrm>
            <a:off x="176598" y="854632"/>
            <a:ext cx="7955280" cy="3811163"/>
          </a:xfrm>
        </p:spPr>
        <p:txBody>
          <a:bodyPr/>
          <a:lstStyle/>
          <a:p>
            <a:r>
              <a:rPr lang="en-US" dirty="0">
                <a:solidFill>
                  <a:schemeClr val="bg2">
                    <a:lumMod val="50000"/>
                    <a:lumOff val="50000"/>
                  </a:schemeClr>
                </a:solidFill>
                <a:latin typeface="Inter"/>
              </a:rPr>
              <a:t>The Harmonic mean is the reciprocal of the average of the reciprocals</a:t>
            </a:r>
          </a:p>
          <a:p>
            <a:r>
              <a:rPr lang="en-US" dirty="0">
                <a:solidFill>
                  <a:schemeClr val="bg2">
                    <a:lumMod val="50000"/>
                    <a:lumOff val="50000"/>
                  </a:schemeClr>
                </a:solidFill>
                <a:latin typeface="Inter"/>
              </a:rPr>
              <a:t>The formula is : </a:t>
            </a:r>
          </a:p>
          <a:p>
            <a:pPr lvl="1"/>
            <a:endParaRPr lang="en-US" dirty="0"/>
          </a:p>
        </p:txBody>
      </p:sp>
      <p:pic>
        <p:nvPicPr>
          <p:cNvPr id="6" name="Picture 5">
            <a:extLst>
              <a:ext uri="{FF2B5EF4-FFF2-40B4-BE49-F238E27FC236}">
                <a16:creationId xmlns:a16="http://schemas.microsoft.com/office/drawing/2014/main" id="{1E1A9138-205F-4B7A-8E4D-495313CAAA7C}"/>
              </a:ext>
            </a:extLst>
          </p:cNvPr>
          <p:cNvPicPr>
            <a:picLocks noChangeAspect="1"/>
          </p:cNvPicPr>
          <p:nvPr/>
        </p:nvPicPr>
        <p:blipFill>
          <a:blip r:embed="rId2"/>
          <a:stretch>
            <a:fillRect/>
          </a:stretch>
        </p:blipFill>
        <p:spPr>
          <a:xfrm>
            <a:off x="947555" y="1570570"/>
            <a:ext cx="5791147" cy="537436"/>
          </a:xfrm>
          <a:prstGeom prst="rect">
            <a:avLst/>
          </a:prstGeom>
        </p:spPr>
      </p:pic>
      <p:sp>
        <p:nvSpPr>
          <p:cNvPr id="7" name="TextBox 6">
            <a:extLst>
              <a:ext uri="{FF2B5EF4-FFF2-40B4-BE49-F238E27FC236}">
                <a16:creationId xmlns:a16="http://schemas.microsoft.com/office/drawing/2014/main" id="{DDA14BC5-E68B-44F9-AF61-3F4A96899004}"/>
              </a:ext>
            </a:extLst>
          </p:cNvPr>
          <p:cNvSpPr txBox="1"/>
          <p:nvPr/>
        </p:nvSpPr>
        <p:spPr>
          <a:xfrm>
            <a:off x="2132117" y="2014781"/>
            <a:ext cx="5003026"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i="1" dirty="0">
                <a:solidFill>
                  <a:schemeClr val="bg2"/>
                </a:solidFill>
                <a:latin typeface="+mn-lt"/>
              </a:rPr>
              <a:t>a1, a2,a3,.. are the values and n being how many values</a:t>
            </a:r>
          </a:p>
        </p:txBody>
      </p:sp>
      <p:sp>
        <p:nvSpPr>
          <p:cNvPr id="9" name="TextBox 8">
            <a:extLst>
              <a:ext uri="{FF2B5EF4-FFF2-40B4-BE49-F238E27FC236}">
                <a16:creationId xmlns:a16="http://schemas.microsoft.com/office/drawing/2014/main" id="{E971881A-FAFB-4FE7-9BFB-69C4060B8AA2}"/>
              </a:ext>
            </a:extLst>
          </p:cNvPr>
          <p:cNvSpPr txBox="1"/>
          <p:nvPr/>
        </p:nvSpPr>
        <p:spPr>
          <a:xfrm>
            <a:off x="69800" y="2553863"/>
            <a:ext cx="8669351" cy="1200329"/>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Why Harmonic Mean ?</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Inter"/>
                <a:cs typeface="Arial" panose="020B0604020202020204" pitchFamily="34" charset="0"/>
              </a:rPr>
              <a:t>Ex : Example : A car is travelling at 8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for 20km and then a another 20km at 5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what is cars average speed? </a:t>
            </a: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4B5C6167-B34C-4551-ABA6-A7898103D1E1}"/>
                  </a:ext>
                </a:extLst>
              </p14:cNvPr>
              <p14:cNvContentPartPr/>
              <p14:nvPr/>
            </p14:nvContentPartPr>
            <p14:xfrm>
              <a:off x="419040" y="138240"/>
              <a:ext cx="8720640" cy="4677120"/>
            </p14:xfrm>
          </p:contentPart>
        </mc:Choice>
        <mc:Fallback xmlns="">
          <p:pic>
            <p:nvPicPr>
              <p:cNvPr id="2" name="Ink 1">
                <a:extLst>
                  <a:ext uri="{FF2B5EF4-FFF2-40B4-BE49-F238E27FC236}">
                    <a16:creationId xmlns:a16="http://schemas.microsoft.com/office/drawing/2014/main" id="{4B5C6167-B34C-4551-ABA6-A7898103D1E1}"/>
                  </a:ext>
                </a:extLst>
              </p:cNvPr>
              <p:cNvPicPr/>
              <p:nvPr/>
            </p:nvPicPr>
            <p:blipFill>
              <a:blip r:embed="rId4"/>
              <a:stretch>
                <a:fillRect/>
              </a:stretch>
            </p:blipFill>
            <p:spPr>
              <a:xfrm>
                <a:off x="409680" y="128880"/>
                <a:ext cx="8739360" cy="4695840"/>
              </a:xfrm>
              <a:prstGeom prst="rect">
                <a:avLst/>
              </a:prstGeom>
            </p:spPr>
          </p:pic>
        </mc:Fallback>
      </mc:AlternateContent>
    </p:spTree>
    <p:extLst>
      <p:ext uri="{BB962C8B-B14F-4D97-AF65-F5344CB8AC3E}">
        <p14:creationId xmlns:p14="http://schemas.microsoft.com/office/powerpoint/2010/main" val="3158841867"/>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CFC01E-EA6B-43E8-BBC9-193147DFA0CA}"/>
              </a:ext>
            </a:extLst>
          </p:cNvPr>
          <p:cNvSpPr>
            <a:spLocks noGrp="1"/>
          </p:cNvSpPr>
          <p:nvPr>
            <p:ph type="title"/>
          </p:nvPr>
        </p:nvSpPr>
        <p:spPr>
          <a:xfrm>
            <a:off x="99816" y="27981"/>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E713E63C-EBD1-4963-862B-4E27D9C33808}"/>
              </a:ext>
            </a:extLst>
          </p:cNvPr>
          <p:cNvSpPr>
            <a:spLocks noGrp="1"/>
          </p:cNvSpPr>
          <p:nvPr>
            <p:ph sz="half" idx="1"/>
          </p:nvPr>
        </p:nvSpPr>
        <p:spPr>
          <a:xfrm>
            <a:off x="99816" y="640691"/>
            <a:ext cx="8967402" cy="3862118"/>
          </a:xfrm>
        </p:spPr>
        <p:txBody>
          <a:bodyPr/>
          <a:lstStyle/>
          <a:p>
            <a:pPr>
              <a:buFont typeface="Wingdings" panose="05000000000000000000" pitchFamily="2" charset="2"/>
              <a:buChar char="q"/>
            </a:pPr>
            <a:r>
              <a:rPr lang="en-US" sz="2000" b="1" dirty="0">
                <a:solidFill>
                  <a:schemeClr val="bg2">
                    <a:lumMod val="50000"/>
                    <a:lumOff val="50000"/>
                  </a:schemeClr>
                </a:solidFill>
                <a:latin typeface="Inter"/>
                <a:cs typeface="Arial" panose="020B0604020202020204" pitchFamily="34" charset="0"/>
              </a:rPr>
              <a:t>Find harmonic mean of 4, 6, 8, 100  </a:t>
            </a:r>
          </a:p>
          <a:p>
            <a:endParaRPr lang="en-US" dirty="0">
              <a:solidFill>
                <a:schemeClr val="bg2">
                  <a:lumMod val="50000"/>
                  <a:lumOff val="50000"/>
                </a:schemeClr>
              </a:solidFill>
              <a:latin typeface="Inter"/>
            </a:endParaRP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0828B5E3-E750-4B8B-8479-F399A5A7B460}"/>
                  </a:ext>
                </a:extLst>
              </p14:cNvPr>
              <p14:cNvContentPartPr/>
              <p14:nvPr/>
            </p14:nvContentPartPr>
            <p14:xfrm>
              <a:off x="2581200" y="190440"/>
              <a:ext cx="3281760" cy="2115000"/>
            </p14:xfrm>
          </p:contentPart>
        </mc:Choice>
        <mc:Fallback xmlns="">
          <p:pic>
            <p:nvPicPr>
              <p:cNvPr id="2" name="Ink 1">
                <a:extLst>
                  <a:ext uri="{FF2B5EF4-FFF2-40B4-BE49-F238E27FC236}">
                    <a16:creationId xmlns:a16="http://schemas.microsoft.com/office/drawing/2014/main" id="{0828B5E3-E750-4B8B-8479-F399A5A7B460}"/>
                  </a:ext>
                </a:extLst>
              </p:cNvPr>
              <p:cNvPicPr/>
              <p:nvPr/>
            </p:nvPicPr>
            <p:blipFill>
              <a:blip r:embed="rId3"/>
              <a:stretch>
                <a:fillRect/>
              </a:stretch>
            </p:blipFill>
            <p:spPr>
              <a:xfrm>
                <a:off x="2571840" y="181080"/>
                <a:ext cx="3300480" cy="2133720"/>
              </a:xfrm>
              <a:prstGeom prst="rect">
                <a:avLst/>
              </a:prstGeom>
            </p:spPr>
          </p:pic>
        </mc:Fallback>
      </mc:AlternateContent>
    </p:spTree>
    <p:extLst>
      <p:ext uri="{BB962C8B-B14F-4D97-AF65-F5344CB8AC3E}">
        <p14:creationId xmlns:p14="http://schemas.microsoft.com/office/powerpoint/2010/main" val="3983213857"/>
      </p:ext>
    </p:extLst>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BCE88-F32A-46E6-B441-39E55F5DE739}"/>
              </a:ext>
            </a:extLst>
          </p:cNvPr>
          <p:cNvSpPr>
            <a:spLocks noGrp="1"/>
          </p:cNvSpPr>
          <p:nvPr>
            <p:ph type="title"/>
          </p:nvPr>
        </p:nvSpPr>
        <p:spPr>
          <a:xfrm>
            <a:off x="0" y="0"/>
            <a:ext cx="7955280" cy="640080"/>
          </a:xfrm>
        </p:spPr>
        <p:txBody>
          <a:bodyPr/>
          <a:lstStyle/>
          <a:p>
            <a:r>
              <a:rPr lang="en-US" dirty="0"/>
              <a:t>Conclusion : Mean, Median, Mode</a:t>
            </a:r>
          </a:p>
        </p:txBody>
      </p:sp>
      <p:sp>
        <p:nvSpPr>
          <p:cNvPr id="4" name="Content Placeholder 3">
            <a:extLst>
              <a:ext uri="{FF2B5EF4-FFF2-40B4-BE49-F238E27FC236}">
                <a16:creationId xmlns:a16="http://schemas.microsoft.com/office/drawing/2014/main" id="{0A4320CA-59D2-4476-A3FC-D912E3A0EBDE}"/>
              </a:ext>
            </a:extLst>
          </p:cNvPr>
          <p:cNvSpPr>
            <a:spLocks noGrp="1"/>
          </p:cNvSpPr>
          <p:nvPr>
            <p:ph sz="half" idx="1"/>
          </p:nvPr>
        </p:nvSpPr>
        <p:spPr>
          <a:xfrm>
            <a:off x="155657" y="744781"/>
            <a:ext cx="7955280" cy="3017520"/>
          </a:xfrm>
        </p:spPr>
        <p:txBody>
          <a:bodyPr>
            <a:normAutofit lnSpcReduction="10000"/>
          </a:bodyPr>
          <a:lstStyle/>
          <a:p>
            <a:r>
              <a:rPr lang="en-US" sz="2800" b="1" dirty="0">
                <a:solidFill>
                  <a:schemeClr val="bg2">
                    <a:lumMod val="50000"/>
                    <a:lumOff val="50000"/>
                  </a:schemeClr>
                </a:solidFill>
              </a:rPr>
              <a:t>A measure of central tendency is a measure that tells us where the middle of a bunch of data lies. The three most common measures of central tendency are the mean, the median, and the mode.</a:t>
            </a:r>
          </a:p>
          <a:p>
            <a:r>
              <a:rPr lang="en-US" sz="2800" b="1" dirty="0">
                <a:solidFill>
                  <a:schemeClr val="bg2">
                    <a:lumMod val="50000"/>
                    <a:lumOff val="50000"/>
                  </a:schemeClr>
                </a:solidFill>
              </a:rPr>
              <a:t>Use the one that best suits your data. Or better still use all three !</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7684C96B-8943-47AA-BBBF-F472FCF2CE93}"/>
                  </a:ext>
                </a:extLst>
              </p14:cNvPr>
              <p14:cNvContentPartPr/>
              <p14:nvPr/>
            </p14:nvContentPartPr>
            <p14:xfrm>
              <a:off x="385920" y="461880"/>
              <a:ext cx="8425080" cy="4057920"/>
            </p14:xfrm>
          </p:contentPart>
        </mc:Choice>
        <mc:Fallback xmlns="">
          <p:pic>
            <p:nvPicPr>
              <p:cNvPr id="2" name="Ink 1">
                <a:extLst>
                  <a:ext uri="{FF2B5EF4-FFF2-40B4-BE49-F238E27FC236}">
                    <a16:creationId xmlns:a16="http://schemas.microsoft.com/office/drawing/2014/main" id="{7684C96B-8943-47AA-BBBF-F472FCF2CE93}"/>
                  </a:ext>
                </a:extLst>
              </p:cNvPr>
              <p:cNvPicPr/>
              <p:nvPr/>
            </p:nvPicPr>
            <p:blipFill>
              <a:blip r:embed="rId3"/>
              <a:stretch>
                <a:fillRect/>
              </a:stretch>
            </p:blipFill>
            <p:spPr>
              <a:xfrm>
                <a:off x="376560" y="452520"/>
                <a:ext cx="8443800" cy="4076640"/>
              </a:xfrm>
              <a:prstGeom prst="rect">
                <a:avLst/>
              </a:prstGeom>
            </p:spPr>
          </p:pic>
        </mc:Fallback>
      </mc:AlternateContent>
    </p:spTree>
    <p:extLst>
      <p:ext uri="{BB962C8B-B14F-4D97-AF65-F5344CB8AC3E}">
        <p14:creationId xmlns:p14="http://schemas.microsoft.com/office/powerpoint/2010/main" val="142900990"/>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C462B2-9098-4F9E-B15A-40E3AA3A6352}"/>
              </a:ext>
            </a:extLst>
          </p:cNvPr>
          <p:cNvSpPr>
            <a:spLocks noGrp="1"/>
          </p:cNvSpPr>
          <p:nvPr>
            <p:ph type="title"/>
          </p:nvPr>
        </p:nvSpPr>
        <p:spPr>
          <a:xfrm>
            <a:off x="0" y="27981"/>
            <a:ext cx="7955280" cy="640080"/>
          </a:xfrm>
        </p:spPr>
        <p:txBody>
          <a:bodyPr/>
          <a:lstStyle/>
          <a:p>
            <a:r>
              <a:rPr lang="en-US" dirty="0"/>
              <a:t>The Mean from a Frequency Table</a:t>
            </a:r>
          </a:p>
        </p:txBody>
      </p:sp>
      <p:sp>
        <p:nvSpPr>
          <p:cNvPr id="4" name="Content Placeholder 3">
            <a:extLst>
              <a:ext uri="{FF2B5EF4-FFF2-40B4-BE49-F238E27FC236}">
                <a16:creationId xmlns:a16="http://schemas.microsoft.com/office/drawing/2014/main" id="{71B3E98E-0974-4A9D-8EB5-A9CB714EE14D}"/>
              </a:ext>
            </a:extLst>
          </p:cNvPr>
          <p:cNvSpPr>
            <a:spLocks noGrp="1"/>
          </p:cNvSpPr>
          <p:nvPr>
            <p:ph sz="half" idx="1"/>
          </p:nvPr>
        </p:nvSpPr>
        <p:spPr>
          <a:xfrm>
            <a:off x="48861" y="765783"/>
            <a:ext cx="6728867" cy="1251481"/>
          </a:xfrm>
        </p:spPr>
        <p:txBody>
          <a:bodyPr/>
          <a:lstStyle/>
          <a:p>
            <a:r>
              <a:rPr lang="en-US" dirty="0">
                <a:solidFill>
                  <a:schemeClr val="bg2">
                    <a:lumMod val="50000"/>
                    <a:lumOff val="50000"/>
                  </a:schemeClr>
                </a:solidFill>
                <a:latin typeface="Inter"/>
              </a:rPr>
              <a:t>It is easy to calculate Mean : Add up all the numbers, then divide by how many numbers there are. </a:t>
            </a:r>
          </a:p>
          <a:p>
            <a:pPr lvl="1"/>
            <a:r>
              <a:rPr lang="en-US" sz="1400" dirty="0">
                <a:solidFill>
                  <a:schemeClr val="bg2">
                    <a:lumMod val="50000"/>
                    <a:lumOff val="50000"/>
                  </a:schemeClr>
                </a:solidFill>
                <a:latin typeface="Inter"/>
              </a:rPr>
              <a:t>Ex : What is the Mean of these numbers?</a:t>
            </a:r>
          </a:p>
          <a:p>
            <a:pPr lvl="2"/>
            <a:r>
              <a:rPr lang="en-US" sz="1400" dirty="0">
                <a:solidFill>
                  <a:schemeClr val="bg2">
                    <a:lumMod val="50000"/>
                    <a:lumOff val="50000"/>
                  </a:schemeClr>
                </a:solidFill>
                <a:latin typeface="Inter"/>
              </a:rPr>
              <a:t>6, 11, 7</a:t>
            </a:r>
          </a:p>
          <a:p>
            <a:pPr lvl="2"/>
            <a:r>
              <a:rPr lang="en-US" sz="1400" dirty="0">
                <a:solidFill>
                  <a:schemeClr val="bg2">
                    <a:lumMod val="50000"/>
                    <a:lumOff val="50000"/>
                  </a:schemeClr>
                </a:solidFill>
                <a:latin typeface="Inter"/>
              </a:rPr>
              <a:t>Add the numbers &amp; Divide by 3 : (6 + 11 + 7) / 3. </a:t>
            </a:r>
            <a:r>
              <a:rPr lang="en-US" sz="1400" b="1" i="1" dirty="0">
                <a:solidFill>
                  <a:schemeClr val="bg2">
                    <a:lumMod val="50000"/>
                    <a:lumOff val="50000"/>
                  </a:schemeClr>
                </a:solidFill>
                <a:latin typeface="Inter"/>
              </a:rPr>
              <a:t>Mean is 8 </a:t>
            </a:r>
          </a:p>
          <a:p>
            <a:pPr lvl="2"/>
            <a:endParaRPr lang="en-US" sz="1400" b="1" i="1" dirty="0">
              <a:solidFill>
                <a:schemeClr val="bg2">
                  <a:lumMod val="50000"/>
                  <a:lumOff val="50000"/>
                </a:schemeClr>
              </a:solidFill>
              <a:latin typeface="Inter"/>
            </a:endParaRPr>
          </a:p>
          <a:p>
            <a:pPr lvl="2"/>
            <a:endParaRPr lang="en-US" sz="1400" b="1" i="1" dirty="0">
              <a:solidFill>
                <a:schemeClr val="bg2">
                  <a:lumMod val="50000"/>
                  <a:lumOff val="50000"/>
                </a:schemeClr>
              </a:solidFill>
              <a:latin typeface="Inter"/>
            </a:endParaRPr>
          </a:p>
        </p:txBody>
      </p:sp>
      <p:sp>
        <p:nvSpPr>
          <p:cNvPr id="7" name="TextBox 6">
            <a:extLst>
              <a:ext uri="{FF2B5EF4-FFF2-40B4-BE49-F238E27FC236}">
                <a16:creationId xmlns:a16="http://schemas.microsoft.com/office/drawing/2014/main" id="{CBFD15FC-B763-4689-A555-569FEEEBA5DC}"/>
              </a:ext>
            </a:extLst>
          </p:cNvPr>
          <p:cNvSpPr txBox="1"/>
          <p:nvPr/>
        </p:nvSpPr>
        <p:spPr>
          <a:xfrm>
            <a:off x="48860" y="2205512"/>
            <a:ext cx="6950779"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ut sometimes we don't have a simple list of numbers, it might be a </a:t>
            </a:r>
            <a:r>
              <a:rPr lang="en-US" sz="1400" b="1" dirty="0">
                <a:solidFill>
                  <a:schemeClr val="bg2">
                    <a:lumMod val="50000"/>
                    <a:lumOff val="50000"/>
                  </a:schemeClr>
                </a:solidFill>
                <a:latin typeface="Inter"/>
                <a:cs typeface="Arial" panose="020B0604020202020204" pitchFamily="34" charset="0"/>
              </a:rPr>
              <a:t>frequency table </a:t>
            </a:r>
            <a:r>
              <a:rPr lang="en-US" sz="1400" dirty="0">
                <a:solidFill>
                  <a:schemeClr val="bg2">
                    <a:lumMod val="50000"/>
                    <a:lumOff val="50000"/>
                  </a:schemeClr>
                </a:solidFill>
                <a:latin typeface="Inter"/>
                <a:cs typeface="Arial" panose="020B0604020202020204" pitchFamily="34" charset="0"/>
              </a:rPr>
              <a:t>like this (the "frequency" says how often they occur):</a:t>
            </a: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05C3B33C-63E7-4CA8-AE9F-A05162C62A6E}"/>
              </a:ext>
            </a:extLst>
          </p:cNvPr>
          <p:cNvPicPr>
            <a:picLocks noChangeAspect="1"/>
          </p:cNvPicPr>
          <p:nvPr/>
        </p:nvPicPr>
        <p:blipFill>
          <a:blip r:embed="rId2"/>
          <a:stretch>
            <a:fillRect/>
          </a:stretch>
        </p:blipFill>
        <p:spPr>
          <a:xfrm>
            <a:off x="6924311" y="1689362"/>
            <a:ext cx="2219689" cy="1878713"/>
          </a:xfrm>
          <a:prstGeom prst="rect">
            <a:avLst/>
          </a:prstGeom>
        </p:spPr>
      </p:pic>
      <p:sp>
        <p:nvSpPr>
          <p:cNvPr id="13" name="TextBox 12">
            <a:extLst>
              <a:ext uri="{FF2B5EF4-FFF2-40B4-BE49-F238E27FC236}">
                <a16:creationId xmlns:a16="http://schemas.microsoft.com/office/drawing/2014/main" id="{0A0536CE-DB43-41F4-904B-13D49F0C36A6}"/>
              </a:ext>
            </a:extLst>
          </p:cNvPr>
          <p:cNvSpPr txBox="1"/>
          <p:nvPr/>
        </p:nvSpPr>
        <p:spPr>
          <a:xfrm>
            <a:off x="160543" y="2916980"/>
            <a:ext cx="7063915"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rgbClr val="007DB8"/>
                </a:solidFill>
                <a:latin typeface="Arial" panose="020B0604020202020204" pitchFamily="34" charset="0"/>
                <a:cs typeface="Arial" panose="020B0604020202020204" pitchFamily="34" charset="0"/>
              </a:rPr>
              <a:t>Method 1 : </a:t>
            </a:r>
            <a:r>
              <a:rPr lang="en-US" sz="1800" b="1" dirty="0">
                <a:solidFill>
                  <a:schemeClr val="bg2">
                    <a:lumMod val="50000"/>
                    <a:lumOff val="50000"/>
                  </a:schemeClr>
                </a:solidFill>
                <a:latin typeface="Arial" panose="020B0604020202020204" pitchFamily="34" charset="0"/>
                <a:cs typeface="Arial" panose="020B0604020202020204" pitchFamily="34" charset="0"/>
              </a:rPr>
              <a:t>We can list all the numbers</a:t>
            </a: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33B7FFDE-C6F7-4358-9BB6-C15C4252D3B7}"/>
                  </a:ext>
                </a:extLst>
              </p14:cNvPr>
              <p14:cNvContentPartPr/>
              <p14:nvPr/>
            </p14:nvContentPartPr>
            <p14:xfrm>
              <a:off x="366840" y="4680"/>
              <a:ext cx="7939440" cy="4710600"/>
            </p14:xfrm>
          </p:contentPart>
        </mc:Choice>
        <mc:Fallback xmlns="">
          <p:pic>
            <p:nvPicPr>
              <p:cNvPr id="2" name="Ink 1">
                <a:extLst>
                  <a:ext uri="{FF2B5EF4-FFF2-40B4-BE49-F238E27FC236}">
                    <a16:creationId xmlns:a16="http://schemas.microsoft.com/office/drawing/2014/main" id="{33B7FFDE-C6F7-4358-9BB6-C15C4252D3B7}"/>
                  </a:ext>
                </a:extLst>
              </p:cNvPr>
              <p:cNvPicPr/>
              <p:nvPr/>
            </p:nvPicPr>
            <p:blipFill>
              <a:blip r:embed="rId4"/>
              <a:stretch>
                <a:fillRect/>
              </a:stretch>
            </p:blipFill>
            <p:spPr>
              <a:xfrm>
                <a:off x="357480" y="-4680"/>
                <a:ext cx="7958160" cy="4729320"/>
              </a:xfrm>
              <a:prstGeom prst="rect">
                <a:avLst/>
              </a:prstGeom>
            </p:spPr>
          </p:pic>
        </mc:Fallback>
      </mc:AlternateContent>
    </p:spTree>
    <p:extLst>
      <p:ext uri="{BB962C8B-B14F-4D97-AF65-F5344CB8AC3E}">
        <p14:creationId xmlns:p14="http://schemas.microsoft.com/office/powerpoint/2010/main" val="4077311094"/>
      </p:ext>
    </p:extLst>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47FCC-648D-405D-B74C-DC5AA1A2FA39}"/>
              </a:ext>
            </a:extLst>
          </p:cNvPr>
          <p:cNvSpPr>
            <a:spLocks noGrp="1"/>
          </p:cNvSpPr>
          <p:nvPr>
            <p:ph type="title"/>
          </p:nvPr>
        </p:nvSpPr>
        <p:spPr>
          <a:xfrm>
            <a:off x="0" y="0"/>
            <a:ext cx="7955280" cy="640080"/>
          </a:xfrm>
        </p:spPr>
        <p:txBody>
          <a:bodyPr/>
          <a:lstStyle/>
          <a:p>
            <a:r>
              <a:rPr lang="en-US" dirty="0"/>
              <a:t>The Mean from a Frequency Table - </a:t>
            </a:r>
            <a:r>
              <a:rPr lang="en-US" b="1" dirty="0">
                <a:solidFill>
                  <a:schemeClr val="bg2">
                    <a:lumMod val="50000"/>
                    <a:lumOff val="50000"/>
                  </a:schemeClr>
                </a:solidFill>
              </a:rPr>
              <a:t>Continued</a:t>
            </a:r>
          </a:p>
        </p:txBody>
      </p:sp>
      <p:sp>
        <p:nvSpPr>
          <p:cNvPr id="5" name="Content Placeholder 4">
            <a:extLst>
              <a:ext uri="{FF2B5EF4-FFF2-40B4-BE49-F238E27FC236}">
                <a16:creationId xmlns:a16="http://schemas.microsoft.com/office/drawing/2014/main" id="{CF1C8607-03FF-4056-8357-79E38FF403FC}"/>
              </a:ext>
            </a:extLst>
          </p:cNvPr>
          <p:cNvSpPr txBox="1">
            <a:spLocks noGrp="1"/>
          </p:cNvSpPr>
          <p:nvPr>
            <p:ph sz="half" idx="1"/>
          </p:nvPr>
        </p:nvSpPr>
        <p:spPr>
          <a:xfrm>
            <a:off x="121305" y="697773"/>
            <a:ext cx="7954963" cy="276999"/>
          </a:xfrm>
          <a:prstGeom prst="rect">
            <a:avLst/>
          </a:prstGeom>
          <a:noFill/>
        </p:spPr>
        <p:txBody>
          <a:bodyPr wrap="square" rtlCol="0">
            <a:spAutoFit/>
          </a:bodyPr>
          <a:lstStyle/>
          <a:p>
            <a:pPr marL="0" indent="0">
              <a:spcBef>
                <a:spcPts val="0"/>
              </a:spcBef>
              <a:spcAft>
                <a:spcPts val="0"/>
              </a:spcAft>
              <a:buClr>
                <a:schemeClr val="bg1"/>
              </a:buClr>
              <a:buNone/>
            </a:pPr>
            <a:r>
              <a:rPr lang="en-US" sz="1800" b="1" dirty="0">
                <a:solidFill>
                  <a:srgbClr val="007DB8"/>
                </a:solidFill>
                <a:latin typeface="Arial" panose="020B0604020202020204" pitchFamily="34" charset="0"/>
                <a:cs typeface="Arial" panose="020B0604020202020204" pitchFamily="34" charset="0"/>
              </a:rPr>
              <a:t>Method </a:t>
            </a:r>
            <a:r>
              <a:rPr lang="en-US" sz="1800" b="1" dirty="0">
                <a:solidFill>
                  <a:srgbClr val="007DB8"/>
                </a:solidFill>
              </a:rPr>
              <a:t>2</a:t>
            </a:r>
            <a:r>
              <a:rPr lang="en-US" sz="1800" b="1" dirty="0">
                <a:solidFill>
                  <a:srgbClr val="007DB8"/>
                </a:solidFill>
                <a:latin typeface="Arial" panose="020B0604020202020204" pitchFamily="34" charset="0"/>
                <a:cs typeface="Arial" panose="020B0604020202020204" pitchFamily="34" charset="0"/>
              </a:rPr>
              <a:t> : </a:t>
            </a:r>
            <a:r>
              <a:rPr lang="en-US" sz="1800" b="1" dirty="0">
                <a:solidFill>
                  <a:schemeClr val="bg2">
                    <a:lumMod val="50000"/>
                    <a:lumOff val="50000"/>
                  </a:schemeClr>
                </a:solidFill>
              </a:rPr>
              <a:t>It is easier to use multiplication: </a:t>
            </a:r>
            <a:endParaRPr lang="en-US" sz="1800" b="1" dirty="0">
              <a:solidFill>
                <a:schemeClr val="bg2">
                  <a:lumMod val="50000"/>
                  <a:lumOff val="50000"/>
                </a:scheme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D12F7D83-572C-4B8E-B64D-C75A5FADBC65}"/>
              </a:ext>
            </a:extLst>
          </p:cNvPr>
          <p:cNvPicPr>
            <a:picLocks noChangeAspect="1"/>
          </p:cNvPicPr>
          <p:nvPr/>
        </p:nvPicPr>
        <p:blipFill>
          <a:blip r:embed="rId2"/>
          <a:stretch>
            <a:fillRect/>
          </a:stretch>
        </p:blipFill>
        <p:spPr>
          <a:xfrm>
            <a:off x="6845435" y="751822"/>
            <a:ext cx="2219689" cy="1878713"/>
          </a:xfrm>
          <a:prstGeom prst="rect">
            <a:avLst/>
          </a:prstGeom>
        </p:spPr>
      </p:pic>
      <p:pic>
        <p:nvPicPr>
          <p:cNvPr id="8" name="Picture 7">
            <a:extLst>
              <a:ext uri="{FF2B5EF4-FFF2-40B4-BE49-F238E27FC236}">
                <a16:creationId xmlns:a16="http://schemas.microsoft.com/office/drawing/2014/main" id="{C513CFDB-808F-4A44-B1A6-71130FF08E65}"/>
              </a:ext>
            </a:extLst>
          </p:cNvPr>
          <p:cNvPicPr>
            <a:picLocks noChangeAspect="1"/>
          </p:cNvPicPr>
          <p:nvPr/>
        </p:nvPicPr>
        <p:blipFill>
          <a:blip r:embed="rId3"/>
          <a:stretch>
            <a:fillRect/>
          </a:stretch>
        </p:blipFill>
        <p:spPr>
          <a:xfrm>
            <a:off x="1719262" y="3832562"/>
            <a:ext cx="3431381" cy="1039474"/>
          </a:xfrm>
          <a:prstGeom prst="rect">
            <a:avLst/>
          </a:prstGeom>
        </p:spPr>
      </p:pic>
      <p:sp>
        <p:nvSpPr>
          <p:cNvPr id="9" name="TextBox 8">
            <a:extLst>
              <a:ext uri="{FF2B5EF4-FFF2-40B4-BE49-F238E27FC236}">
                <a16:creationId xmlns:a16="http://schemas.microsoft.com/office/drawing/2014/main" id="{45E930DC-77C7-4B7D-8DBE-B633640ED210}"/>
              </a:ext>
            </a:extLst>
          </p:cNvPr>
          <p:cNvSpPr txBox="1"/>
          <p:nvPr/>
        </p:nvSpPr>
        <p:spPr>
          <a:xfrm>
            <a:off x="309769" y="4167633"/>
            <a:ext cx="1336020"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Notation : </a:t>
            </a:r>
            <a:endParaRPr lang="en-US" sz="1400" b="1" dirty="0">
              <a:solidFill>
                <a:schemeClr val="accent1"/>
              </a:solidFill>
              <a:latin typeface="+mn-lt"/>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7B78826B-2AB2-445C-91F3-F77272FC7428}"/>
                  </a:ext>
                </a:extLst>
              </p14:cNvPr>
              <p14:cNvContentPartPr/>
              <p14:nvPr/>
            </p14:nvContentPartPr>
            <p14:xfrm>
              <a:off x="1338120" y="1162080"/>
              <a:ext cx="7801560" cy="3576960"/>
            </p14:xfrm>
          </p:contentPart>
        </mc:Choice>
        <mc:Fallback xmlns="">
          <p:pic>
            <p:nvPicPr>
              <p:cNvPr id="2" name="Ink 1">
                <a:extLst>
                  <a:ext uri="{FF2B5EF4-FFF2-40B4-BE49-F238E27FC236}">
                    <a16:creationId xmlns:a16="http://schemas.microsoft.com/office/drawing/2014/main" id="{7B78826B-2AB2-445C-91F3-F77272FC7428}"/>
                  </a:ext>
                </a:extLst>
              </p:cNvPr>
              <p:cNvPicPr/>
              <p:nvPr/>
            </p:nvPicPr>
            <p:blipFill>
              <a:blip r:embed="rId5"/>
              <a:stretch>
                <a:fillRect/>
              </a:stretch>
            </p:blipFill>
            <p:spPr>
              <a:xfrm>
                <a:off x="1328760" y="1152720"/>
                <a:ext cx="7820280" cy="359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9B5A94DA-EECB-4AD6-871B-EC237D9B2AAF}"/>
                  </a:ext>
                </a:extLst>
              </p14:cNvPr>
              <p14:cNvContentPartPr/>
              <p14:nvPr/>
            </p14:nvContentPartPr>
            <p14:xfrm>
              <a:off x="4591080" y="538200"/>
              <a:ext cx="3615120" cy="1848240"/>
            </p14:xfrm>
          </p:contentPart>
        </mc:Choice>
        <mc:Fallback>
          <p:pic>
            <p:nvPicPr>
              <p:cNvPr id="4" name="Ink 3">
                <a:extLst>
                  <a:ext uri="{FF2B5EF4-FFF2-40B4-BE49-F238E27FC236}">
                    <a16:creationId xmlns:a16="http://schemas.microsoft.com/office/drawing/2014/main" id="{9B5A94DA-EECB-4AD6-871B-EC237D9B2AAF}"/>
                  </a:ext>
                </a:extLst>
              </p:cNvPr>
              <p:cNvPicPr/>
              <p:nvPr/>
            </p:nvPicPr>
            <p:blipFill>
              <a:blip r:embed="rId7"/>
              <a:stretch>
                <a:fillRect/>
              </a:stretch>
            </p:blipFill>
            <p:spPr>
              <a:xfrm>
                <a:off x="4581720" y="528840"/>
                <a:ext cx="3633840" cy="1866960"/>
              </a:xfrm>
              <a:prstGeom prst="rect">
                <a:avLst/>
              </a:prstGeom>
            </p:spPr>
          </p:pic>
        </mc:Fallback>
      </mc:AlternateContent>
    </p:spTree>
    <p:extLst>
      <p:ext uri="{BB962C8B-B14F-4D97-AF65-F5344CB8AC3E}">
        <p14:creationId xmlns:p14="http://schemas.microsoft.com/office/powerpoint/2010/main" val="1490276767"/>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F4E04-8B25-441E-9B3E-D8CC37F76D72}"/>
              </a:ext>
            </a:extLst>
          </p:cNvPr>
          <p:cNvSpPr>
            <a:spLocks noGrp="1"/>
          </p:cNvSpPr>
          <p:nvPr>
            <p:ph type="title"/>
          </p:nvPr>
        </p:nvSpPr>
        <p:spPr>
          <a:xfrm>
            <a:off x="0" y="62480"/>
            <a:ext cx="7955280" cy="640080"/>
          </a:xfrm>
        </p:spPr>
        <p:txBody>
          <a:bodyPr/>
          <a:lstStyle/>
          <a:p>
            <a:r>
              <a:rPr lang="en-US" dirty="0"/>
              <a:t>Another example of Mean from a Freq Table</a:t>
            </a:r>
          </a:p>
        </p:txBody>
      </p:sp>
      <p:sp>
        <p:nvSpPr>
          <p:cNvPr id="4" name="Content Placeholder 3">
            <a:extLst>
              <a:ext uri="{FF2B5EF4-FFF2-40B4-BE49-F238E27FC236}">
                <a16:creationId xmlns:a16="http://schemas.microsoft.com/office/drawing/2014/main" id="{29F6A6DF-D96F-4002-BBEA-EFA3FFF52633}"/>
              </a:ext>
            </a:extLst>
          </p:cNvPr>
          <p:cNvSpPr>
            <a:spLocks noGrp="1"/>
          </p:cNvSpPr>
          <p:nvPr>
            <p:ph sz="half" idx="1"/>
          </p:nvPr>
        </p:nvSpPr>
        <p:spPr>
          <a:xfrm>
            <a:off x="85856" y="821564"/>
            <a:ext cx="7955280" cy="3017520"/>
          </a:xfrm>
        </p:spPr>
        <p:txBody>
          <a:bodyPr/>
          <a:lstStyle/>
          <a:p>
            <a:pPr marL="0" indent="0">
              <a:buNone/>
            </a:pPr>
            <a:r>
              <a:rPr lang="en-US" dirty="0">
                <a:solidFill>
                  <a:schemeClr val="bg2">
                    <a:lumMod val="50000"/>
                    <a:lumOff val="50000"/>
                  </a:schemeClr>
                </a:solidFill>
                <a:latin typeface="Inter"/>
              </a:rPr>
              <a:t>Isabella went up and down the street to find out how many parking spaces each house has. Here are her results:</a:t>
            </a:r>
          </a:p>
          <a:p>
            <a:endParaRPr lang="en-US" dirty="0">
              <a:solidFill>
                <a:srgbClr val="333333"/>
              </a:solidFill>
              <a:latin typeface="Verdana" panose="020B0604030504040204" pitchFamily="34" charset="0"/>
            </a:endParaRPr>
          </a:p>
          <a:p>
            <a:pPr marL="0" indent="0">
              <a:buNone/>
            </a:pPr>
            <a:r>
              <a:rPr lang="en-US" dirty="0">
                <a:solidFill>
                  <a:schemeClr val="bg2">
                    <a:lumMod val="50000"/>
                    <a:lumOff val="50000"/>
                  </a:schemeClr>
                </a:solidFill>
                <a:latin typeface="Inter"/>
              </a:rPr>
              <a:t>What is the mean number of Parking Spaces?</a:t>
            </a:r>
          </a:p>
        </p:txBody>
      </p:sp>
      <p:pic>
        <p:nvPicPr>
          <p:cNvPr id="6" name="Picture 5">
            <a:extLst>
              <a:ext uri="{FF2B5EF4-FFF2-40B4-BE49-F238E27FC236}">
                <a16:creationId xmlns:a16="http://schemas.microsoft.com/office/drawing/2014/main" id="{56085063-4095-4C3B-B988-BF3C9872C324}"/>
              </a:ext>
            </a:extLst>
          </p:cNvPr>
          <p:cNvPicPr>
            <a:picLocks noChangeAspect="1"/>
          </p:cNvPicPr>
          <p:nvPr/>
        </p:nvPicPr>
        <p:blipFill>
          <a:blip r:embed="rId2"/>
          <a:stretch>
            <a:fillRect/>
          </a:stretch>
        </p:blipFill>
        <p:spPr>
          <a:xfrm>
            <a:off x="6878768" y="1114905"/>
            <a:ext cx="2179375" cy="1732997"/>
          </a:xfrm>
          <a:prstGeom prst="rect">
            <a:avLst/>
          </a:prstGeom>
        </p:spPr>
      </p:pic>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CC537CBC-E885-420B-870F-A84720773BCD}"/>
                  </a:ext>
                </a:extLst>
              </p14:cNvPr>
              <p14:cNvContentPartPr/>
              <p14:nvPr/>
            </p14:nvContentPartPr>
            <p14:xfrm>
              <a:off x="223920" y="795240"/>
              <a:ext cx="8687160" cy="2986560"/>
            </p14:xfrm>
          </p:contentPart>
        </mc:Choice>
        <mc:Fallback xmlns="">
          <p:pic>
            <p:nvPicPr>
              <p:cNvPr id="2" name="Ink 1">
                <a:extLst>
                  <a:ext uri="{FF2B5EF4-FFF2-40B4-BE49-F238E27FC236}">
                    <a16:creationId xmlns:a16="http://schemas.microsoft.com/office/drawing/2014/main" id="{CC537CBC-E885-420B-870F-A84720773BCD}"/>
                  </a:ext>
                </a:extLst>
              </p:cNvPr>
              <p:cNvPicPr/>
              <p:nvPr/>
            </p:nvPicPr>
            <p:blipFill>
              <a:blip r:embed="rId4"/>
              <a:stretch>
                <a:fillRect/>
              </a:stretch>
            </p:blipFill>
            <p:spPr>
              <a:xfrm>
                <a:off x="214560" y="785880"/>
                <a:ext cx="8705880" cy="3005280"/>
              </a:xfrm>
              <a:prstGeom prst="rect">
                <a:avLst/>
              </a:prstGeom>
            </p:spPr>
          </p:pic>
        </mc:Fallback>
      </mc:AlternateContent>
    </p:spTree>
    <p:extLst>
      <p:ext uri="{BB962C8B-B14F-4D97-AF65-F5344CB8AC3E}">
        <p14:creationId xmlns:p14="http://schemas.microsoft.com/office/powerpoint/2010/main" val="832144514"/>
      </p:ext>
    </p:extLst>
  </p:cSld>
  <p:clrMapOvr>
    <a:masterClrMapping/>
  </p:clrMapOvr>
  <p:transition spd="med">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8465CC-6FD4-40D5-ABD5-0BE485707A80}"/>
              </a:ext>
            </a:extLst>
          </p:cNvPr>
          <p:cNvSpPr>
            <a:spLocks noGrp="1"/>
          </p:cNvSpPr>
          <p:nvPr>
            <p:ph type="title"/>
          </p:nvPr>
        </p:nvSpPr>
        <p:spPr>
          <a:xfrm>
            <a:off x="0"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51F75A8C-3E42-4490-9BF3-6D0824C8CED9}"/>
              </a:ext>
            </a:extLst>
          </p:cNvPr>
          <p:cNvSpPr>
            <a:spLocks noGrp="1"/>
          </p:cNvSpPr>
          <p:nvPr>
            <p:ph sz="half" idx="1"/>
          </p:nvPr>
        </p:nvSpPr>
        <p:spPr>
          <a:xfrm>
            <a:off x="0" y="779086"/>
            <a:ext cx="7754950" cy="3771377"/>
          </a:xfrm>
        </p:spPr>
        <p:txBody>
          <a:bodyPr/>
          <a:lstStyle/>
          <a:p>
            <a:pPr algn="l"/>
            <a:r>
              <a:rPr lang="en-US" dirty="0">
                <a:solidFill>
                  <a:schemeClr val="bg2">
                    <a:lumMod val="50000"/>
                    <a:lumOff val="50000"/>
                  </a:schemeClr>
                </a:solidFill>
                <a:latin typeface="Inter"/>
              </a:rPr>
              <a:t>When we do a simple </a:t>
            </a:r>
            <a:r>
              <a:rPr lang="en-US" dirty="0">
                <a:solidFill>
                  <a:schemeClr val="bg2">
                    <a:lumMod val="50000"/>
                    <a:lumOff val="50000"/>
                  </a:schemeClr>
                </a:solidFill>
                <a:latin typeface="Inter"/>
                <a:hlinkClick r:id="rId2">
                  <a:extLst>
                    <a:ext uri="{A12FA001-AC4F-418D-AE19-62706E023703}">
                      <ahyp:hlinkClr xmlns:ahyp="http://schemas.microsoft.com/office/drawing/2018/hyperlinkcolor" val="tx"/>
                    </a:ext>
                  </a:extLst>
                </a:hlinkClick>
              </a:rPr>
              <a:t>mean</a:t>
            </a:r>
            <a:r>
              <a:rPr lang="en-US" dirty="0">
                <a:solidFill>
                  <a:schemeClr val="bg2">
                    <a:lumMod val="50000"/>
                    <a:lumOff val="50000"/>
                  </a:schemeClr>
                </a:solidFill>
                <a:latin typeface="Inter"/>
              </a:rPr>
              <a:t> (or average), we give equal weight to each number.</a:t>
            </a:r>
          </a:p>
          <a:p>
            <a:pPr algn="l"/>
            <a:r>
              <a:rPr lang="en-US" dirty="0">
                <a:solidFill>
                  <a:schemeClr val="bg2">
                    <a:lumMod val="50000"/>
                    <a:lumOff val="50000"/>
                  </a:schemeClr>
                </a:solidFill>
                <a:latin typeface="Inter"/>
              </a:rPr>
              <a:t>What is the mean of 1, 2, 3 and 4 ? </a:t>
            </a:r>
          </a:p>
          <a:p>
            <a:endParaRPr lang="en-US" dirty="0"/>
          </a:p>
        </p:txBody>
      </p:sp>
      <p:pic>
        <p:nvPicPr>
          <p:cNvPr id="6" name="Picture 5">
            <a:extLst>
              <a:ext uri="{FF2B5EF4-FFF2-40B4-BE49-F238E27FC236}">
                <a16:creationId xmlns:a16="http://schemas.microsoft.com/office/drawing/2014/main" id="{37AAEF72-07AA-4AF0-B6D5-AC806A1EAAEA}"/>
              </a:ext>
            </a:extLst>
          </p:cNvPr>
          <p:cNvPicPr>
            <a:picLocks noChangeAspect="1"/>
          </p:cNvPicPr>
          <p:nvPr/>
        </p:nvPicPr>
        <p:blipFill>
          <a:blip r:embed="rId3"/>
          <a:stretch>
            <a:fillRect/>
          </a:stretch>
        </p:blipFill>
        <p:spPr>
          <a:xfrm>
            <a:off x="7586231" y="779086"/>
            <a:ext cx="1557769" cy="107763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8B2C858F-AA62-4F36-B4AC-4D049E163C01}"/>
                  </a:ext>
                </a:extLst>
              </p14:cNvPr>
              <p14:cNvContentPartPr/>
              <p14:nvPr/>
            </p14:nvContentPartPr>
            <p14:xfrm>
              <a:off x="85680" y="104760"/>
              <a:ext cx="8777520" cy="4862880"/>
            </p14:xfrm>
          </p:contentPart>
        </mc:Choice>
        <mc:Fallback xmlns="">
          <p:pic>
            <p:nvPicPr>
              <p:cNvPr id="2" name="Ink 1">
                <a:extLst>
                  <a:ext uri="{FF2B5EF4-FFF2-40B4-BE49-F238E27FC236}">
                    <a16:creationId xmlns:a16="http://schemas.microsoft.com/office/drawing/2014/main" id="{8B2C858F-AA62-4F36-B4AC-4D049E163C01}"/>
                  </a:ext>
                </a:extLst>
              </p:cNvPr>
              <p:cNvPicPr/>
              <p:nvPr/>
            </p:nvPicPr>
            <p:blipFill>
              <a:blip r:embed="rId5"/>
              <a:stretch>
                <a:fillRect/>
              </a:stretch>
            </p:blipFill>
            <p:spPr>
              <a:xfrm>
                <a:off x="76320" y="95400"/>
                <a:ext cx="8796240" cy="48816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Ink 4">
                <a:extLst>
                  <a:ext uri="{FF2B5EF4-FFF2-40B4-BE49-F238E27FC236}">
                    <a16:creationId xmlns:a16="http://schemas.microsoft.com/office/drawing/2014/main" id="{9334584B-2D91-46EF-A105-AC75F6D330ED}"/>
                  </a:ext>
                </a:extLst>
              </p14:cNvPr>
              <p14:cNvContentPartPr/>
              <p14:nvPr/>
            </p14:nvContentPartPr>
            <p14:xfrm>
              <a:off x="4896000" y="338040"/>
              <a:ext cx="3905640" cy="3115080"/>
            </p14:xfrm>
          </p:contentPart>
        </mc:Choice>
        <mc:Fallback>
          <p:pic>
            <p:nvPicPr>
              <p:cNvPr id="5" name="Ink 4">
                <a:extLst>
                  <a:ext uri="{FF2B5EF4-FFF2-40B4-BE49-F238E27FC236}">
                    <a16:creationId xmlns:a16="http://schemas.microsoft.com/office/drawing/2014/main" id="{9334584B-2D91-46EF-A105-AC75F6D330ED}"/>
                  </a:ext>
                </a:extLst>
              </p:cNvPr>
              <p:cNvPicPr/>
              <p:nvPr/>
            </p:nvPicPr>
            <p:blipFill>
              <a:blip r:embed="rId7"/>
              <a:stretch>
                <a:fillRect/>
              </a:stretch>
            </p:blipFill>
            <p:spPr>
              <a:xfrm>
                <a:off x="4886640" y="328680"/>
                <a:ext cx="3924360" cy="3133800"/>
              </a:xfrm>
              <a:prstGeom prst="rect">
                <a:avLst/>
              </a:prstGeom>
            </p:spPr>
          </p:pic>
        </mc:Fallback>
      </mc:AlternateContent>
    </p:spTree>
    <p:extLst>
      <p:ext uri="{BB962C8B-B14F-4D97-AF65-F5344CB8AC3E}">
        <p14:creationId xmlns:p14="http://schemas.microsoft.com/office/powerpoint/2010/main" val="42168664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07897-F972-49B5-A559-CC66DAECA555}"/>
              </a:ext>
            </a:extLst>
          </p:cNvPr>
          <p:cNvSpPr>
            <a:spLocks noGrp="1"/>
          </p:cNvSpPr>
          <p:nvPr>
            <p:ph type="title"/>
          </p:nvPr>
        </p:nvSpPr>
        <p:spPr>
          <a:xfrm>
            <a:off x="71894"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8B99626D-700C-462B-8E1D-46027AF50B0A}"/>
              </a:ext>
            </a:extLst>
          </p:cNvPr>
          <p:cNvSpPr>
            <a:spLocks noGrp="1"/>
          </p:cNvSpPr>
          <p:nvPr>
            <p:ph sz="half" idx="1"/>
          </p:nvPr>
        </p:nvSpPr>
        <p:spPr>
          <a:xfrm>
            <a:off x="71894" y="758742"/>
            <a:ext cx="8255428" cy="3017520"/>
          </a:xfrm>
        </p:spPr>
        <p:txBody>
          <a:bodyPr/>
          <a:lstStyle/>
          <a:p>
            <a:r>
              <a:rPr lang="en-US" dirty="0">
                <a:solidFill>
                  <a:schemeClr val="bg2">
                    <a:lumMod val="50000"/>
                    <a:lumOff val="50000"/>
                  </a:schemeClr>
                </a:solidFill>
                <a:latin typeface="Inter"/>
              </a:rPr>
              <a:t>Now let's change the weight of 3 to 0.7, and the weights of the other numbers to 0.1 </a:t>
            </a:r>
            <a:r>
              <a:rPr lang="en-US" sz="1800" b="1" dirty="0">
                <a:solidFill>
                  <a:schemeClr val="bg2">
                    <a:lumMod val="50000"/>
                    <a:lumOff val="50000"/>
                  </a:schemeClr>
                </a:solidFill>
                <a:latin typeface="Inter"/>
              </a:rPr>
              <a:t>so the total of the weights is still 1:</a:t>
            </a:r>
            <a:endParaRPr lang="en-US" b="1" dirty="0">
              <a:solidFill>
                <a:schemeClr val="bg2">
                  <a:lumMod val="50000"/>
                  <a:lumOff val="50000"/>
                </a:schemeClr>
              </a:solidFill>
              <a:latin typeface="Inter"/>
            </a:endParaRPr>
          </a:p>
        </p:txBody>
      </p:sp>
      <p:pic>
        <p:nvPicPr>
          <p:cNvPr id="6" name="Picture 5">
            <a:extLst>
              <a:ext uri="{FF2B5EF4-FFF2-40B4-BE49-F238E27FC236}">
                <a16:creationId xmlns:a16="http://schemas.microsoft.com/office/drawing/2014/main" id="{0A5A856D-0F57-43ED-9EC3-EAA12B3858F9}"/>
              </a:ext>
            </a:extLst>
          </p:cNvPr>
          <p:cNvPicPr>
            <a:picLocks noChangeAspect="1"/>
          </p:cNvPicPr>
          <p:nvPr/>
        </p:nvPicPr>
        <p:blipFill>
          <a:blip r:embed="rId2"/>
          <a:stretch>
            <a:fillRect/>
          </a:stretch>
        </p:blipFill>
        <p:spPr>
          <a:xfrm>
            <a:off x="7217079" y="1356077"/>
            <a:ext cx="1926921" cy="1589548"/>
          </a:xfrm>
          <a:prstGeom prst="rect">
            <a:avLst/>
          </a:prstGeom>
        </p:spPr>
      </p:pic>
      <p:sp>
        <p:nvSpPr>
          <p:cNvPr id="7" name="TextBox 6">
            <a:extLst>
              <a:ext uri="{FF2B5EF4-FFF2-40B4-BE49-F238E27FC236}">
                <a16:creationId xmlns:a16="http://schemas.microsoft.com/office/drawing/2014/main" id="{586C4650-B4D2-4078-9665-6627666C6CB4}"/>
              </a:ext>
            </a:extLst>
          </p:cNvPr>
          <p:cNvSpPr txBox="1"/>
          <p:nvPr/>
        </p:nvSpPr>
        <p:spPr>
          <a:xfrm>
            <a:off x="1383115" y="4481258"/>
            <a:ext cx="5332837"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When should I use Weighted mean ? </a:t>
            </a:r>
          </a:p>
        </p:txBody>
      </p:sp>
      <p:pic>
        <p:nvPicPr>
          <p:cNvPr id="9" name="Picture 8">
            <a:extLst>
              <a:ext uri="{FF2B5EF4-FFF2-40B4-BE49-F238E27FC236}">
                <a16:creationId xmlns:a16="http://schemas.microsoft.com/office/drawing/2014/main" id="{515CA4EC-C0A9-4FF0-B09F-3C87F72A000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500359" y="4054287"/>
            <a:ext cx="1716720" cy="1015010"/>
          </a:xfrm>
          <a:prstGeom prst="rect">
            <a:avLst/>
          </a:prstGeom>
        </p:spPr>
      </p:pic>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B217ACEC-1E94-49D4-8367-7DAD3973966E}"/>
                  </a:ext>
                </a:extLst>
              </p14:cNvPr>
              <p14:cNvContentPartPr/>
              <p14:nvPr/>
            </p14:nvContentPartPr>
            <p14:xfrm>
              <a:off x="590400" y="1257120"/>
              <a:ext cx="7677720" cy="3724920"/>
            </p14:xfrm>
          </p:contentPart>
        </mc:Choice>
        <mc:Fallback xmlns="">
          <p:pic>
            <p:nvPicPr>
              <p:cNvPr id="2" name="Ink 1">
                <a:extLst>
                  <a:ext uri="{FF2B5EF4-FFF2-40B4-BE49-F238E27FC236}">
                    <a16:creationId xmlns:a16="http://schemas.microsoft.com/office/drawing/2014/main" id="{B217ACEC-1E94-49D4-8367-7DAD3973966E}"/>
                  </a:ext>
                </a:extLst>
              </p:cNvPr>
              <p:cNvPicPr/>
              <p:nvPr/>
            </p:nvPicPr>
            <p:blipFill>
              <a:blip r:embed="rId6"/>
              <a:stretch>
                <a:fillRect/>
              </a:stretch>
            </p:blipFill>
            <p:spPr>
              <a:xfrm>
                <a:off x="581040" y="1247760"/>
                <a:ext cx="7696440" cy="374364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5" name="Ink 4">
                <a:extLst>
                  <a:ext uri="{FF2B5EF4-FFF2-40B4-BE49-F238E27FC236}">
                    <a16:creationId xmlns:a16="http://schemas.microsoft.com/office/drawing/2014/main" id="{40181A34-DD86-43D3-9A99-37499CAADE63}"/>
                  </a:ext>
                </a:extLst>
              </p14:cNvPr>
              <p14:cNvContentPartPr/>
              <p14:nvPr/>
            </p14:nvContentPartPr>
            <p14:xfrm>
              <a:off x="2176560" y="123840"/>
              <a:ext cx="4634280" cy="3343680"/>
            </p14:xfrm>
          </p:contentPart>
        </mc:Choice>
        <mc:Fallback>
          <p:pic>
            <p:nvPicPr>
              <p:cNvPr id="5" name="Ink 4">
                <a:extLst>
                  <a:ext uri="{FF2B5EF4-FFF2-40B4-BE49-F238E27FC236}">
                    <a16:creationId xmlns:a16="http://schemas.microsoft.com/office/drawing/2014/main" id="{40181A34-DD86-43D3-9A99-37499CAADE63}"/>
                  </a:ext>
                </a:extLst>
              </p:cNvPr>
              <p:cNvPicPr/>
              <p:nvPr/>
            </p:nvPicPr>
            <p:blipFill>
              <a:blip r:embed="rId8"/>
              <a:stretch>
                <a:fillRect/>
              </a:stretch>
            </p:blipFill>
            <p:spPr>
              <a:xfrm>
                <a:off x="2167200" y="114480"/>
                <a:ext cx="4653000" cy="3362400"/>
              </a:xfrm>
              <a:prstGeom prst="rect">
                <a:avLst/>
              </a:prstGeom>
            </p:spPr>
          </p:pic>
        </mc:Fallback>
      </mc:AlternateContent>
    </p:spTree>
    <p:extLst>
      <p:ext uri="{BB962C8B-B14F-4D97-AF65-F5344CB8AC3E}">
        <p14:creationId xmlns:p14="http://schemas.microsoft.com/office/powerpoint/2010/main" val="3603259149"/>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1911" y="174424"/>
            <a:ext cx="1465548" cy="977032"/>
          </a:xfrm>
          <a:prstGeom prst="rect">
            <a:avLst/>
          </a:prstGeom>
        </p:spPr>
      </p:pic>
    </p:spTree>
    <p:extLst>
      <p:ext uri="{BB962C8B-B14F-4D97-AF65-F5344CB8AC3E}">
        <p14:creationId xmlns:p14="http://schemas.microsoft.com/office/powerpoint/2010/main" val="2976966562"/>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8170F-5441-4F00-8D1A-03BC63DB25FC}"/>
              </a:ext>
            </a:extLst>
          </p:cNvPr>
          <p:cNvSpPr>
            <a:spLocks noGrp="1"/>
          </p:cNvSpPr>
          <p:nvPr>
            <p:ph type="title"/>
          </p:nvPr>
        </p:nvSpPr>
        <p:spPr>
          <a:xfrm>
            <a:off x="0" y="0"/>
            <a:ext cx="7955280" cy="640080"/>
          </a:xfrm>
        </p:spPr>
        <p:txBody>
          <a:bodyPr/>
          <a:lstStyle/>
          <a:p>
            <a:r>
              <a:rPr lang="en-US" dirty="0"/>
              <a:t>Weighted Mean – Example </a:t>
            </a:r>
          </a:p>
        </p:txBody>
      </p:sp>
      <p:pic>
        <p:nvPicPr>
          <p:cNvPr id="6" name="Content Placeholder 5" descr="A camera on a tripod&#10;&#10;Description automatically generated">
            <a:extLst>
              <a:ext uri="{FF2B5EF4-FFF2-40B4-BE49-F238E27FC236}">
                <a16:creationId xmlns:a16="http://schemas.microsoft.com/office/drawing/2014/main" id="{5FA604C4-BA58-4823-9F14-A808A90C361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28594" y="1281936"/>
            <a:ext cx="2631645" cy="2026655"/>
          </a:xfrm>
        </p:spPr>
      </p:pic>
      <p:sp>
        <p:nvSpPr>
          <p:cNvPr id="7" name="TextBox 6">
            <a:extLst>
              <a:ext uri="{FF2B5EF4-FFF2-40B4-BE49-F238E27FC236}">
                <a16:creationId xmlns:a16="http://schemas.microsoft.com/office/drawing/2014/main" id="{9BE58714-D8FF-4A6D-B0FC-0DB2E076BB69}"/>
              </a:ext>
            </a:extLst>
          </p:cNvPr>
          <p:cNvSpPr txBox="1"/>
          <p:nvPr/>
        </p:nvSpPr>
        <p:spPr>
          <a:xfrm>
            <a:off x="0" y="640080"/>
            <a:ext cx="6428594" cy="215443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eighted means can help with decisions where some things are more important than other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Question : </a:t>
            </a:r>
            <a:r>
              <a:rPr lang="en-US" sz="1400" dirty="0">
                <a:solidFill>
                  <a:schemeClr val="bg2">
                    <a:lumMod val="50000"/>
                    <a:lumOff val="50000"/>
                  </a:schemeClr>
                </a:solidFill>
                <a:latin typeface="Inter"/>
                <a:cs typeface="Arial" panose="020B0604020202020204" pitchFamily="34" charset="0"/>
              </a:rPr>
              <a:t>Mike wants to buy a new camera, and decides on the following rating system:</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Image Quality </a:t>
            </a:r>
            <a:r>
              <a:rPr lang="en-US" sz="1400" b="1" dirty="0">
                <a:solidFill>
                  <a:schemeClr val="bg2">
                    <a:lumMod val="50000"/>
                    <a:lumOff val="50000"/>
                  </a:schemeClr>
                </a:solidFill>
                <a:latin typeface="Inter"/>
                <a:cs typeface="Arial" panose="020B0604020202020204" pitchFamily="34" charset="0"/>
              </a:rPr>
              <a:t>5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attery Life     </a:t>
            </a:r>
            <a:r>
              <a:rPr lang="en-US" sz="1400" b="1" dirty="0">
                <a:solidFill>
                  <a:schemeClr val="bg2">
                    <a:lumMod val="50000"/>
                    <a:lumOff val="50000"/>
                  </a:schemeClr>
                </a:solidFill>
                <a:latin typeface="Inter"/>
                <a:cs typeface="Arial" panose="020B0604020202020204" pitchFamily="34" charset="0"/>
              </a:rPr>
              <a:t>3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Zoom Range   </a:t>
            </a:r>
            <a:r>
              <a:rPr lang="en-US" sz="1400" b="1" dirty="0">
                <a:solidFill>
                  <a:schemeClr val="bg2">
                    <a:lumMod val="50000"/>
                    <a:lumOff val="50000"/>
                  </a:schemeClr>
                </a:solidFill>
                <a:latin typeface="Inter"/>
                <a:cs typeface="Arial" panose="020B0604020202020204" pitchFamily="34" charset="0"/>
              </a:rPr>
              <a:t>20%</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5745B832-0CDF-4DAD-872E-0858578F4D40}"/>
                  </a:ext>
                </a:extLst>
              </p14:cNvPr>
              <p14:cNvContentPartPr/>
              <p14:nvPr/>
            </p14:nvContentPartPr>
            <p14:xfrm>
              <a:off x="281160" y="328680"/>
              <a:ext cx="8482320" cy="4610520"/>
            </p14:xfrm>
          </p:contentPart>
        </mc:Choice>
        <mc:Fallback xmlns="">
          <p:pic>
            <p:nvPicPr>
              <p:cNvPr id="2" name="Ink 1">
                <a:extLst>
                  <a:ext uri="{FF2B5EF4-FFF2-40B4-BE49-F238E27FC236}">
                    <a16:creationId xmlns:a16="http://schemas.microsoft.com/office/drawing/2014/main" id="{5745B832-0CDF-4DAD-872E-0858578F4D40}"/>
                  </a:ext>
                </a:extLst>
              </p:cNvPr>
              <p:cNvPicPr/>
              <p:nvPr/>
            </p:nvPicPr>
            <p:blipFill>
              <a:blip r:embed="rId5"/>
              <a:stretch>
                <a:fillRect/>
              </a:stretch>
            </p:blipFill>
            <p:spPr>
              <a:xfrm>
                <a:off x="271800" y="319320"/>
                <a:ext cx="8501040" cy="4629240"/>
              </a:xfrm>
              <a:prstGeom prst="rect">
                <a:avLst/>
              </a:prstGeom>
            </p:spPr>
          </p:pic>
        </mc:Fallback>
      </mc:AlternateContent>
    </p:spTree>
    <p:extLst>
      <p:ext uri="{BB962C8B-B14F-4D97-AF65-F5344CB8AC3E}">
        <p14:creationId xmlns:p14="http://schemas.microsoft.com/office/powerpoint/2010/main" val="2701245991"/>
      </p:ext>
    </p:extLst>
  </p:cSld>
  <p:clrMapOvr>
    <a:masterClrMapping/>
  </p:clrMapOvr>
  <p:transition spd="med">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78E4DC-81E1-4BC8-9DB3-611736E8964A}"/>
              </a:ext>
            </a:extLst>
          </p:cNvPr>
          <p:cNvSpPr>
            <a:spLocks noGrp="1"/>
          </p:cNvSpPr>
          <p:nvPr>
            <p:ph type="title"/>
          </p:nvPr>
        </p:nvSpPr>
        <p:spPr>
          <a:xfrm>
            <a:off x="302240" y="232918"/>
            <a:ext cx="7955280" cy="640080"/>
          </a:xfrm>
        </p:spPr>
        <p:txBody>
          <a:bodyPr/>
          <a:lstStyle/>
          <a:p>
            <a:r>
              <a:rPr lang="en-US" dirty="0"/>
              <a:t>What if the weights don’t add to 1 ?</a:t>
            </a:r>
          </a:p>
        </p:txBody>
      </p:sp>
      <p:pic>
        <p:nvPicPr>
          <p:cNvPr id="6" name="Content Placeholder 5" descr="A yellow hat with black text&#10;&#10;Description automatically generated with low confidence">
            <a:extLst>
              <a:ext uri="{FF2B5EF4-FFF2-40B4-BE49-F238E27FC236}">
                <a16:creationId xmlns:a16="http://schemas.microsoft.com/office/drawing/2014/main" id="{B1B54872-4DCF-42B3-BC9A-C2750AC2AF5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56173" y="90401"/>
            <a:ext cx="921701" cy="925115"/>
          </a:xfrm>
        </p:spPr>
      </p:pic>
      <p:sp>
        <p:nvSpPr>
          <p:cNvPr id="2" name="TextBox 1">
            <a:extLst>
              <a:ext uri="{FF2B5EF4-FFF2-40B4-BE49-F238E27FC236}">
                <a16:creationId xmlns:a16="http://schemas.microsoft.com/office/drawing/2014/main" id="{AE6428D7-E78E-45E0-A9C6-6B3B8B9B4A7E}"/>
              </a:ext>
            </a:extLst>
          </p:cNvPr>
          <p:cNvSpPr txBox="1"/>
          <p:nvPr/>
        </p:nvSpPr>
        <p:spPr>
          <a:xfrm>
            <a:off x="181484" y="1015515"/>
            <a:ext cx="6728867" cy="30623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en the weights don't add to 1, divide by the sum of weights.</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Example: Adrian usually eats lunch 7 times a week, but some weeks only gets 1, 2, or 5 lunch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lgn="l"/>
            <a:r>
              <a:rPr lang="en-US" sz="1400" dirty="0">
                <a:solidFill>
                  <a:schemeClr val="bg2">
                    <a:lumMod val="50000"/>
                    <a:lumOff val="50000"/>
                  </a:schemeClr>
                </a:solidFill>
                <a:latin typeface="Inter"/>
                <a:cs typeface="Arial" panose="020B0604020202020204" pitchFamily="34" charset="0"/>
              </a:rPr>
              <a:t>Alex had lunch:</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2 weeks: only one lunch for the whole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14 weeks: 2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8 weeks: 5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32 weeks: 7 lunches each week</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at is the mean number of lunches Alex having each week?</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0AC85E4E-0685-42AA-90C2-F8767939EB23}"/>
                  </a:ext>
                </a:extLst>
              </p14:cNvPr>
              <p14:cNvContentPartPr/>
              <p14:nvPr/>
            </p14:nvContentPartPr>
            <p14:xfrm>
              <a:off x="7067520" y="804960"/>
              <a:ext cx="2067480" cy="4334040"/>
            </p14:xfrm>
          </p:contentPart>
        </mc:Choice>
        <mc:Fallback xmlns="">
          <p:pic>
            <p:nvPicPr>
              <p:cNvPr id="4" name="Ink 3">
                <a:extLst>
                  <a:ext uri="{FF2B5EF4-FFF2-40B4-BE49-F238E27FC236}">
                    <a16:creationId xmlns:a16="http://schemas.microsoft.com/office/drawing/2014/main" id="{0AC85E4E-0685-42AA-90C2-F8767939EB23}"/>
                  </a:ext>
                </a:extLst>
              </p:cNvPr>
              <p:cNvPicPr/>
              <p:nvPr/>
            </p:nvPicPr>
            <p:blipFill>
              <a:blip r:embed="rId5"/>
              <a:stretch>
                <a:fillRect/>
              </a:stretch>
            </p:blipFill>
            <p:spPr>
              <a:xfrm>
                <a:off x="7058160" y="795600"/>
                <a:ext cx="2086200" cy="43527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Ink 4">
                <a:extLst>
                  <a:ext uri="{FF2B5EF4-FFF2-40B4-BE49-F238E27FC236}">
                    <a16:creationId xmlns:a16="http://schemas.microsoft.com/office/drawing/2014/main" id="{E31F3D7E-6695-4ECF-BE53-E5A64D1A03BC}"/>
                  </a:ext>
                </a:extLst>
              </p14:cNvPr>
              <p14:cNvContentPartPr/>
              <p14:nvPr/>
            </p14:nvContentPartPr>
            <p14:xfrm>
              <a:off x="233280" y="695160"/>
              <a:ext cx="7877520" cy="3972600"/>
            </p14:xfrm>
          </p:contentPart>
        </mc:Choice>
        <mc:Fallback>
          <p:pic>
            <p:nvPicPr>
              <p:cNvPr id="5" name="Ink 4">
                <a:extLst>
                  <a:ext uri="{FF2B5EF4-FFF2-40B4-BE49-F238E27FC236}">
                    <a16:creationId xmlns:a16="http://schemas.microsoft.com/office/drawing/2014/main" id="{E31F3D7E-6695-4ECF-BE53-E5A64D1A03BC}"/>
                  </a:ext>
                </a:extLst>
              </p:cNvPr>
              <p:cNvPicPr/>
              <p:nvPr/>
            </p:nvPicPr>
            <p:blipFill>
              <a:blip r:embed="rId7"/>
              <a:stretch>
                <a:fillRect/>
              </a:stretch>
            </p:blipFill>
            <p:spPr>
              <a:xfrm>
                <a:off x="223920" y="685800"/>
                <a:ext cx="7896240" cy="3991320"/>
              </a:xfrm>
              <a:prstGeom prst="rect">
                <a:avLst/>
              </a:prstGeom>
            </p:spPr>
          </p:pic>
        </mc:Fallback>
      </mc:AlternateContent>
    </p:spTree>
    <p:extLst>
      <p:ext uri="{BB962C8B-B14F-4D97-AF65-F5344CB8AC3E}">
        <p14:creationId xmlns:p14="http://schemas.microsoft.com/office/powerpoint/2010/main" val="1541171692"/>
      </p:ext>
    </p:extLst>
  </p:cSld>
  <p:clrMapOvr>
    <a:masterClrMapping/>
  </p:clrMapOvr>
  <p:transition spd="med">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463494-2B80-433F-975F-08D7A84349CD}"/>
              </a:ext>
            </a:extLst>
          </p:cNvPr>
          <p:cNvSpPr>
            <a:spLocks noGrp="1"/>
          </p:cNvSpPr>
          <p:nvPr>
            <p:ph type="title"/>
          </p:nvPr>
        </p:nvSpPr>
        <p:spPr>
          <a:xfrm>
            <a:off x="0" y="83421"/>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4EB52728-6157-4065-A402-BCEDE421A612}"/>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41269" y="0"/>
            <a:ext cx="1688223" cy="998162"/>
          </a:xfrm>
        </p:spPr>
      </p:pic>
      <p:sp>
        <p:nvSpPr>
          <p:cNvPr id="8" name="TextBox 7">
            <a:extLst>
              <a:ext uri="{FF2B5EF4-FFF2-40B4-BE49-F238E27FC236}">
                <a16:creationId xmlns:a16="http://schemas.microsoft.com/office/drawing/2014/main" id="{9B2D573D-0295-44A9-AEDB-1A984B1AD36C}"/>
              </a:ext>
            </a:extLst>
          </p:cNvPr>
          <p:cNvSpPr txBox="1"/>
          <p:nvPr/>
        </p:nvSpPr>
        <p:spPr>
          <a:xfrm>
            <a:off x="104702" y="1081583"/>
            <a:ext cx="6428594" cy="1338828"/>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dirty="0">
                <a:solidFill>
                  <a:schemeClr val="bg2">
                    <a:lumMod val="50000"/>
                    <a:lumOff val="50000"/>
                  </a:schemeClr>
                </a:solidFill>
                <a:latin typeface="Inter"/>
                <a:cs typeface="Arial" panose="020B0604020202020204" pitchFamily="34" charset="0"/>
              </a:rPr>
              <a:t>Use “Weeks” as the weighting</a:t>
            </a: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Solution : </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4E664255-7746-4696-9615-CC824F9301BD}"/>
              </a:ext>
            </a:extLst>
          </p:cNvPr>
          <p:cNvPicPr>
            <a:picLocks noChangeAspect="1"/>
          </p:cNvPicPr>
          <p:nvPr/>
        </p:nvPicPr>
        <p:blipFill>
          <a:blip r:embed="rId4"/>
          <a:stretch>
            <a:fillRect/>
          </a:stretch>
        </p:blipFill>
        <p:spPr>
          <a:xfrm>
            <a:off x="5752099" y="3070904"/>
            <a:ext cx="3233429" cy="1619759"/>
          </a:xfrm>
          <a:prstGeom prst="rect">
            <a:avLst/>
          </a:prstGeom>
        </p:spPr>
      </p:pic>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D2340ECD-9639-4923-B4E2-1BE9802A0A37}"/>
                  </a:ext>
                </a:extLst>
              </p14:cNvPr>
              <p14:cNvContentPartPr/>
              <p14:nvPr/>
            </p14:nvContentPartPr>
            <p14:xfrm>
              <a:off x="2328840" y="2238480"/>
              <a:ext cx="6739200" cy="2795760"/>
            </p14:xfrm>
          </p:contentPart>
        </mc:Choice>
        <mc:Fallback>
          <p:pic>
            <p:nvPicPr>
              <p:cNvPr id="2" name="Ink 1">
                <a:extLst>
                  <a:ext uri="{FF2B5EF4-FFF2-40B4-BE49-F238E27FC236}">
                    <a16:creationId xmlns:a16="http://schemas.microsoft.com/office/drawing/2014/main" id="{D2340ECD-9639-4923-B4E2-1BE9802A0A37}"/>
                  </a:ext>
                </a:extLst>
              </p:cNvPr>
              <p:cNvPicPr/>
              <p:nvPr/>
            </p:nvPicPr>
            <p:blipFill>
              <a:blip r:embed="rId6"/>
              <a:stretch>
                <a:fillRect/>
              </a:stretch>
            </p:blipFill>
            <p:spPr>
              <a:xfrm>
                <a:off x="2319480" y="2229120"/>
                <a:ext cx="6757920" cy="2814480"/>
              </a:xfrm>
              <a:prstGeom prst="rect">
                <a:avLst/>
              </a:prstGeom>
            </p:spPr>
          </p:pic>
        </mc:Fallback>
      </mc:AlternateContent>
    </p:spTree>
    <p:extLst>
      <p:ext uri="{BB962C8B-B14F-4D97-AF65-F5344CB8AC3E}">
        <p14:creationId xmlns:p14="http://schemas.microsoft.com/office/powerpoint/2010/main" val="2216126519"/>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D7890-7B45-4CAF-9C2B-2740282A16C3}"/>
              </a:ext>
            </a:extLst>
          </p:cNvPr>
          <p:cNvSpPr>
            <a:spLocks noGrp="1"/>
          </p:cNvSpPr>
          <p:nvPr>
            <p:ph type="title"/>
          </p:nvPr>
        </p:nvSpPr>
        <p:spPr>
          <a:xfrm>
            <a:off x="0" y="27981"/>
            <a:ext cx="7955280" cy="640080"/>
          </a:xfrm>
        </p:spPr>
        <p:txBody>
          <a:bodyPr/>
          <a:lstStyle/>
          <a:p>
            <a:r>
              <a:rPr lang="en-US" dirty="0"/>
              <a:t>What if the weights don’t add to 1 ?</a:t>
            </a:r>
          </a:p>
        </p:txBody>
      </p:sp>
      <p:sp>
        <p:nvSpPr>
          <p:cNvPr id="4" name="Content Placeholder 3">
            <a:extLst>
              <a:ext uri="{FF2B5EF4-FFF2-40B4-BE49-F238E27FC236}">
                <a16:creationId xmlns:a16="http://schemas.microsoft.com/office/drawing/2014/main" id="{C00C7600-583F-4D5F-8694-F5771CA467EA}"/>
              </a:ext>
            </a:extLst>
          </p:cNvPr>
          <p:cNvSpPr>
            <a:spLocks noGrp="1"/>
          </p:cNvSpPr>
          <p:nvPr>
            <p:ph sz="half" idx="1"/>
          </p:nvPr>
        </p:nvSpPr>
        <p:spPr>
          <a:xfrm>
            <a:off x="99816" y="856465"/>
            <a:ext cx="7955280" cy="3017520"/>
          </a:xfrm>
        </p:spPr>
        <p:txBody>
          <a:bodyPr/>
          <a:lstStyle/>
          <a:p>
            <a:r>
              <a:rPr lang="en-US" sz="2000" kern="1200" dirty="0">
                <a:solidFill>
                  <a:schemeClr val="bg2">
                    <a:lumMod val="50000"/>
                    <a:lumOff val="50000"/>
                  </a:schemeClr>
                </a:solidFill>
                <a:latin typeface="Inter"/>
                <a:ea typeface="+mn-ea"/>
              </a:rPr>
              <a:t>But it is often better to use a table to make sure you have all the numbers correct:</a:t>
            </a:r>
          </a:p>
          <a:p>
            <a:pPr marL="0" indent="0" algn="l">
              <a:buNone/>
            </a:pPr>
            <a:r>
              <a:rPr lang="en-US" sz="2000" b="1" kern="1200" dirty="0">
                <a:solidFill>
                  <a:schemeClr val="bg2">
                    <a:lumMod val="50000"/>
                    <a:lumOff val="50000"/>
                  </a:schemeClr>
                </a:solidFill>
                <a:latin typeface="Inter"/>
                <a:ea typeface="+mn-ea"/>
              </a:rPr>
              <a:t>Example (continued):</a:t>
            </a:r>
          </a:p>
          <a:p>
            <a:pPr algn="l"/>
            <a:r>
              <a:rPr lang="en-US" sz="2000" kern="1200" dirty="0">
                <a:solidFill>
                  <a:schemeClr val="bg2">
                    <a:lumMod val="50000"/>
                    <a:lumOff val="50000"/>
                  </a:schemeClr>
                </a:solidFill>
                <a:latin typeface="Inter"/>
                <a:ea typeface="+mn-ea"/>
              </a:rPr>
              <a:t>Let's use:</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for the number of weeks (the weight)</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for lunches (the value we want the mean of)</a:t>
            </a:r>
          </a:p>
          <a:p>
            <a:pPr algn="l"/>
            <a:r>
              <a:rPr lang="en-US" sz="2000" kern="1200" dirty="0">
                <a:solidFill>
                  <a:schemeClr val="bg2">
                    <a:lumMod val="50000"/>
                    <a:lumOff val="50000"/>
                  </a:schemeClr>
                </a:solidFill>
                <a:latin typeface="Inter"/>
                <a:ea typeface="+mn-ea"/>
              </a:rPr>
              <a:t>Multiply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by </a:t>
            </a: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sum up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and sum up </a:t>
            </a:r>
            <a:r>
              <a:rPr lang="en-US" sz="2000" b="1" kern="1200" dirty="0" err="1">
                <a:solidFill>
                  <a:schemeClr val="bg2">
                    <a:lumMod val="50000"/>
                    <a:lumOff val="50000"/>
                  </a:schemeClr>
                </a:solidFill>
                <a:latin typeface="Inter"/>
                <a:ea typeface="+mn-ea"/>
              </a:rPr>
              <a:t>wx</a:t>
            </a:r>
            <a:endParaRPr lang="en-US" sz="2000" kern="1200" dirty="0">
              <a:solidFill>
                <a:schemeClr val="bg2">
                  <a:lumMod val="50000"/>
                  <a:lumOff val="50000"/>
                </a:schemeClr>
              </a:solidFill>
              <a:latin typeface="Inter"/>
              <a:ea typeface="+mn-ea"/>
            </a:endParaRPr>
          </a:p>
          <a:p>
            <a:pPr marL="0" indent="0">
              <a:buNone/>
            </a:pPr>
            <a:endParaRPr lang="en-US" dirty="0"/>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8E844E4F-3E42-40D2-B6B6-515DDE3B16E2}"/>
                  </a:ext>
                </a:extLst>
              </p14:cNvPr>
              <p14:cNvContentPartPr/>
              <p14:nvPr/>
            </p14:nvContentPartPr>
            <p14:xfrm>
              <a:off x="324000" y="1104840"/>
              <a:ext cx="5781960" cy="2767320"/>
            </p14:xfrm>
          </p:contentPart>
        </mc:Choice>
        <mc:Fallback>
          <p:pic>
            <p:nvPicPr>
              <p:cNvPr id="2" name="Ink 1">
                <a:extLst>
                  <a:ext uri="{FF2B5EF4-FFF2-40B4-BE49-F238E27FC236}">
                    <a16:creationId xmlns:a16="http://schemas.microsoft.com/office/drawing/2014/main" id="{8E844E4F-3E42-40D2-B6B6-515DDE3B16E2}"/>
                  </a:ext>
                </a:extLst>
              </p:cNvPr>
              <p:cNvPicPr/>
              <p:nvPr/>
            </p:nvPicPr>
            <p:blipFill>
              <a:blip r:embed="rId3"/>
              <a:stretch>
                <a:fillRect/>
              </a:stretch>
            </p:blipFill>
            <p:spPr>
              <a:xfrm>
                <a:off x="314640" y="1095480"/>
                <a:ext cx="5800680" cy="2786040"/>
              </a:xfrm>
              <a:prstGeom prst="rect">
                <a:avLst/>
              </a:prstGeom>
            </p:spPr>
          </p:pic>
        </mc:Fallback>
      </mc:AlternateContent>
    </p:spTree>
    <p:extLst>
      <p:ext uri="{BB962C8B-B14F-4D97-AF65-F5344CB8AC3E}">
        <p14:creationId xmlns:p14="http://schemas.microsoft.com/office/powerpoint/2010/main" val="2167338885"/>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02489-34AB-4B78-A9F8-548C875B7302}"/>
              </a:ext>
            </a:extLst>
          </p:cNvPr>
          <p:cNvSpPr>
            <a:spLocks noGrp="1"/>
          </p:cNvSpPr>
          <p:nvPr>
            <p:ph type="title"/>
          </p:nvPr>
        </p:nvSpPr>
        <p:spPr>
          <a:xfrm>
            <a:off x="0" y="0"/>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D782ECDC-620D-4681-B615-F5287CCEE213}"/>
              </a:ext>
            </a:extLst>
          </p:cNvPr>
          <p:cNvPicPr>
            <a:picLocks noGrp="1" noChangeAspect="1"/>
          </p:cNvPicPr>
          <p:nvPr>
            <p:ph sz="half" idx="1"/>
          </p:nvPr>
        </p:nvPicPr>
        <p:blipFill>
          <a:blip r:embed="rId2"/>
          <a:stretch>
            <a:fillRect/>
          </a:stretch>
        </p:blipFill>
        <p:spPr>
          <a:xfrm>
            <a:off x="369948" y="755247"/>
            <a:ext cx="3395776" cy="2463603"/>
          </a:xfrm>
        </p:spPr>
      </p:pic>
      <p:sp>
        <p:nvSpPr>
          <p:cNvPr id="7" name="TextBox 6">
            <a:extLst>
              <a:ext uri="{FF2B5EF4-FFF2-40B4-BE49-F238E27FC236}">
                <a16:creationId xmlns:a16="http://schemas.microsoft.com/office/drawing/2014/main" id="{D6C86B2D-9211-4100-BBC8-0EF99C9983B8}"/>
              </a:ext>
            </a:extLst>
          </p:cNvPr>
          <p:cNvSpPr txBox="1"/>
          <p:nvPr/>
        </p:nvSpPr>
        <p:spPr>
          <a:xfrm>
            <a:off x="4213395" y="808998"/>
            <a:ext cx="420466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Divide </a:t>
            </a:r>
            <a:r>
              <a:rPr lang="el-GR" sz="1100" b="1" i="0" dirty="0">
                <a:solidFill>
                  <a:srgbClr val="333333"/>
                </a:solidFill>
                <a:effectLst/>
                <a:latin typeface="Verdana" panose="020B0604030504040204" pitchFamily="34" charset="0"/>
              </a:rPr>
              <a:t>Σ</a:t>
            </a:r>
            <a:r>
              <a:rPr lang="en-US" sz="1100" b="1" i="0" dirty="0" err="1">
                <a:solidFill>
                  <a:srgbClr val="333333"/>
                </a:solidFill>
                <a:effectLst/>
                <a:latin typeface="Verdana" panose="020B0604030504040204" pitchFamily="34" charset="0"/>
              </a:rPr>
              <a:t>wx</a:t>
            </a:r>
            <a:r>
              <a:rPr lang="en-US" sz="1100" b="0" i="0" dirty="0">
                <a:solidFill>
                  <a:srgbClr val="333333"/>
                </a:solidFill>
                <a:effectLst/>
                <a:latin typeface="Verdana" panose="020B0604030504040204" pitchFamily="34" charset="0"/>
              </a:rPr>
              <a:t> by </a:t>
            </a:r>
            <a:r>
              <a:rPr lang="el-GR" sz="1100" b="1" i="0" dirty="0">
                <a:solidFill>
                  <a:srgbClr val="333333"/>
                </a:solidFill>
                <a:effectLst/>
                <a:latin typeface="Verdana" panose="020B0604030504040204" pitchFamily="34" charset="0"/>
              </a:rPr>
              <a:t>Σ</a:t>
            </a:r>
            <a:r>
              <a:rPr lang="en-US" sz="1100" b="1" i="0" dirty="0">
                <a:solidFill>
                  <a:srgbClr val="333333"/>
                </a:solidFill>
                <a:effectLst/>
                <a:latin typeface="Verdana" panose="020B0604030504040204" pitchFamily="34" charset="0"/>
              </a:rPr>
              <a:t>w</a:t>
            </a:r>
            <a:r>
              <a:rPr lang="en-US" sz="1100" b="0" i="0" dirty="0">
                <a:solidFill>
                  <a:srgbClr val="333333"/>
                </a:solidFill>
                <a:effectLst/>
                <a:latin typeface="Verdana" panose="020B0604030504040204" pitchFamily="34" charset="0"/>
              </a:rPr>
              <a:t>:</a:t>
            </a:r>
            <a:endParaRPr lang="en-US" sz="1400"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6FC24906-052A-4808-8F12-9D6C937E3B08}"/>
                  </a:ext>
                </a:extLst>
              </p14:cNvPr>
              <p14:cNvContentPartPr/>
              <p14:nvPr/>
            </p14:nvContentPartPr>
            <p14:xfrm>
              <a:off x="6024600" y="1728720"/>
              <a:ext cx="447840" cy="262440"/>
            </p14:xfrm>
          </p:contentPart>
        </mc:Choice>
        <mc:Fallback>
          <p:pic>
            <p:nvPicPr>
              <p:cNvPr id="2" name="Ink 1">
                <a:extLst>
                  <a:ext uri="{FF2B5EF4-FFF2-40B4-BE49-F238E27FC236}">
                    <a16:creationId xmlns:a16="http://schemas.microsoft.com/office/drawing/2014/main" id="{6FC24906-052A-4808-8F12-9D6C937E3B08}"/>
                  </a:ext>
                </a:extLst>
              </p:cNvPr>
              <p:cNvPicPr/>
              <p:nvPr/>
            </p:nvPicPr>
            <p:blipFill>
              <a:blip r:embed="rId4"/>
              <a:stretch>
                <a:fillRect/>
              </a:stretch>
            </p:blipFill>
            <p:spPr>
              <a:xfrm>
                <a:off x="6015240" y="1719360"/>
                <a:ext cx="466560" cy="281160"/>
              </a:xfrm>
              <a:prstGeom prst="rect">
                <a:avLst/>
              </a:prstGeom>
            </p:spPr>
          </p:pic>
        </mc:Fallback>
      </mc:AlternateContent>
    </p:spTree>
    <p:extLst>
      <p:ext uri="{BB962C8B-B14F-4D97-AF65-F5344CB8AC3E}">
        <p14:creationId xmlns:p14="http://schemas.microsoft.com/office/powerpoint/2010/main" val="2987937793"/>
      </p:ext>
    </p:extLst>
  </p:cSld>
  <p:clrMapOvr>
    <a:masterClrMapping/>
  </p:clrMapOvr>
  <p:transition spd="med">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8A6EC3-9EEB-4520-A0E7-3537EBC315EA}"/>
              </a:ext>
            </a:extLst>
          </p:cNvPr>
          <p:cNvSpPr>
            <a:spLocks noGrp="1"/>
          </p:cNvSpPr>
          <p:nvPr>
            <p:ph type="title"/>
          </p:nvPr>
        </p:nvSpPr>
        <p:spPr>
          <a:xfrm>
            <a:off x="0" y="0"/>
            <a:ext cx="7955280" cy="640080"/>
          </a:xfrm>
        </p:spPr>
        <p:txBody>
          <a:bodyPr/>
          <a:lstStyle/>
          <a:p>
            <a:r>
              <a:rPr lang="en-US" dirty="0"/>
              <a:t>Weighted Mean : Summary</a:t>
            </a:r>
          </a:p>
        </p:txBody>
      </p:sp>
      <p:sp>
        <p:nvSpPr>
          <p:cNvPr id="4" name="Content Placeholder 3">
            <a:extLst>
              <a:ext uri="{FF2B5EF4-FFF2-40B4-BE49-F238E27FC236}">
                <a16:creationId xmlns:a16="http://schemas.microsoft.com/office/drawing/2014/main" id="{CF701619-2E8D-4182-BCFA-D371984D8E07}"/>
              </a:ext>
            </a:extLst>
          </p:cNvPr>
          <p:cNvSpPr>
            <a:spLocks noGrp="1"/>
          </p:cNvSpPr>
          <p:nvPr>
            <p:ph sz="half" idx="1"/>
          </p:nvPr>
        </p:nvSpPr>
        <p:spPr>
          <a:xfrm>
            <a:off x="62822" y="711976"/>
            <a:ext cx="8229600" cy="4020568"/>
          </a:xfrm>
        </p:spPr>
        <p:txBody>
          <a:bodyPr>
            <a:normAutofit/>
          </a:bodyPr>
          <a:lstStyle/>
          <a:p>
            <a:pPr>
              <a:buFont typeface="Arial" panose="020B0604020202020204" pitchFamily="34" charset="0"/>
              <a:buChar char="•"/>
            </a:pPr>
            <a:r>
              <a:rPr lang="en-US" sz="2400" b="1" kern="1200" dirty="0">
                <a:solidFill>
                  <a:schemeClr val="bg2">
                    <a:lumMod val="50000"/>
                    <a:lumOff val="50000"/>
                  </a:schemeClr>
                </a:solidFill>
                <a:latin typeface="Inter"/>
                <a:ea typeface="+mn-ea"/>
              </a:rPr>
              <a:t>Weighted Mean: </a:t>
            </a:r>
            <a:r>
              <a:rPr lang="en-US" sz="2400" kern="1200" dirty="0">
                <a:solidFill>
                  <a:schemeClr val="bg2">
                    <a:lumMod val="50000"/>
                    <a:lumOff val="50000"/>
                  </a:schemeClr>
                </a:solidFill>
                <a:latin typeface="Inter"/>
                <a:ea typeface="+mn-ea"/>
              </a:rPr>
              <a:t>A mean where some values contribute more than others.</a:t>
            </a:r>
          </a:p>
          <a:p>
            <a:pPr>
              <a:buFont typeface="Arial" panose="020B0604020202020204" pitchFamily="34" charset="0"/>
              <a:buChar char="•"/>
            </a:pPr>
            <a:r>
              <a:rPr lang="en-US" sz="2400" kern="1200" dirty="0">
                <a:solidFill>
                  <a:schemeClr val="bg2">
                    <a:lumMod val="50000"/>
                    <a:lumOff val="50000"/>
                  </a:schemeClr>
                </a:solidFill>
                <a:latin typeface="Inter"/>
                <a:ea typeface="+mn-ea"/>
              </a:rPr>
              <a:t>When the weights add to 1: just multiply each weight by the matching value and sum it all up</a:t>
            </a:r>
          </a:p>
          <a:p>
            <a:pPr>
              <a:buFont typeface="Arial" panose="020B0604020202020204" pitchFamily="34" charset="0"/>
              <a:buChar char="•"/>
            </a:pPr>
            <a:r>
              <a:rPr lang="en-US" sz="2400" kern="1200" dirty="0">
                <a:solidFill>
                  <a:schemeClr val="bg2">
                    <a:lumMod val="50000"/>
                    <a:lumOff val="50000"/>
                  </a:schemeClr>
                </a:solidFill>
                <a:latin typeface="Inter"/>
                <a:ea typeface="+mn-ea"/>
              </a:rPr>
              <a:t>Otherwise, multiply each weight </a:t>
            </a:r>
            <a:r>
              <a:rPr lang="en-US" sz="2400" b="1" kern="1200" dirty="0">
                <a:solidFill>
                  <a:schemeClr val="bg2">
                    <a:lumMod val="50000"/>
                    <a:lumOff val="50000"/>
                  </a:schemeClr>
                </a:solidFill>
                <a:latin typeface="Inter"/>
                <a:ea typeface="+mn-ea"/>
              </a:rPr>
              <a:t>w</a:t>
            </a:r>
            <a:r>
              <a:rPr lang="en-US" sz="2400" kern="1200" dirty="0">
                <a:solidFill>
                  <a:schemeClr val="bg2">
                    <a:lumMod val="50000"/>
                    <a:lumOff val="50000"/>
                  </a:schemeClr>
                </a:solidFill>
                <a:latin typeface="Inter"/>
                <a:ea typeface="+mn-ea"/>
              </a:rPr>
              <a:t> by its matching value </a:t>
            </a:r>
            <a:r>
              <a:rPr lang="en-US" sz="2400" b="1" kern="1200" dirty="0">
                <a:solidFill>
                  <a:schemeClr val="bg2">
                    <a:lumMod val="50000"/>
                    <a:lumOff val="50000"/>
                  </a:schemeClr>
                </a:solidFill>
                <a:latin typeface="Inter"/>
                <a:ea typeface="+mn-ea"/>
              </a:rPr>
              <a:t>x</a:t>
            </a:r>
            <a:r>
              <a:rPr lang="en-US" sz="2400" kern="1200" dirty="0">
                <a:solidFill>
                  <a:schemeClr val="bg2">
                    <a:lumMod val="50000"/>
                    <a:lumOff val="50000"/>
                  </a:schemeClr>
                </a:solidFill>
                <a:latin typeface="Inter"/>
                <a:ea typeface="+mn-ea"/>
              </a:rPr>
              <a:t>, sum that all up, and divide by the sum of weights:</a:t>
            </a:r>
          </a:p>
        </p:txBody>
      </p:sp>
      <p:pic>
        <p:nvPicPr>
          <p:cNvPr id="5" name="Picture 4">
            <a:extLst>
              <a:ext uri="{FF2B5EF4-FFF2-40B4-BE49-F238E27FC236}">
                <a16:creationId xmlns:a16="http://schemas.microsoft.com/office/drawing/2014/main" id="{0D4ADD21-A252-44ED-9CF5-2BCC2F3D1F9E}"/>
              </a:ext>
            </a:extLst>
          </p:cNvPr>
          <p:cNvPicPr>
            <a:picLocks noChangeAspect="1"/>
          </p:cNvPicPr>
          <p:nvPr/>
        </p:nvPicPr>
        <p:blipFill>
          <a:blip r:embed="rId2"/>
          <a:stretch>
            <a:fillRect/>
          </a:stretch>
        </p:blipFill>
        <p:spPr>
          <a:xfrm>
            <a:off x="2463122" y="3393299"/>
            <a:ext cx="3429000" cy="1038225"/>
          </a:xfrm>
          <a:prstGeom prst="rect">
            <a:avLst/>
          </a:prstGeom>
        </p:spPr>
      </p:pic>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0B7488B4-A8EF-4FEA-A559-C19F24E4692E}"/>
                  </a:ext>
                </a:extLst>
              </p14:cNvPr>
              <p14:cNvContentPartPr/>
              <p14:nvPr/>
            </p14:nvContentPartPr>
            <p14:xfrm>
              <a:off x="247680" y="9360"/>
              <a:ext cx="8344080" cy="3396240"/>
            </p14:xfrm>
          </p:contentPart>
        </mc:Choice>
        <mc:Fallback>
          <p:pic>
            <p:nvPicPr>
              <p:cNvPr id="2" name="Ink 1">
                <a:extLst>
                  <a:ext uri="{FF2B5EF4-FFF2-40B4-BE49-F238E27FC236}">
                    <a16:creationId xmlns:a16="http://schemas.microsoft.com/office/drawing/2014/main" id="{0B7488B4-A8EF-4FEA-A559-C19F24E4692E}"/>
                  </a:ext>
                </a:extLst>
              </p:cNvPr>
              <p:cNvPicPr/>
              <p:nvPr/>
            </p:nvPicPr>
            <p:blipFill>
              <a:blip r:embed="rId4"/>
              <a:stretch>
                <a:fillRect/>
              </a:stretch>
            </p:blipFill>
            <p:spPr>
              <a:xfrm>
                <a:off x="238320" y="0"/>
                <a:ext cx="8362800" cy="3414960"/>
              </a:xfrm>
              <a:prstGeom prst="rect">
                <a:avLst/>
              </a:prstGeom>
            </p:spPr>
          </p:pic>
        </mc:Fallback>
      </mc:AlternateContent>
    </p:spTree>
    <p:extLst>
      <p:ext uri="{BB962C8B-B14F-4D97-AF65-F5344CB8AC3E}">
        <p14:creationId xmlns:p14="http://schemas.microsoft.com/office/powerpoint/2010/main" val="2486453715"/>
      </p:ext>
    </p:extLst>
  </p:cSld>
  <p:clrMapOvr>
    <a:masterClrMapping/>
  </p:clrMapOvr>
  <p:transition spd="med">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4099"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Variability</a:t>
            </a:r>
            <a:br>
              <a:rPr lang="en-US" dirty="0"/>
            </a:br>
            <a:br>
              <a:rPr lang="en-US" dirty="0"/>
            </a:br>
            <a:r>
              <a:rPr lang="en-US" dirty="0"/>
              <a:t> </a:t>
            </a:r>
          </a:p>
        </p:txBody>
      </p:sp>
      <mc:AlternateContent xmlns:mc="http://schemas.openxmlformats.org/markup-compatibility/2006">
        <mc:Choice xmlns:p14="http://schemas.microsoft.com/office/powerpoint/2010/main" Requires="p14">
          <p:contentPart p14:bwMode="auto" r:id="rId10">
            <p14:nvContentPartPr>
              <p14:cNvPr id="2" name="Ink 1">
                <a:extLst>
                  <a:ext uri="{FF2B5EF4-FFF2-40B4-BE49-F238E27FC236}">
                    <a16:creationId xmlns:a16="http://schemas.microsoft.com/office/drawing/2014/main" id="{86828DE9-D34D-4436-A8F2-C3BC4BFF241A}"/>
                  </a:ext>
                </a:extLst>
              </p14:cNvPr>
              <p14:cNvContentPartPr/>
              <p14:nvPr/>
            </p14:nvContentPartPr>
            <p14:xfrm>
              <a:off x="1166760" y="119160"/>
              <a:ext cx="2867400" cy="2481480"/>
            </p14:xfrm>
          </p:contentPart>
        </mc:Choice>
        <mc:Fallback>
          <p:pic>
            <p:nvPicPr>
              <p:cNvPr id="2" name="Ink 1">
                <a:extLst>
                  <a:ext uri="{FF2B5EF4-FFF2-40B4-BE49-F238E27FC236}">
                    <a16:creationId xmlns:a16="http://schemas.microsoft.com/office/drawing/2014/main" id="{86828DE9-D34D-4436-A8F2-C3BC4BFF241A}"/>
                  </a:ext>
                </a:extLst>
              </p:cNvPr>
              <p:cNvPicPr/>
              <p:nvPr/>
            </p:nvPicPr>
            <p:blipFill>
              <a:blip r:embed="rId11"/>
              <a:stretch>
                <a:fillRect/>
              </a:stretch>
            </p:blipFill>
            <p:spPr>
              <a:xfrm>
                <a:off x="1157400" y="109800"/>
                <a:ext cx="2886120" cy="2500200"/>
              </a:xfrm>
              <a:prstGeom prst="rect">
                <a:avLst/>
              </a:prstGeom>
            </p:spPr>
          </p:pic>
        </mc:Fallback>
      </mc:AlternateContent>
    </p:spTree>
    <p:extLst>
      <p:ext uri="{BB962C8B-B14F-4D97-AF65-F5344CB8AC3E}">
        <p14:creationId xmlns:p14="http://schemas.microsoft.com/office/powerpoint/2010/main" val="2675433104"/>
      </p:ext>
    </p:extLst>
  </p:cSld>
  <p:clrMapOvr>
    <a:masterClrMapping/>
  </p:clrMapOvr>
  <p:transition spd="med">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3D5C2-409B-4595-BFEF-49120103B5E7}"/>
              </a:ext>
            </a:extLst>
          </p:cNvPr>
          <p:cNvSpPr>
            <a:spLocks noGrp="1"/>
          </p:cNvSpPr>
          <p:nvPr>
            <p:ph type="title"/>
          </p:nvPr>
        </p:nvSpPr>
        <p:spPr>
          <a:xfrm>
            <a:off x="0" y="49589"/>
            <a:ext cx="8229600" cy="637794"/>
          </a:xfrm>
        </p:spPr>
        <p:txBody>
          <a:bodyPr/>
          <a:lstStyle/>
          <a:p>
            <a:r>
              <a:rPr lang="en-US" dirty="0"/>
              <a:t>Measure of Variability </a:t>
            </a:r>
          </a:p>
        </p:txBody>
      </p:sp>
      <p:sp>
        <p:nvSpPr>
          <p:cNvPr id="3" name="TextBox 2">
            <a:extLst>
              <a:ext uri="{FF2B5EF4-FFF2-40B4-BE49-F238E27FC236}">
                <a16:creationId xmlns:a16="http://schemas.microsoft.com/office/drawing/2014/main" id="{8B0A8520-70DC-4944-9F76-6EF1C18E6612}"/>
              </a:ext>
            </a:extLst>
          </p:cNvPr>
          <p:cNvSpPr txBox="1"/>
          <p:nvPr/>
        </p:nvSpPr>
        <p:spPr>
          <a:xfrm>
            <a:off x="104701" y="687383"/>
            <a:ext cx="8732171" cy="3862596"/>
          </a:xfrm>
          <a:prstGeom prst="rect">
            <a:avLst/>
          </a:prstGeom>
          <a:noFill/>
        </p:spPr>
        <p:txBody>
          <a:bodyPr wrap="square" rtlCol="0">
            <a:spAutoFit/>
          </a:bodyPr>
          <a:lstStyle/>
          <a:p>
            <a:pPr>
              <a:spcBef>
                <a:spcPts val="0"/>
              </a:spcBef>
              <a:spcAft>
                <a:spcPts val="0"/>
              </a:spcAft>
              <a:buClr>
                <a:schemeClr val="bg1"/>
              </a:buClr>
            </a:pPr>
            <a:r>
              <a:rPr lang="en-US" sz="2000" b="1" dirty="0">
                <a:solidFill>
                  <a:schemeClr val="bg2">
                    <a:lumMod val="50000"/>
                    <a:lumOff val="50000"/>
                  </a:schemeClr>
                </a:solidFill>
                <a:latin typeface="Inter"/>
                <a:cs typeface="Arial" panose="020B0604020202020204" pitchFamily="34" charset="0"/>
              </a:rPr>
              <a:t>Variability</a:t>
            </a:r>
            <a:r>
              <a:rPr lang="en-US" sz="2000" dirty="0">
                <a:solidFill>
                  <a:schemeClr val="bg2">
                    <a:lumMod val="50000"/>
                    <a:lumOff val="50000"/>
                  </a:schemeClr>
                </a:solidFill>
                <a:latin typeface="Inter"/>
                <a:cs typeface="Arial" panose="020B0604020202020204" pitchFamily="34" charset="0"/>
              </a:rPr>
              <a:t> describes how </a:t>
            </a:r>
            <a:r>
              <a:rPr lang="en-US" sz="2000" b="1" i="1" dirty="0">
                <a:solidFill>
                  <a:schemeClr val="bg2">
                    <a:lumMod val="50000"/>
                    <a:lumOff val="50000"/>
                  </a:schemeClr>
                </a:solidFill>
                <a:latin typeface="Inter"/>
                <a:cs typeface="Arial" panose="020B0604020202020204" pitchFamily="34" charset="0"/>
              </a:rPr>
              <a:t>far apart data points lie from each other </a:t>
            </a:r>
            <a:r>
              <a:rPr lang="en-US" sz="2000" dirty="0">
                <a:solidFill>
                  <a:schemeClr val="bg2">
                    <a:lumMod val="50000"/>
                    <a:lumOff val="50000"/>
                  </a:schemeClr>
                </a:solidFill>
                <a:latin typeface="Inter"/>
                <a:cs typeface="Arial" panose="020B0604020202020204" pitchFamily="34" charset="0"/>
              </a:rPr>
              <a:t>and from the center of a distribution. Along with measures of central tendency, measures of variability give you descriptive statistics that summarize your data.</a:t>
            </a:r>
          </a:p>
          <a:p>
            <a:pPr>
              <a:spcBef>
                <a:spcPts val="0"/>
              </a:spcBef>
              <a:spcAft>
                <a:spcPts val="0"/>
              </a:spcAft>
              <a:buClr>
                <a:schemeClr val="bg1"/>
              </a:buClr>
            </a:pPr>
            <a:endParaRPr lang="en-US" sz="1100" b="1" dirty="0">
              <a:solidFill>
                <a:srgbClr val="000000"/>
              </a:solidFill>
              <a:latin typeface="Lato" panose="020F0502020204030203"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Variability is also referred to as </a:t>
            </a:r>
            <a:r>
              <a:rPr lang="en-US" sz="2000" b="1" dirty="0">
                <a:solidFill>
                  <a:schemeClr val="bg2">
                    <a:lumMod val="50000"/>
                    <a:lumOff val="50000"/>
                  </a:schemeClr>
                </a:solidFill>
                <a:latin typeface="Inter"/>
                <a:cs typeface="Arial" panose="020B0604020202020204" pitchFamily="34" charset="0"/>
              </a:rPr>
              <a:t>spread</a:t>
            </a:r>
            <a:r>
              <a:rPr lang="en-US" sz="2000" dirty="0">
                <a:solidFill>
                  <a:schemeClr val="bg2">
                    <a:lumMod val="50000"/>
                    <a:lumOff val="50000"/>
                  </a:schemeClr>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scatter</a:t>
            </a:r>
            <a:r>
              <a:rPr lang="en-US" sz="2000" dirty="0">
                <a:solidFill>
                  <a:schemeClr val="bg2">
                    <a:lumMod val="50000"/>
                    <a:lumOff val="50000"/>
                  </a:schemeClr>
                </a:solidFill>
                <a:latin typeface="Inter"/>
                <a:cs typeface="Arial" panose="020B0604020202020204" pitchFamily="34" charset="0"/>
              </a:rPr>
              <a:t> or </a:t>
            </a:r>
            <a:r>
              <a:rPr lang="en-US" sz="2000" b="1" dirty="0">
                <a:solidFill>
                  <a:schemeClr val="bg2">
                    <a:lumMod val="50000"/>
                    <a:lumOff val="50000"/>
                  </a:schemeClr>
                </a:solidFill>
                <a:latin typeface="Inter"/>
                <a:cs typeface="Arial" panose="020B0604020202020204" pitchFamily="34" charset="0"/>
              </a:rPr>
              <a:t>dispersion</a:t>
            </a:r>
            <a:r>
              <a:rPr lang="en-US" sz="2000" dirty="0">
                <a:solidFill>
                  <a:schemeClr val="bg2">
                    <a:lumMod val="50000"/>
                    <a:lumOff val="50000"/>
                  </a:schemeClr>
                </a:solidFill>
                <a:latin typeface="Inter"/>
                <a:cs typeface="Arial" panose="020B0604020202020204" pitchFamily="34" charset="0"/>
              </a:rPr>
              <a:t>. It is most commonly measured with the following:</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Range</a:t>
            </a:r>
            <a:r>
              <a:rPr lang="en-US" sz="2000" b="1" dirty="0">
                <a:solidFill>
                  <a:schemeClr val="accent1"/>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difference between the highest and lowest values</a:t>
            </a:r>
          </a:p>
          <a:p>
            <a:pPr>
              <a:spcBef>
                <a:spcPts val="0"/>
              </a:spcBef>
              <a:spcAft>
                <a:spcPts val="0"/>
              </a:spcAft>
              <a:buClr>
                <a:schemeClr val="bg1"/>
              </a:buClr>
            </a:pPr>
            <a:r>
              <a:rPr lang="en-US" sz="2000" b="1" u="sng" dirty="0">
                <a:solidFill>
                  <a:schemeClr val="accent1"/>
                </a:solidFill>
                <a:latin typeface="Inter"/>
                <a:cs typeface="Arial" panose="020B0604020202020204" pitchFamily="34" charset="0"/>
              </a:rPr>
              <a:t>Quartile:</a:t>
            </a:r>
            <a:r>
              <a:rPr lang="en-US" sz="2000" dirty="0">
                <a:solidFill>
                  <a:schemeClr val="bg2">
                    <a:lumMod val="50000"/>
                    <a:lumOff val="50000"/>
                  </a:schemeClr>
                </a:solidFill>
                <a:latin typeface="Inter"/>
                <a:cs typeface="Arial" panose="020B0604020202020204" pitchFamily="34" charset="0"/>
              </a:rPr>
              <a:t> 		that divide a list of numbers into quarters</a:t>
            </a:r>
            <a:endParaRPr lang="en-US" sz="2000" b="1" u="sng" dirty="0">
              <a:solidFill>
                <a:schemeClr val="accent1"/>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Interquartile rang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range of the middle half of a distributio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Standard deviation</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distance from the mea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5">
                  <a:extLst>
                    <a:ext uri="{A12FA001-AC4F-418D-AE19-62706E023703}">
                      <ahyp:hlinkClr xmlns:ahyp="http://schemas.microsoft.com/office/drawing/2018/hyperlinkcolor" val="tx"/>
                    </a:ext>
                  </a:extLst>
                </a:hlinkClick>
              </a:rPr>
              <a:t>Varianc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of squared distances from the mean</a:t>
            </a: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64540063-DACA-436E-AE11-E535A539D055}"/>
                  </a:ext>
                </a:extLst>
              </p14:cNvPr>
              <p14:cNvContentPartPr/>
              <p14:nvPr/>
            </p14:nvContentPartPr>
            <p14:xfrm>
              <a:off x="61920" y="85680"/>
              <a:ext cx="8606160" cy="4477320"/>
            </p14:xfrm>
          </p:contentPart>
        </mc:Choice>
        <mc:Fallback>
          <p:pic>
            <p:nvPicPr>
              <p:cNvPr id="4" name="Ink 3">
                <a:extLst>
                  <a:ext uri="{FF2B5EF4-FFF2-40B4-BE49-F238E27FC236}">
                    <a16:creationId xmlns:a16="http://schemas.microsoft.com/office/drawing/2014/main" id="{64540063-DACA-436E-AE11-E535A539D055}"/>
                  </a:ext>
                </a:extLst>
              </p:cNvPr>
              <p:cNvPicPr/>
              <p:nvPr/>
            </p:nvPicPr>
            <p:blipFill>
              <a:blip r:embed="rId7"/>
              <a:stretch>
                <a:fillRect/>
              </a:stretch>
            </p:blipFill>
            <p:spPr>
              <a:xfrm>
                <a:off x="52560" y="76320"/>
                <a:ext cx="8624880" cy="4496040"/>
              </a:xfrm>
              <a:prstGeom prst="rect">
                <a:avLst/>
              </a:prstGeom>
            </p:spPr>
          </p:pic>
        </mc:Fallback>
      </mc:AlternateContent>
    </p:spTree>
    <p:extLst>
      <p:ext uri="{BB962C8B-B14F-4D97-AF65-F5344CB8AC3E}">
        <p14:creationId xmlns:p14="http://schemas.microsoft.com/office/powerpoint/2010/main" val="891461818"/>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D8BA4-EE20-4594-86BE-1831B7FC5366}"/>
              </a:ext>
            </a:extLst>
          </p:cNvPr>
          <p:cNvSpPr>
            <a:spLocks noGrp="1"/>
          </p:cNvSpPr>
          <p:nvPr>
            <p:ph type="title"/>
          </p:nvPr>
        </p:nvSpPr>
        <p:spPr>
          <a:xfrm>
            <a:off x="0" y="0"/>
            <a:ext cx="8229600" cy="637794"/>
          </a:xfrm>
        </p:spPr>
        <p:txBody>
          <a:bodyPr/>
          <a:lstStyle/>
          <a:p>
            <a:r>
              <a:rPr lang="en-US" dirty="0"/>
              <a:t>Why does variability matters? </a:t>
            </a:r>
          </a:p>
        </p:txBody>
      </p:sp>
      <p:pic>
        <p:nvPicPr>
          <p:cNvPr id="4" name="Picture 3">
            <a:extLst>
              <a:ext uri="{FF2B5EF4-FFF2-40B4-BE49-F238E27FC236}">
                <a16:creationId xmlns:a16="http://schemas.microsoft.com/office/drawing/2014/main" id="{B28A3692-9C0A-4265-A9CA-4E9ADB430840}"/>
              </a:ext>
            </a:extLst>
          </p:cNvPr>
          <p:cNvPicPr>
            <a:picLocks noChangeAspect="1"/>
          </p:cNvPicPr>
          <p:nvPr/>
        </p:nvPicPr>
        <p:blipFill>
          <a:blip r:embed="rId2"/>
          <a:stretch>
            <a:fillRect/>
          </a:stretch>
        </p:blipFill>
        <p:spPr>
          <a:xfrm>
            <a:off x="5535261" y="832512"/>
            <a:ext cx="3280672" cy="2508493"/>
          </a:xfrm>
          <a:prstGeom prst="rect">
            <a:avLst/>
          </a:prstGeom>
        </p:spPr>
      </p:pic>
      <p:sp>
        <p:nvSpPr>
          <p:cNvPr id="5" name="TextBox 4">
            <a:extLst>
              <a:ext uri="{FF2B5EF4-FFF2-40B4-BE49-F238E27FC236}">
                <a16:creationId xmlns:a16="http://schemas.microsoft.com/office/drawing/2014/main" id="{C16DED31-9843-4D58-962A-5B07E801B359}"/>
              </a:ext>
            </a:extLst>
          </p:cNvPr>
          <p:cNvSpPr txBox="1"/>
          <p:nvPr/>
        </p:nvSpPr>
        <p:spPr>
          <a:xfrm>
            <a:off x="-1" y="481631"/>
            <a:ext cx="5349651" cy="4170372"/>
          </a:xfrm>
          <a:prstGeom prst="rect">
            <a:avLst/>
          </a:prstGeom>
          <a:noFill/>
        </p:spPr>
        <p:txBody>
          <a:bodyPr wrap="square" rtlCol="0">
            <a:spAutoFit/>
          </a:bodyPr>
          <a:lstStyle/>
          <a:p>
            <a:pPr>
              <a:spcBef>
                <a:spcPts val="0"/>
              </a:spcBef>
              <a:spcAft>
                <a:spcPts val="0"/>
              </a:spcAft>
              <a:buClr>
                <a:schemeClr val="bg1"/>
              </a:buClr>
            </a:pPr>
            <a:r>
              <a:rPr lang="en-US" dirty="0">
                <a:solidFill>
                  <a:schemeClr val="bg2">
                    <a:lumMod val="50000"/>
                    <a:lumOff val="50000"/>
                  </a:schemeClr>
                </a:solidFill>
                <a:latin typeface="Inter"/>
                <a:cs typeface="Arial" panose="020B0604020202020204" pitchFamily="34" charset="0"/>
              </a:rPr>
              <a:t>Ex : Variability in normal distribution </a:t>
            </a:r>
          </a:p>
          <a:p>
            <a:pPr>
              <a:spcBef>
                <a:spcPts val="0"/>
              </a:spcBef>
              <a:spcAft>
                <a:spcPts val="0"/>
              </a:spcAft>
              <a:buClr>
                <a:schemeClr val="bg1"/>
              </a:buClr>
            </a:pPr>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bg2">
                    <a:lumMod val="50000"/>
                    <a:lumOff val="50000"/>
                  </a:schemeClr>
                </a:solidFill>
                <a:latin typeface="Inter"/>
                <a:cs typeface="Arial" panose="020B0604020202020204" pitchFamily="34" charset="0"/>
              </a:rPr>
              <a:t>Using </a:t>
            </a:r>
            <a:r>
              <a:rPr lang="en-US" dirty="0">
                <a:solidFill>
                  <a:schemeClr val="bg2">
                    <a:lumMod val="50000"/>
                    <a:lumOff val="50000"/>
                  </a:schemeClr>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simple random samples</a:t>
            </a:r>
            <a:r>
              <a:rPr lang="en-US" dirty="0">
                <a:solidFill>
                  <a:schemeClr val="bg2">
                    <a:lumMod val="50000"/>
                    <a:lumOff val="50000"/>
                  </a:schemeClr>
                </a:solidFill>
                <a:latin typeface="Inter"/>
                <a:cs typeface="Arial" panose="020B0604020202020204" pitchFamily="34" charset="0"/>
              </a:rPr>
              <a:t>, you collect data from 3 groups:</a:t>
            </a:r>
          </a:p>
          <a:p>
            <a:pPr algn="l"/>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accent1"/>
                </a:solidFill>
                <a:latin typeface="Inter"/>
                <a:cs typeface="Arial" panose="020B0604020202020204" pitchFamily="34" charset="0"/>
              </a:rPr>
              <a:t>Sample A: </a:t>
            </a:r>
            <a:r>
              <a:rPr lang="en-US" dirty="0">
                <a:solidFill>
                  <a:schemeClr val="bg2">
                    <a:lumMod val="50000"/>
                    <a:lumOff val="50000"/>
                  </a:schemeClr>
                </a:solidFill>
                <a:latin typeface="Inter"/>
                <a:cs typeface="Arial" panose="020B0604020202020204" pitchFamily="34" charset="0"/>
              </a:rPr>
              <a:t>high school students,</a:t>
            </a:r>
          </a:p>
          <a:p>
            <a:pPr algn="l"/>
            <a:r>
              <a:rPr lang="en-US" dirty="0">
                <a:solidFill>
                  <a:schemeClr val="accent1"/>
                </a:solidFill>
                <a:latin typeface="Inter"/>
                <a:cs typeface="Arial" panose="020B0604020202020204" pitchFamily="34" charset="0"/>
              </a:rPr>
              <a:t>Sample B: </a:t>
            </a:r>
            <a:r>
              <a:rPr lang="en-US" dirty="0">
                <a:solidFill>
                  <a:schemeClr val="bg2">
                    <a:lumMod val="50000"/>
                    <a:lumOff val="50000"/>
                  </a:schemeClr>
                </a:solidFill>
                <a:latin typeface="Inter"/>
                <a:cs typeface="Arial" panose="020B0604020202020204" pitchFamily="34" charset="0"/>
              </a:rPr>
              <a:t>college students,</a:t>
            </a:r>
          </a:p>
          <a:p>
            <a:pPr algn="l"/>
            <a:r>
              <a:rPr lang="en-US" dirty="0">
                <a:solidFill>
                  <a:schemeClr val="accent1"/>
                </a:solidFill>
                <a:latin typeface="Inter"/>
                <a:cs typeface="Arial" panose="020B0604020202020204" pitchFamily="34" charset="0"/>
              </a:rPr>
              <a:t>Sample C: </a:t>
            </a:r>
            <a:r>
              <a:rPr lang="en-US" dirty="0">
                <a:solidFill>
                  <a:schemeClr val="bg2">
                    <a:lumMod val="50000"/>
                    <a:lumOff val="50000"/>
                  </a:schemeClr>
                </a:solidFill>
                <a:latin typeface="Inter"/>
                <a:cs typeface="Arial" panose="020B0604020202020204" pitchFamily="34" charset="0"/>
              </a:rPr>
              <a:t>adult full-time employees.</a:t>
            </a: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sz="1100" b="0" i="0" dirty="0">
              <a:solidFill>
                <a:srgbClr val="0D405F"/>
              </a:solidFill>
              <a:effectLst/>
              <a:latin typeface="Inter"/>
            </a:endParaRP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DA648542-B575-4307-A4F5-A40FCCDE0A16}"/>
              </a:ext>
            </a:extLst>
          </p:cNvPr>
          <p:cNvSpPr txBox="1"/>
          <p:nvPr/>
        </p:nvSpPr>
        <p:spPr>
          <a:xfrm>
            <a:off x="62821" y="3657600"/>
            <a:ext cx="8829894" cy="1384995"/>
          </a:xfrm>
          <a:prstGeom prst="rect">
            <a:avLst/>
          </a:prstGeom>
          <a:noFill/>
        </p:spPr>
        <p:txBody>
          <a:bodyPr wrap="square" rtlCol="0">
            <a:spAutoFit/>
          </a:bodyPr>
          <a:lstStyle/>
          <a:p>
            <a:pPr algn="l"/>
            <a:r>
              <a:rPr lang="en-US" sz="1400" dirty="0">
                <a:solidFill>
                  <a:schemeClr val="bg2">
                    <a:lumMod val="50000"/>
                    <a:lumOff val="50000"/>
                  </a:schemeClr>
                </a:solidFill>
                <a:latin typeface="Inter"/>
                <a:cs typeface="Arial" panose="020B0604020202020204" pitchFamily="34" charset="0"/>
              </a:rPr>
              <a:t>All three of your samples have the same average phone use, at 195 minutes or 3 hours and 15 minutes. This is the x-axis value where the peak of the curves are.</a:t>
            </a:r>
          </a:p>
          <a:p>
            <a:pPr algn="l"/>
            <a:endParaRPr lang="en-US" sz="1400" dirty="0">
              <a:solidFill>
                <a:schemeClr val="bg2">
                  <a:lumMod val="50000"/>
                  <a:lumOff val="50000"/>
                </a:schemeClr>
              </a:solidFill>
              <a:latin typeface="Inter"/>
              <a:cs typeface="Arial" panose="020B0604020202020204" pitchFamily="34" charset="0"/>
            </a:endParaRPr>
          </a:p>
          <a:p>
            <a:pPr algn="l"/>
            <a:r>
              <a:rPr lang="en-US" sz="1400" dirty="0">
                <a:solidFill>
                  <a:schemeClr val="bg2">
                    <a:lumMod val="50000"/>
                    <a:lumOff val="50000"/>
                  </a:schemeClr>
                </a:solidFill>
                <a:latin typeface="Inter"/>
                <a:cs typeface="Arial" panose="020B0604020202020204" pitchFamily="34" charset="0"/>
              </a:rPr>
              <a:t>Although the data follows a </a:t>
            </a:r>
            <a:r>
              <a:rPr lang="en-US" sz="1400" dirty="0">
                <a:solidFill>
                  <a:schemeClr val="bg2">
                    <a:lumMod val="50000"/>
                    <a:lumOff val="50000"/>
                  </a:schemeClr>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normal distribution</a:t>
            </a:r>
            <a:r>
              <a:rPr lang="en-US" sz="1400" dirty="0">
                <a:solidFill>
                  <a:schemeClr val="bg2">
                    <a:lumMod val="50000"/>
                    <a:lumOff val="50000"/>
                  </a:schemeClr>
                </a:solidFill>
                <a:latin typeface="Inter"/>
                <a:cs typeface="Arial" panose="020B0604020202020204" pitchFamily="34" charset="0"/>
              </a:rPr>
              <a:t>, each sample has different spreads. Sample A has the largest variability while Sample C has the smallest variability.</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0331FB34-3312-44A7-AB17-A33983143F96}"/>
                  </a:ext>
                </a:extLst>
              </p14:cNvPr>
              <p14:cNvContentPartPr/>
              <p14:nvPr/>
            </p14:nvContentPartPr>
            <p14:xfrm>
              <a:off x="290520" y="142920"/>
              <a:ext cx="8701560" cy="4067640"/>
            </p14:xfrm>
          </p:contentPart>
        </mc:Choice>
        <mc:Fallback>
          <p:pic>
            <p:nvPicPr>
              <p:cNvPr id="3" name="Ink 2">
                <a:extLst>
                  <a:ext uri="{FF2B5EF4-FFF2-40B4-BE49-F238E27FC236}">
                    <a16:creationId xmlns:a16="http://schemas.microsoft.com/office/drawing/2014/main" id="{0331FB34-3312-44A7-AB17-A33983143F96}"/>
                  </a:ext>
                </a:extLst>
              </p:cNvPr>
              <p:cNvPicPr/>
              <p:nvPr/>
            </p:nvPicPr>
            <p:blipFill>
              <a:blip r:embed="rId6"/>
              <a:stretch>
                <a:fillRect/>
              </a:stretch>
            </p:blipFill>
            <p:spPr>
              <a:xfrm>
                <a:off x="281160" y="133560"/>
                <a:ext cx="8720280" cy="4086360"/>
              </a:xfrm>
              <a:prstGeom prst="rect">
                <a:avLst/>
              </a:prstGeom>
            </p:spPr>
          </p:pic>
        </mc:Fallback>
      </mc:AlternateContent>
    </p:spTree>
    <p:extLst>
      <p:ext uri="{BB962C8B-B14F-4D97-AF65-F5344CB8AC3E}">
        <p14:creationId xmlns:p14="http://schemas.microsoft.com/office/powerpoint/2010/main" val="1306192768"/>
      </p:ext>
    </p:extLst>
  </p:cSld>
  <p:clrMapOvr>
    <a:masterClrMapping/>
  </p:clrMapOvr>
  <p:transition spd="med">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7BF18-BDD0-4811-8BF9-7AA8D82CBE88}"/>
              </a:ext>
            </a:extLst>
          </p:cNvPr>
          <p:cNvSpPr>
            <a:spLocks noGrp="1"/>
          </p:cNvSpPr>
          <p:nvPr>
            <p:ph type="title"/>
          </p:nvPr>
        </p:nvSpPr>
        <p:spPr>
          <a:xfrm>
            <a:off x="101213" y="77509"/>
            <a:ext cx="8229600" cy="637794"/>
          </a:xfrm>
        </p:spPr>
        <p:txBody>
          <a:bodyPr/>
          <a:lstStyle/>
          <a:p>
            <a:r>
              <a:rPr lang="en-US" dirty="0"/>
              <a:t>Range</a:t>
            </a:r>
          </a:p>
        </p:txBody>
      </p:sp>
      <p:sp>
        <p:nvSpPr>
          <p:cNvPr id="3" name="TextBox 2">
            <a:extLst>
              <a:ext uri="{FF2B5EF4-FFF2-40B4-BE49-F238E27FC236}">
                <a16:creationId xmlns:a16="http://schemas.microsoft.com/office/drawing/2014/main" id="{B75B9029-80C6-49D8-8997-614ABF93772C}"/>
              </a:ext>
            </a:extLst>
          </p:cNvPr>
          <p:cNvSpPr txBox="1"/>
          <p:nvPr/>
        </p:nvSpPr>
        <p:spPr>
          <a:xfrm>
            <a:off x="41881" y="663114"/>
            <a:ext cx="8885734" cy="2277547"/>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The range tells you the spread of your data from the lowest to the highest value in the distribution. It’s the easiest measure of variability to calculate.</a:t>
            </a:r>
          </a:p>
          <a:p>
            <a:pPr marL="342900" indent="-342900">
              <a:spcBef>
                <a:spcPts val="0"/>
              </a:spcBef>
              <a:spcAft>
                <a:spcPts val="0"/>
              </a:spcAft>
              <a:buClr>
                <a:schemeClr val="bg1"/>
              </a:buClr>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o </a:t>
            </a:r>
            <a:r>
              <a:rPr lang="en-US" sz="2000" b="1" i="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find the range</a:t>
            </a:r>
            <a:r>
              <a:rPr lang="en-US" sz="2000" dirty="0">
                <a:solidFill>
                  <a:schemeClr val="bg2">
                    <a:lumMod val="50000"/>
                    <a:lumOff val="50000"/>
                  </a:schemeClr>
                </a:solidFill>
                <a:latin typeface="Inter"/>
                <a:cs typeface="Arial" panose="020B0604020202020204" pitchFamily="34" charset="0"/>
              </a:rPr>
              <a:t>, simply subtract the lowest value from the highest value in the data set.</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100" dirty="0">
              <a:solidFill>
                <a:srgbClr val="0D405F"/>
              </a:solidFill>
              <a:latin typeface="Inter"/>
            </a:endParaRPr>
          </a:p>
          <a:p>
            <a:pPr>
              <a:spcBef>
                <a:spcPts val="0"/>
              </a:spcBef>
              <a:spcAft>
                <a:spcPts val="0"/>
              </a:spcAft>
              <a:buClr>
                <a:schemeClr val="bg1"/>
              </a:buClr>
            </a:pPr>
            <a:r>
              <a:rPr lang="en-US" sz="1100" b="1" dirty="0">
                <a:solidFill>
                  <a:schemeClr val="accent1"/>
                </a:solidFill>
                <a:latin typeface="Inter"/>
              </a:rPr>
              <a:t>Data (Minutes) 		72	110	134	190	238	287	305	324</a:t>
            </a:r>
            <a:endParaRPr lang="en-US" sz="1400" b="1" dirty="0">
              <a:solidFill>
                <a:schemeClr val="accent1"/>
              </a:solidFill>
              <a:latin typeface="+mn-lt"/>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EB971332-BA72-428A-9BCF-077C490F0185}"/>
                  </a:ext>
                </a:extLst>
              </p14:cNvPr>
              <p14:cNvContentPartPr/>
              <p14:nvPr/>
            </p14:nvContentPartPr>
            <p14:xfrm>
              <a:off x="2909880" y="947880"/>
              <a:ext cx="4872240" cy="4186440"/>
            </p14:xfrm>
          </p:contentPart>
        </mc:Choice>
        <mc:Fallback>
          <p:pic>
            <p:nvPicPr>
              <p:cNvPr id="4" name="Ink 3">
                <a:extLst>
                  <a:ext uri="{FF2B5EF4-FFF2-40B4-BE49-F238E27FC236}">
                    <a16:creationId xmlns:a16="http://schemas.microsoft.com/office/drawing/2014/main" id="{EB971332-BA72-428A-9BCF-077C490F0185}"/>
                  </a:ext>
                </a:extLst>
              </p:cNvPr>
              <p:cNvPicPr/>
              <p:nvPr/>
            </p:nvPicPr>
            <p:blipFill>
              <a:blip r:embed="rId4"/>
              <a:stretch>
                <a:fillRect/>
              </a:stretch>
            </p:blipFill>
            <p:spPr>
              <a:xfrm>
                <a:off x="2900520" y="938520"/>
                <a:ext cx="4890960" cy="4205160"/>
              </a:xfrm>
              <a:prstGeom prst="rect">
                <a:avLst/>
              </a:prstGeom>
            </p:spPr>
          </p:pic>
        </mc:Fallback>
      </mc:AlternateContent>
    </p:spTree>
    <p:extLst>
      <p:ext uri="{BB962C8B-B14F-4D97-AF65-F5344CB8AC3E}">
        <p14:creationId xmlns:p14="http://schemas.microsoft.com/office/powerpoint/2010/main" val="3012658408"/>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73902" y="52680"/>
            <a:ext cx="7955280" cy="640080"/>
          </a:xfrm>
        </p:spPr>
        <p:txBody>
          <a:bodyPr/>
          <a:lstStyle/>
          <a:p>
            <a:r>
              <a:rPr lang="en-US" dirty="0"/>
              <a:t>Terminology </a:t>
            </a:r>
            <a:r>
              <a:rPr lang="en-US" sz="1600"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73903" y="692760"/>
            <a:ext cx="7898914" cy="2351065"/>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73902" y="1730931"/>
            <a:ext cx="7427934" cy="702642"/>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73902" y="2863869"/>
            <a:ext cx="8575320" cy="1766446"/>
          </a:xfrm>
          <a:prstGeom prst="rect">
            <a:avLst/>
          </a:prstGeom>
          <a:noFill/>
        </p:spPr>
        <p:txBody>
          <a:bodyPr wrap="square" rtlCol="0">
            <a:spAutoFit/>
          </a:bodyPr>
          <a:lstStyle/>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a:t>
            </a:r>
            <a:r>
              <a:rPr lang="en-US" sz="1400" dirty="0">
                <a:solidFill>
                  <a:schemeClr val="bg1"/>
                </a:solidFill>
                <a:latin typeface="Arial" panose="020B0604020202020204" pitchFamily="34" charset="0"/>
                <a:cs typeface="Arial" panose="020B0604020202020204" pitchFamily="34" charset="0"/>
              </a:rPr>
              <a:t>Variables</a:t>
            </a:r>
            <a:r>
              <a:rPr lang="en-US" sz="1400" dirty="0">
                <a:solidFill>
                  <a:schemeClr val="bg2">
                    <a:lumMod val="50000"/>
                    <a:lumOff val="50000"/>
                  </a:schemeClr>
                </a:solidFill>
                <a:latin typeface="Arial" panose="020B0604020202020204" pitchFamily="34" charset="0"/>
                <a:cs typeface="Arial" panose="020B0604020202020204" pitchFamily="34" charset="0"/>
              </a:rPr>
              <a:t> are things you measure, manipulate and control in statistics and research.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variable can also be called as a data item</a:t>
            </a:r>
          </a:p>
          <a:p>
            <a:pPr marL="742950" lvl="1" indent="-285750">
              <a:lnSpc>
                <a:spcPct val="107000"/>
              </a:lnSpc>
              <a:spcBef>
                <a:spcPts val="0"/>
              </a:spcBef>
              <a:spcAft>
                <a:spcPts val="800"/>
              </a:spcAft>
              <a:buFont typeface="Arial" panose="020B0604020202020204" pitchFamily="34" charset="0"/>
              <a:buChar char="•"/>
            </a:pPr>
            <a:r>
              <a:rPr lang="en-US" sz="1400" i="1" dirty="0">
                <a:solidFill>
                  <a:schemeClr val="bg2">
                    <a:lumMod val="50000"/>
                    <a:lumOff val="50000"/>
                  </a:scheme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400" dirty="0">
                <a:solidFill>
                  <a:schemeClr val="bg2">
                    <a:lumMod val="50000"/>
                    <a:lumOff val="50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08532574"/>
      </p:ext>
    </p:extLst>
  </p:cSld>
  <p:clrMapOvr>
    <a:masterClrMapping/>
  </p:clrMapOvr>
  <p:transition spd="med">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71A17D-7635-493B-AB43-E07EB5D146FF}"/>
              </a:ext>
            </a:extLst>
          </p:cNvPr>
          <p:cNvSpPr/>
          <p:nvPr/>
        </p:nvSpPr>
        <p:spPr>
          <a:xfrm>
            <a:off x="614252" y="2968157"/>
            <a:ext cx="7915493" cy="459098"/>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1E17F21F-77D2-498D-ACC0-34D5250C6951}"/>
              </a:ext>
            </a:extLst>
          </p:cNvPr>
          <p:cNvSpPr>
            <a:spLocks noGrp="1"/>
          </p:cNvSpPr>
          <p:nvPr>
            <p:ph type="title"/>
          </p:nvPr>
        </p:nvSpPr>
        <p:spPr>
          <a:xfrm>
            <a:off x="66311" y="0"/>
            <a:ext cx="8229600" cy="637794"/>
          </a:xfrm>
        </p:spPr>
        <p:txBody>
          <a:bodyPr/>
          <a:lstStyle/>
          <a:p>
            <a:r>
              <a:rPr lang="en-US" dirty="0"/>
              <a:t>Range can be misleading</a:t>
            </a:r>
          </a:p>
        </p:txBody>
      </p:sp>
      <p:sp>
        <p:nvSpPr>
          <p:cNvPr id="3" name="TextBox 2">
            <a:extLst>
              <a:ext uri="{FF2B5EF4-FFF2-40B4-BE49-F238E27FC236}">
                <a16:creationId xmlns:a16="http://schemas.microsoft.com/office/drawing/2014/main" id="{82F50FE0-C1C2-4BB0-B826-A9131CC07860}"/>
              </a:ext>
            </a:extLst>
          </p:cNvPr>
          <p:cNvSpPr txBox="1"/>
          <p:nvPr/>
        </p:nvSpPr>
        <p:spPr>
          <a:xfrm>
            <a:off x="160544" y="704996"/>
            <a:ext cx="8592567" cy="1323439"/>
          </a:xfrm>
          <a:prstGeom prst="rect">
            <a:avLst/>
          </a:prstGeom>
          <a:noFill/>
        </p:spPr>
        <p:txBody>
          <a:bodyPr wrap="square" rtlCol="0">
            <a:spAutoFit/>
          </a:bodyPr>
          <a:lstStyle/>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Because only 2 numbers are used, the range is influenced by </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outliers</a:t>
            </a:r>
            <a:r>
              <a:rPr lang="en-US" sz="2000" dirty="0">
                <a:solidFill>
                  <a:schemeClr val="bg2">
                    <a:lumMod val="50000"/>
                    <a:lumOff val="50000"/>
                  </a:schemeClr>
                </a:solidFill>
                <a:latin typeface="Inter"/>
                <a:cs typeface="Arial" panose="020B0604020202020204" pitchFamily="34" charset="0"/>
              </a:rPr>
              <a:t> and doesn’t give you any information about the distribution of values. </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It’s best used in combination with other measures.</a:t>
            </a:r>
          </a:p>
        </p:txBody>
      </p:sp>
      <p:sp>
        <p:nvSpPr>
          <p:cNvPr id="4" name="TextBox 3">
            <a:extLst>
              <a:ext uri="{FF2B5EF4-FFF2-40B4-BE49-F238E27FC236}">
                <a16:creationId xmlns:a16="http://schemas.microsoft.com/office/drawing/2014/main" id="{85E3C32C-D87E-4DEA-9465-5133B118800A}"/>
              </a:ext>
            </a:extLst>
          </p:cNvPr>
          <p:cNvSpPr txBox="1"/>
          <p:nvPr/>
        </p:nvSpPr>
        <p:spPr>
          <a:xfrm>
            <a:off x="614253" y="2968157"/>
            <a:ext cx="7915493" cy="400110"/>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 we may be better off using </a:t>
            </a:r>
            <a:r>
              <a:rPr lang="en-US" sz="2000" b="1" dirty="0">
                <a:solidFill>
                  <a:schemeClr val="accent1"/>
                </a:solidFill>
                <a:latin typeface="Inter"/>
                <a:cs typeface="Arial" panose="020B0604020202020204" pitchFamily="34" charset="0"/>
              </a:rPr>
              <a:t>Interquartile Range </a:t>
            </a:r>
            <a:r>
              <a:rPr lang="en-US" sz="2000" dirty="0">
                <a:solidFill>
                  <a:schemeClr val="bg2">
                    <a:lumMod val="50000"/>
                    <a:lumOff val="50000"/>
                  </a:schemeClr>
                </a:solidFill>
                <a:latin typeface="Inter"/>
                <a:cs typeface="Arial" panose="020B0604020202020204" pitchFamily="34" charset="0"/>
              </a:rPr>
              <a:t>or </a:t>
            </a:r>
            <a:r>
              <a:rPr lang="en-US" sz="2000" b="1" dirty="0">
                <a:solidFill>
                  <a:schemeClr val="accent1"/>
                </a:solidFill>
                <a:latin typeface="Inter"/>
                <a:cs typeface="Arial" panose="020B0604020202020204" pitchFamily="34" charset="0"/>
              </a:rPr>
              <a:t>Standard Deviation</a:t>
            </a:r>
          </a:p>
        </p:txBody>
      </p:sp>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A5508B8C-2EDD-4CF4-86A6-B1FEED186F1F}"/>
                  </a:ext>
                </a:extLst>
              </p14:cNvPr>
              <p14:cNvContentPartPr/>
              <p14:nvPr/>
            </p14:nvContentPartPr>
            <p14:xfrm>
              <a:off x="162000" y="133200"/>
              <a:ext cx="8801280" cy="5005800"/>
            </p14:xfrm>
          </p:contentPart>
        </mc:Choice>
        <mc:Fallback>
          <p:pic>
            <p:nvPicPr>
              <p:cNvPr id="6" name="Ink 5">
                <a:extLst>
                  <a:ext uri="{FF2B5EF4-FFF2-40B4-BE49-F238E27FC236}">
                    <a16:creationId xmlns:a16="http://schemas.microsoft.com/office/drawing/2014/main" id="{A5508B8C-2EDD-4CF4-86A6-B1FEED186F1F}"/>
                  </a:ext>
                </a:extLst>
              </p:cNvPr>
              <p:cNvPicPr/>
              <p:nvPr/>
            </p:nvPicPr>
            <p:blipFill>
              <a:blip r:embed="rId4"/>
              <a:stretch>
                <a:fillRect/>
              </a:stretch>
            </p:blipFill>
            <p:spPr>
              <a:xfrm>
                <a:off x="152640" y="123840"/>
                <a:ext cx="8820000" cy="5024520"/>
              </a:xfrm>
              <a:prstGeom prst="rect">
                <a:avLst/>
              </a:prstGeom>
            </p:spPr>
          </p:pic>
        </mc:Fallback>
      </mc:AlternateContent>
    </p:spTree>
    <p:extLst>
      <p:ext uri="{BB962C8B-B14F-4D97-AF65-F5344CB8AC3E}">
        <p14:creationId xmlns:p14="http://schemas.microsoft.com/office/powerpoint/2010/main" val="1368213410"/>
      </p:ext>
    </p:extLst>
  </p:cSld>
  <p:clrMapOvr>
    <a:masterClrMapping/>
  </p:clrMapOvr>
  <p:transition spd="med">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3BF71-DFC5-427E-A65C-107910B8233F}"/>
              </a:ext>
            </a:extLst>
          </p:cNvPr>
          <p:cNvSpPr>
            <a:spLocks noGrp="1"/>
          </p:cNvSpPr>
          <p:nvPr>
            <p:ph type="title"/>
          </p:nvPr>
        </p:nvSpPr>
        <p:spPr>
          <a:xfrm>
            <a:off x="73291" y="98450"/>
            <a:ext cx="8229600" cy="637794"/>
          </a:xfrm>
        </p:spPr>
        <p:txBody>
          <a:bodyPr/>
          <a:lstStyle/>
          <a:p>
            <a:r>
              <a:rPr lang="en-US" dirty="0"/>
              <a:t>Quartiles</a:t>
            </a:r>
          </a:p>
        </p:txBody>
      </p:sp>
      <p:sp>
        <p:nvSpPr>
          <p:cNvPr id="3" name="TextBox 2">
            <a:extLst>
              <a:ext uri="{FF2B5EF4-FFF2-40B4-BE49-F238E27FC236}">
                <a16:creationId xmlns:a16="http://schemas.microsoft.com/office/drawing/2014/main" id="{BB64782E-BA76-46E6-BA36-C05EB80808B3}"/>
              </a:ext>
            </a:extLst>
          </p:cNvPr>
          <p:cNvSpPr txBox="1"/>
          <p:nvPr/>
        </p:nvSpPr>
        <p:spPr>
          <a:xfrm>
            <a:off x="125643" y="795736"/>
            <a:ext cx="8055096" cy="2246769"/>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Quartiles are the values that divide a list of numbers into quart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Put the list of numbers in order</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n cut the list into four equal part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 Quartiles are at the "cuts"</a:t>
            </a:r>
          </a:p>
        </p:txBody>
      </p:sp>
      <p:pic>
        <p:nvPicPr>
          <p:cNvPr id="5" name="Picture 4" descr="Icon&#10;&#10;Description automatically generated">
            <a:extLst>
              <a:ext uri="{FF2B5EF4-FFF2-40B4-BE49-F238E27FC236}">
                <a16:creationId xmlns:a16="http://schemas.microsoft.com/office/drawing/2014/main" id="{C0D2230B-C88E-42F0-8B61-73C227906A0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315823" y="1919120"/>
            <a:ext cx="3046400" cy="3046400"/>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25DE0A93-0D76-4FD2-91EB-005257CB4349}"/>
                  </a:ext>
                </a:extLst>
              </p14:cNvPr>
              <p14:cNvContentPartPr/>
              <p14:nvPr/>
            </p14:nvContentPartPr>
            <p14:xfrm>
              <a:off x="76320" y="690480"/>
              <a:ext cx="8372880" cy="2567520"/>
            </p14:xfrm>
          </p:contentPart>
        </mc:Choice>
        <mc:Fallback>
          <p:pic>
            <p:nvPicPr>
              <p:cNvPr id="4" name="Ink 3">
                <a:extLst>
                  <a:ext uri="{FF2B5EF4-FFF2-40B4-BE49-F238E27FC236}">
                    <a16:creationId xmlns:a16="http://schemas.microsoft.com/office/drawing/2014/main" id="{25DE0A93-0D76-4FD2-91EB-005257CB4349}"/>
                  </a:ext>
                </a:extLst>
              </p:cNvPr>
              <p:cNvPicPr/>
              <p:nvPr/>
            </p:nvPicPr>
            <p:blipFill>
              <a:blip r:embed="rId5"/>
              <a:stretch>
                <a:fillRect/>
              </a:stretch>
            </p:blipFill>
            <p:spPr>
              <a:xfrm>
                <a:off x="66960" y="681120"/>
                <a:ext cx="8391600" cy="2586240"/>
              </a:xfrm>
              <a:prstGeom prst="rect">
                <a:avLst/>
              </a:prstGeom>
            </p:spPr>
          </p:pic>
        </mc:Fallback>
      </mc:AlternateContent>
    </p:spTree>
    <p:extLst>
      <p:ext uri="{BB962C8B-B14F-4D97-AF65-F5344CB8AC3E}">
        <p14:creationId xmlns:p14="http://schemas.microsoft.com/office/powerpoint/2010/main" val="3035897662"/>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96CD2-A218-41FD-81FB-068327F9D7E8}"/>
              </a:ext>
            </a:extLst>
          </p:cNvPr>
          <p:cNvSpPr>
            <a:spLocks noGrp="1"/>
          </p:cNvSpPr>
          <p:nvPr>
            <p:ph type="title"/>
          </p:nvPr>
        </p:nvSpPr>
        <p:spPr>
          <a:xfrm>
            <a:off x="0" y="0"/>
            <a:ext cx="8229600" cy="637794"/>
          </a:xfrm>
        </p:spPr>
        <p:txBody>
          <a:bodyPr/>
          <a:lstStyle/>
          <a:p>
            <a:r>
              <a:rPr lang="en-US" dirty="0"/>
              <a:t>Quartile</a:t>
            </a:r>
          </a:p>
        </p:txBody>
      </p:sp>
      <p:sp>
        <p:nvSpPr>
          <p:cNvPr id="4" name="TextBox 3">
            <a:extLst>
              <a:ext uri="{FF2B5EF4-FFF2-40B4-BE49-F238E27FC236}">
                <a16:creationId xmlns:a16="http://schemas.microsoft.com/office/drawing/2014/main" id="{51564A6B-0B9B-4B53-869D-F275C99CECAC}"/>
              </a:ext>
            </a:extLst>
          </p:cNvPr>
          <p:cNvSpPr txBox="1"/>
          <p:nvPr/>
        </p:nvSpPr>
        <p:spPr>
          <a:xfrm>
            <a:off x="55841" y="540425"/>
            <a:ext cx="8173759"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Ex : 5, 7, 4, 4, 6, 2,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Put them in order </a:t>
            </a:r>
            <a:r>
              <a:rPr lang="en-US" sz="1800" dirty="0">
                <a:solidFill>
                  <a:schemeClr val="bg2">
                    <a:lumMod val="50000"/>
                    <a:lumOff val="50000"/>
                  </a:schemeClr>
                </a:solidFill>
                <a:latin typeface="Inter"/>
                <a:cs typeface="Arial" panose="020B0604020202020204" pitchFamily="34" charset="0"/>
              </a:rPr>
              <a:t>: 2, 4, 4, 5, 6, 7,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Cut the List into Quarters : </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800" b="1" dirty="0">
              <a:solidFill>
                <a:schemeClr val="bg2"/>
              </a:solidFill>
              <a:latin typeface="+mn-lt"/>
            </a:endParaRPr>
          </a:p>
        </p:txBody>
      </p:sp>
      <p:pic>
        <p:nvPicPr>
          <p:cNvPr id="6" name="Picture 5">
            <a:extLst>
              <a:ext uri="{FF2B5EF4-FFF2-40B4-BE49-F238E27FC236}">
                <a16:creationId xmlns:a16="http://schemas.microsoft.com/office/drawing/2014/main" id="{1B565FA1-179B-418E-89CE-CB7A5FE56550}"/>
              </a:ext>
            </a:extLst>
          </p:cNvPr>
          <p:cNvPicPr>
            <a:picLocks noChangeAspect="1"/>
          </p:cNvPicPr>
          <p:nvPr/>
        </p:nvPicPr>
        <p:blipFill>
          <a:blip r:embed="rId2"/>
          <a:stretch>
            <a:fillRect/>
          </a:stretch>
        </p:blipFill>
        <p:spPr>
          <a:xfrm>
            <a:off x="2272803" y="2132338"/>
            <a:ext cx="3080974" cy="1440083"/>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302BFC89-8434-4802-89CB-E3A9CFA413FA}"/>
                  </a:ext>
                </a:extLst>
              </p14:cNvPr>
              <p14:cNvContentPartPr/>
              <p14:nvPr/>
            </p14:nvContentPartPr>
            <p14:xfrm>
              <a:off x="19080" y="361800"/>
              <a:ext cx="4991400" cy="3548520"/>
            </p14:xfrm>
          </p:contentPart>
        </mc:Choice>
        <mc:Fallback>
          <p:pic>
            <p:nvPicPr>
              <p:cNvPr id="3" name="Ink 2">
                <a:extLst>
                  <a:ext uri="{FF2B5EF4-FFF2-40B4-BE49-F238E27FC236}">
                    <a16:creationId xmlns:a16="http://schemas.microsoft.com/office/drawing/2014/main" id="{302BFC89-8434-4802-89CB-E3A9CFA413FA}"/>
                  </a:ext>
                </a:extLst>
              </p:cNvPr>
              <p:cNvPicPr/>
              <p:nvPr/>
            </p:nvPicPr>
            <p:blipFill>
              <a:blip r:embed="rId4"/>
              <a:stretch>
                <a:fillRect/>
              </a:stretch>
            </p:blipFill>
            <p:spPr>
              <a:xfrm>
                <a:off x="9720" y="352440"/>
                <a:ext cx="5010120" cy="3567240"/>
              </a:xfrm>
              <a:prstGeom prst="rect">
                <a:avLst/>
              </a:prstGeom>
            </p:spPr>
          </p:pic>
        </mc:Fallback>
      </mc:AlternateContent>
    </p:spTree>
    <p:extLst>
      <p:ext uri="{BB962C8B-B14F-4D97-AF65-F5344CB8AC3E}">
        <p14:creationId xmlns:p14="http://schemas.microsoft.com/office/powerpoint/2010/main" val="610422850"/>
      </p:ext>
    </p:extLst>
  </p:cSld>
  <p:clrMapOvr>
    <a:masterClrMapping/>
  </p:clrMapOvr>
  <p:transition spd="med">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B1DF-923A-42F7-BB0D-328499793335}"/>
              </a:ext>
            </a:extLst>
          </p:cNvPr>
          <p:cNvSpPr>
            <a:spLocks noGrp="1"/>
          </p:cNvSpPr>
          <p:nvPr>
            <p:ph type="title"/>
          </p:nvPr>
        </p:nvSpPr>
        <p:spPr>
          <a:xfrm>
            <a:off x="0" y="56569"/>
            <a:ext cx="8229600" cy="637794"/>
          </a:xfrm>
        </p:spPr>
        <p:txBody>
          <a:bodyPr/>
          <a:lstStyle/>
          <a:p>
            <a:r>
              <a:rPr lang="en-US" dirty="0"/>
              <a:t>Quartile</a:t>
            </a:r>
          </a:p>
        </p:txBody>
      </p:sp>
      <p:sp>
        <p:nvSpPr>
          <p:cNvPr id="3" name="TextBox 2">
            <a:extLst>
              <a:ext uri="{FF2B5EF4-FFF2-40B4-BE49-F238E27FC236}">
                <a16:creationId xmlns:a16="http://schemas.microsoft.com/office/drawing/2014/main" id="{6D6F2D4B-88D4-4088-AF08-0BC82059D804}"/>
              </a:ext>
            </a:extLst>
          </p:cNvPr>
          <p:cNvSpPr txBox="1"/>
          <p:nvPr/>
        </p:nvSpPr>
        <p:spPr>
          <a:xfrm>
            <a:off x="0" y="459033"/>
            <a:ext cx="9018357" cy="4909036"/>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metimes a "cut" is between two numbers ... the Quartile is the average of the two numb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lgn="l"/>
            <a:r>
              <a:rPr lang="en-US" sz="1800" b="1" dirty="0">
                <a:solidFill>
                  <a:schemeClr val="bg2">
                    <a:lumMod val="50000"/>
                    <a:lumOff val="50000"/>
                  </a:schemeClr>
                </a:solidFill>
                <a:latin typeface="Inter"/>
                <a:cs typeface="Arial" panose="020B0604020202020204" pitchFamily="34" charset="0"/>
              </a:rPr>
              <a:t>Example: 1, 3, 3, 4, 5, 6, 6, 7, 8, 8</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The numbers are already in order</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Cut the list into quarters:</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lgn="l"/>
            <a:endParaRPr lang="en-US" sz="1800" dirty="0">
              <a:solidFill>
                <a:schemeClr val="bg2">
                  <a:lumMod val="50000"/>
                  <a:lumOff val="50000"/>
                </a:schemeClr>
              </a:solidFill>
              <a:latin typeface="Inter"/>
              <a:cs typeface="Arial" panose="020B0604020202020204" pitchFamily="34" charset="0"/>
            </a:endParaRPr>
          </a:p>
          <a:p>
            <a:pPr algn="l"/>
            <a:r>
              <a:rPr lang="en-US" sz="2000" dirty="0">
                <a:solidFill>
                  <a:schemeClr val="bg2">
                    <a:lumMod val="50000"/>
                    <a:lumOff val="50000"/>
                  </a:schemeClr>
                </a:solidFill>
                <a:latin typeface="Inter"/>
                <a:cs typeface="Arial" panose="020B0604020202020204" pitchFamily="34" charset="0"/>
              </a:rPr>
              <a:t>In this case Quartile 2 is halfway between 5 and 6:</a:t>
            </a:r>
          </a:p>
          <a:p>
            <a:pPr algn="l"/>
            <a:r>
              <a:rPr lang="en-US" sz="2000" dirty="0">
                <a:solidFill>
                  <a:schemeClr val="bg2">
                    <a:lumMod val="50000"/>
                    <a:lumOff val="50000"/>
                  </a:schemeClr>
                </a:solidFill>
                <a:latin typeface="Inter"/>
                <a:cs typeface="Arial" panose="020B0604020202020204" pitchFamily="34" charset="0"/>
              </a:rPr>
              <a:t>		Q2 = (5+6)/2 = 5.5</a:t>
            </a:r>
          </a:p>
          <a:p>
            <a:pPr algn="l"/>
            <a:r>
              <a:rPr lang="en-US" sz="2000" b="1" i="1" dirty="0">
                <a:solidFill>
                  <a:schemeClr val="bg2">
                    <a:lumMod val="50000"/>
                    <a:lumOff val="50000"/>
                  </a:schemeClr>
                </a:solidFill>
                <a:latin typeface="Inter"/>
                <a:cs typeface="Arial" panose="020B0604020202020204" pitchFamily="34" charset="0"/>
              </a:rPr>
              <a:t>And the result is:</a:t>
            </a:r>
          </a:p>
          <a:p>
            <a:pPr algn="l"/>
            <a:r>
              <a:rPr lang="en-US" sz="2000" dirty="0">
                <a:solidFill>
                  <a:schemeClr val="bg2">
                    <a:lumMod val="50000"/>
                    <a:lumOff val="50000"/>
                  </a:schemeClr>
                </a:solidFill>
                <a:latin typeface="Inter"/>
                <a:cs typeface="Arial" panose="020B0604020202020204" pitchFamily="34" charset="0"/>
              </a:rPr>
              <a:t>Quartile 1 (Q1) = 3</a:t>
            </a:r>
          </a:p>
          <a:p>
            <a:pPr algn="l"/>
            <a:r>
              <a:rPr lang="en-US" sz="2000" dirty="0">
                <a:solidFill>
                  <a:schemeClr val="bg2">
                    <a:lumMod val="50000"/>
                    <a:lumOff val="50000"/>
                  </a:schemeClr>
                </a:solidFill>
                <a:latin typeface="Inter"/>
                <a:cs typeface="Arial" panose="020B0604020202020204" pitchFamily="34" charset="0"/>
              </a:rPr>
              <a:t>Quartile 2 (Q2) = 5.5</a:t>
            </a:r>
          </a:p>
          <a:p>
            <a:pPr algn="l"/>
            <a:r>
              <a:rPr lang="en-US" sz="2000" dirty="0">
                <a:solidFill>
                  <a:schemeClr val="bg2">
                    <a:lumMod val="50000"/>
                    <a:lumOff val="50000"/>
                  </a:schemeClr>
                </a:solidFill>
                <a:latin typeface="Inter"/>
                <a:cs typeface="Arial" panose="020B0604020202020204" pitchFamily="34" charset="0"/>
              </a:rPr>
              <a:t>Quartile 3 (Q3) = 7</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B8D3FA8A-E1F8-48C3-893C-09F0E75760C3}"/>
              </a:ext>
            </a:extLst>
          </p:cNvPr>
          <p:cNvPicPr>
            <a:picLocks noChangeAspect="1"/>
          </p:cNvPicPr>
          <p:nvPr/>
        </p:nvPicPr>
        <p:blipFill>
          <a:blip r:embed="rId2"/>
          <a:stretch>
            <a:fillRect/>
          </a:stretch>
        </p:blipFill>
        <p:spPr>
          <a:xfrm>
            <a:off x="4114800" y="1155395"/>
            <a:ext cx="4204561" cy="1515671"/>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01194AE4-C1AA-4BB6-A381-76C8C03A2832}"/>
                  </a:ext>
                </a:extLst>
              </p14:cNvPr>
              <p14:cNvContentPartPr/>
              <p14:nvPr/>
            </p14:nvContentPartPr>
            <p14:xfrm>
              <a:off x="1047600" y="1700280"/>
              <a:ext cx="1824480" cy="81360"/>
            </p14:xfrm>
          </p:contentPart>
        </mc:Choice>
        <mc:Fallback>
          <p:pic>
            <p:nvPicPr>
              <p:cNvPr id="4" name="Ink 3">
                <a:extLst>
                  <a:ext uri="{FF2B5EF4-FFF2-40B4-BE49-F238E27FC236}">
                    <a16:creationId xmlns:a16="http://schemas.microsoft.com/office/drawing/2014/main" id="{01194AE4-C1AA-4BB6-A381-76C8C03A2832}"/>
                  </a:ext>
                </a:extLst>
              </p:cNvPr>
              <p:cNvPicPr/>
              <p:nvPr/>
            </p:nvPicPr>
            <p:blipFill>
              <a:blip r:embed="rId4"/>
              <a:stretch>
                <a:fillRect/>
              </a:stretch>
            </p:blipFill>
            <p:spPr>
              <a:xfrm>
                <a:off x="1038240" y="1690920"/>
                <a:ext cx="1843200" cy="100080"/>
              </a:xfrm>
              <a:prstGeom prst="rect">
                <a:avLst/>
              </a:prstGeom>
            </p:spPr>
          </p:pic>
        </mc:Fallback>
      </mc:AlternateContent>
    </p:spTree>
    <p:extLst>
      <p:ext uri="{BB962C8B-B14F-4D97-AF65-F5344CB8AC3E}">
        <p14:creationId xmlns:p14="http://schemas.microsoft.com/office/powerpoint/2010/main" val="480427111"/>
      </p:ext>
    </p:extLst>
  </p:cSld>
  <p:clrMapOvr>
    <a:masterClrMapping/>
  </p:clrMapOvr>
  <p:transition spd="med">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19C6A-64C3-4584-B1ED-A04DC1EC1D56}"/>
              </a:ext>
            </a:extLst>
          </p:cNvPr>
          <p:cNvSpPr>
            <a:spLocks noGrp="1"/>
          </p:cNvSpPr>
          <p:nvPr>
            <p:ph type="title"/>
          </p:nvPr>
        </p:nvSpPr>
        <p:spPr>
          <a:xfrm>
            <a:off x="0" y="0"/>
            <a:ext cx="9144000" cy="637794"/>
          </a:xfrm>
        </p:spPr>
        <p:txBody>
          <a:bodyPr/>
          <a:lstStyle/>
          <a:p>
            <a:r>
              <a:rPr lang="en-US" dirty="0"/>
              <a:t>How to find Q1, Q2, Q3 ? lets do a small example to get the understanding</a:t>
            </a:r>
            <a:br>
              <a:rPr lang="en-US" sz="1800" dirty="0">
                <a:effectLst/>
                <a:latin typeface="Calibri" panose="020F0502020204030204" pitchFamily="34" charset="0"/>
                <a:ea typeface="DengXian" panose="02010600030101010101" pitchFamily="2" charset="-122"/>
                <a:cs typeface="Times New Roman" panose="02020603050405020304" pitchFamily="18" charset="0"/>
              </a:rPr>
            </a:br>
            <a:endParaRPr lang="en-US" dirty="0"/>
          </a:p>
        </p:txBody>
      </p:sp>
      <mc:AlternateContent xmlns:mc="http://schemas.openxmlformats.org/markup-compatibility/2006">
        <mc:Choice xmlns:p14="http://schemas.microsoft.com/office/powerpoint/2010/main" Requires="p14">
          <p:contentPart p14:bwMode="auto" r:id="rId2">
            <p14:nvContentPartPr>
              <p14:cNvPr id="3" name="Ink 2">
                <a:extLst>
                  <a:ext uri="{FF2B5EF4-FFF2-40B4-BE49-F238E27FC236}">
                    <a16:creationId xmlns:a16="http://schemas.microsoft.com/office/drawing/2014/main" id="{701AEE92-7881-4B6A-BBFA-D2FE4ED165EB}"/>
                  </a:ext>
                </a:extLst>
              </p14:cNvPr>
              <p14:cNvContentPartPr/>
              <p14:nvPr/>
            </p14:nvContentPartPr>
            <p14:xfrm>
              <a:off x="604800" y="809640"/>
              <a:ext cx="7444080" cy="3524760"/>
            </p14:xfrm>
          </p:contentPart>
        </mc:Choice>
        <mc:Fallback>
          <p:pic>
            <p:nvPicPr>
              <p:cNvPr id="3" name="Ink 2">
                <a:extLst>
                  <a:ext uri="{FF2B5EF4-FFF2-40B4-BE49-F238E27FC236}">
                    <a16:creationId xmlns:a16="http://schemas.microsoft.com/office/drawing/2014/main" id="{701AEE92-7881-4B6A-BBFA-D2FE4ED165EB}"/>
                  </a:ext>
                </a:extLst>
              </p:cNvPr>
              <p:cNvPicPr/>
              <p:nvPr/>
            </p:nvPicPr>
            <p:blipFill>
              <a:blip r:embed="rId3"/>
              <a:stretch>
                <a:fillRect/>
              </a:stretch>
            </p:blipFill>
            <p:spPr>
              <a:xfrm>
                <a:off x="595440" y="800280"/>
                <a:ext cx="7462800" cy="3543480"/>
              </a:xfrm>
              <a:prstGeom prst="rect">
                <a:avLst/>
              </a:prstGeom>
            </p:spPr>
          </p:pic>
        </mc:Fallback>
      </mc:AlternateContent>
    </p:spTree>
    <p:extLst>
      <p:ext uri="{BB962C8B-B14F-4D97-AF65-F5344CB8AC3E}">
        <p14:creationId xmlns:p14="http://schemas.microsoft.com/office/powerpoint/2010/main" val="770549809"/>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DDF7-9977-4F1F-89F2-D84EB59C0B3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EC723DC2-7B90-4304-AAC3-E683C7BC140B}"/>
              </a:ext>
            </a:extLst>
          </p:cNvPr>
          <p:cNvSpPr txBox="1"/>
          <p:nvPr/>
        </p:nvSpPr>
        <p:spPr>
          <a:xfrm>
            <a:off x="0" y="637794"/>
            <a:ext cx="9060238" cy="1846659"/>
          </a:xfrm>
          <a:prstGeom prst="rect">
            <a:avLst/>
          </a:prstGeom>
          <a:noFill/>
        </p:spPr>
        <p:txBody>
          <a:bodyPr wrap="square" rtlCol="0">
            <a:spAutoFit/>
          </a:bodyPr>
          <a:lstStyle/>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he</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 </a:t>
            </a:r>
            <a:r>
              <a:rPr lang="en-US" sz="2000" b="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interquartile range</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gives you the spread of the middle of your distribution.</a:t>
            </a:r>
          </a:p>
          <a:p>
            <a:pPr marL="342900" indent="-342900" algn="l">
              <a:buFont typeface="Wingdings" panose="05000000000000000000" pitchFamily="2" charset="2"/>
              <a:buChar char="Ø"/>
            </a:pPr>
            <a:endParaRPr lang="en-US" sz="2000" dirty="0">
              <a:solidFill>
                <a:schemeClr val="bg2">
                  <a:lumMod val="50000"/>
                  <a:lumOff val="50000"/>
                </a:schemeClr>
              </a:solidFill>
              <a:latin typeface="Inter"/>
              <a:cs typeface="Arial" panose="020B0604020202020204" pitchFamily="34" charset="0"/>
            </a:endParaRPr>
          </a:p>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For any distribution that’s ordered from low to high, the interquartile range contains half of the values. While the first quartile (Q1) contains the first 25% of values, the fourth quartile (Q4) contains the last 25% of values.</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D92FD61A-25F3-4C72-BB82-FCCE08F21D34}"/>
              </a:ext>
            </a:extLst>
          </p:cNvPr>
          <p:cNvPicPr>
            <a:picLocks noChangeAspect="1"/>
          </p:cNvPicPr>
          <p:nvPr/>
        </p:nvPicPr>
        <p:blipFill>
          <a:blip r:embed="rId3"/>
          <a:stretch>
            <a:fillRect/>
          </a:stretch>
        </p:blipFill>
        <p:spPr>
          <a:xfrm>
            <a:off x="2287928" y="2661167"/>
            <a:ext cx="4043392" cy="2032355"/>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735B0BDA-55AF-47EE-8FCB-01A8D6EB176F}"/>
                  </a:ext>
                </a:extLst>
              </p14:cNvPr>
              <p14:cNvContentPartPr/>
              <p14:nvPr/>
            </p14:nvContentPartPr>
            <p14:xfrm>
              <a:off x="71280" y="147600"/>
              <a:ext cx="8791920" cy="4667760"/>
            </p14:xfrm>
          </p:contentPart>
        </mc:Choice>
        <mc:Fallback>
          <p:pic>
            <p:nvPicPr>
              <p:cNvPr id="4" name="Ink 3">
                <a:extLst>
                  <a:ext uri="{FF2B5EF4-FFF2-40B4-BE49-F238E27FC236}">
                    <a16:creationId xmlns:a16="http://schemas.microsoft.com/office/drawing/2014/main" id="{735B0BDA-55AF-47EE-8FCB-01A8D6EB176F}"/>
                  </a:ext>
                </a:extLst>
              </p:cNvPr>
              <p:cNvPicPr/>
              <p:nvPr/>
            </p:nvPicPr>
            <p:blipFill>
              <a:blip r:embed="rId5"/>
              <a:stretch>
                <a:fillRect/>
              </a:stretch>
            </p:blipFill>
            <p:spPr>
              <a:xfrm>
                <a:off x="61920" y="138240"/>
                <a:ext cx="8810640" cy="4686480"/>
              </a:xfrm>
              <a:prstGeom prst="rect">
                <a:avLst/>
              </a:prstGeom>
            </p:spPr>
          </p:pic>
        </mc:Fallback>
      </mc:AlternateContent>
    </p:spTree>
    <p:extLst>
      <p:ext uri="{BB962C8B-B14F-4D97-AF65-F5344CB8AC3E}">
        <p14:creationId xmlns:p14="http://schemas.microsoft.com/office/powerpoint/2010/main" val="1056268501"/>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6D149-A19F-47BE-87C4-806F1BF7BC68}"/>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C999203-3FC5-457B-83C4-A1677B14ED3D}"/>
              </a:ext>
            </a:extLst>
          </p:cNvPr>
          <p:cNvSpPr txBox="1"/>
          <p:nvPr/>
        </p:nvSpPr>
        <p:spPr>
          <a:xfrm>
            <a:off x="0" y="725937"/>
            <a:ext cx="9144000" cy="1169551"/>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400" dirty="0">
              <a:solidFill>
                <a:srgbClr val="0D405F"/>
              </a:solidFill>
              <a:latin typeface="Inter"/>
            </a:endParaRPr>
          </a:p>
          <a:p>
            <a:pPr>
              <a:spcBef>
                <a:spcPts val="0"/>
              </a:spcBef>
              <a:spcAft>
                <a:spcPts val="0"/>
              </a:spcAft>
              <a:buClr>
                <a:schemeClr val="bg1"/>
              </a:buClr>
            </a:pPr>
            <a:r>
              <a:rPr lang="en-US" sz="1400" b="1" dirty="0">
                <a:solidFill>
                  <a:schemeClr val="accent1"/>
                </a:solidFill>
                <a:latin typeface="Inter"/>
              </a:rPr>
              <a:t>Data (Minutes) 	72	110	134	190	238	287	305	324</a:t>
            </a:r>
            <a:endParaRPr lang="en-US" sz="1800" b="1" dirty="0">
              <a:solidFill>
                <a:schemeClr val="accent1"/>
              </a:solidFill>
              <a:latin typeface="+mn-lt"/>
            </a:endParaRP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7C81B745-02DC-41D6-A1AF-6ADC24F9920F}"/>
                  </a:ext>
                </a:extLst>
              </p14:cNvPr>
              <p14:cNvContentPartPr/>
              <p14:nvPr/>
            </p14:nvContentPartPr>
            <p14:xfrm>
              <a:off x="1452600" y="1305000"/>
              <a:ext cx="7687080" cy="1738440"/>
            </p14:xfrm>
          </p:contentPart>
        </mc:Choice>
        <mc:Fallback>
          <p:pic>
            <p:nvPicPr>
              <p:cNvPr id="4" name="Ink 3">
                <a:extLst>
                  <a:ext uri="{FF2B5EF4-FFF2-40B4-BE49-F238E27FC236}">
                    <a16:creationId xmlns:a16="http://schemas.microsoft.com/office/drawing/2014/main" id="{7C81B745-02DC-41D6-A1AF-6ADC24F9920F}"/>
                  </a:ext>
                </a:extLst>
              </p:cNvPr>
              <p:cNvPicPr/>
              <p:nvPr/>
            </p:nvPicPr>
            <p:blipFill>
              <a:blip r:embed="rId3"/>
              <a:stretch>
                <a:fillRect/>
              </a:stretch>
            </p:blipFill>
            <p:spPr>
              <a:xfrm>
                <a:off x="1443240" y="1295640"/>
                <a:ext cx="7705800" cy="1757160"/>
              </a:xfrm>
              <a:prstGeom prst="rect">
                <a:avLst/>
              </a:prstGeom>
            </p:spPr>
          </p:pic>
        </mc:Fallback>
      </mc:AlternateContent>
    </p:spTree>
    <p:extLst>
      <p:ext uri="{BB962C8B-B14F-4D97-AF65-F5344CB8AC3E}">
        <p14:creationId xmlns:p14="http://schemas.microsoft.com/office/powerpoint/2010/main" val="1015857233"/>
      </p:ext>
    </p:extLst>
  </p:cSld>
  <p:clrMapOvr>
    <a:masterClrMapping/>
  </p:clrMapOvr>
  <p:transition spd="med">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6A2A-E07A-42CE-BF96-41BC3D022BD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B8E5736-46E3-4A0C-8877-A0E746A30E1C}"/>
              </a:ext>
            </a:extLst>
          </p:cNvPr>
          <p:cNvSpPr txBox="1"/>
          <p:nvPr/>
        </p:nvSpPr>
        <p:spPr>
          <a:xfrm>
            <a:off x="56087" y="582111"/>
            <a:ext cx="8117426" cy="954107"/>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 To calculate it just subtract Quartile 1 from Quartile 3, like this:</a:t>
            </a:r>
          </a:p>
        </p:txBody>
      </p:sp>
      <p:pic>
        <p:nvPicPr>
          <p:cNvPr id="5" name="Picture 4">
            <a:extLst>
              <a:ext uri="{FF2B5EF4-FFF2-40B4-BE49-F238E27FC236}">
                <a16:creationId xmlns:a16="http://schemas.microsoft.com/office/drawing/2014/main" id="{88C503D7-DF26-4859-ABAA-04EB3D0015F5}"/>
              </a:ext>
            </a:extLst>
          </p:cNvPr>
          <p:cNvPicPr>
            <a:picLocks noChangeAspect="1"/>
          </p:cNvPicPr>
          <p:nvPr/>
        </p:nvPicPr>
        <p:blipFill>
          <a:blip r:embed="rId2"/>
          <a:stretch>
            <a:fillRect/>
          </a:stretch>
        </p:blipFill>
        <p:spPr>
          <a:xfrm>
            <a:off x="1571517" y="1726261"/>
            <a:ext cx="4166170" cy="1881022"/>
          </a:xfrm>
          <a:prstGeom prst="rect">
            <a:avLst/>
          </a:prstGeom>
        </p:spPr>
      </p:pic>
      <p:sp>
        <p:nvSpPr>
          <p:cNvPr id="6" name="TextBox 5">
            <a:extLst>
              <a:ext uri="{FF2B5EF4-FFF2-40B4-BE49-F238E27FC236}">
                <a16:creationId xmlns:a16="http://schemas.microsoft.com/office/drawing/2014/main" id="{F8E18E6A-F867-4A4B-A86D-75A83FA49F2F}"/>
              </a:ext>
            </a:extLst>
          </p:cNvPr>
          <p:cNvSpPr txBox="1"/>
          <p:nvPr/>
        </p:nvSpPr>
        <p:spPr>
          <a:xfrm>
            <a:off x="237325" y="3869546"/>
            <a:ext cx="6707927" cy="646331"/>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The </a:t>
            </a:r>
            <a:r>
              <a:rPr lang="en-US" sz="1100" b="1" i="0" dirty="0">
                <a:solidFill>
                  <a:schemeClr val="bg2">
                    <a:lumMod val="50000"/>
                    <a:lumOff val="50000"/>
                  </a:schemeClr>
                </a:solidFill>
                <a:effectLst/>
                <a:latin typeface="Verdana" panose="020B0604030504040204" pitchFamily="34" charset="0"/>
              </a:rPr>
              <a:t>Interquartile Range</a:t>
            </a:r>
            <a:r>
              <a:rPr lang="en-US" sz="1100" b="0" i="0" dirty="0">
                <a:solidFill>
                  <a:schemeClr val="bg2">
                    <a:lumMod val="50000"/>
                    <a:lumOff val="50000"/>
                  </a:schemeClr>
                </a:solidFill>
                <a:effectLst/>
                <a:latin typeface="Verdana" panose="020B0604030504040204" pitchFamily="34" charset="0"/>
              </a:rPr>
              <a:t> is:</a:t>
            </a:r>
          </a:p>
          <a:p>
            <a:pPr algn="ctr"/>
            <a:r>
              <a:rPr lang="en-US" sz="1100" b="0" i="0" dirty="0">
                <a:solidFill>
                  <a:schemeClr val="bg2">
                    <a:lumMod val="50000"/>
                    <a:lumOff val="50000"/>
                  </a:schemeClr>
                </a:solidFill>
                <a:effectLst/>
                <a:latin typeface="Verdana" panose="020B0604030504040204" pitchFamily="34" charset="0"/>
              </a:rPr>
              <a:t>Q3 − Q1 = 7 − 4 = </a:t>
            </a:r>
            <a:r>
              <a:rPr lang="en-US" sz="1100" b="1" i="0" dirty="0">
                <a:solidFill>
                  <a:schemeClr val="bg2">
                    <a:lumMod val="50000"/>
                    <a:lumOff val="50000"/>
                  </a:schemeClr>
                </a:solidFill>
                <a:effectLst/>
                <a:latin typeface="Verdana" panose="020B0604030504040204" pitchFamily="34" charset="0"/>
              </a:rPr>
              <a:t>3</a:t>
            </a:r>
            <a:endParaRPr lang="en-US" sz="11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97251860"/>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706E-BE1F-4177-844F-8FEA64AD4A0C}"/>
              </a:ext>
            </a:extLst>
          </p:cNvPr>
          <p:cNvSpPr>
            <a:spLocks noGrp="1"/>
          </p:cNvSpPr>
          <p:nvPr>
            <p:ph type="title"/>
          </p:nvPr>
        </p:nvSpPr>
        <p:spPr>
          <a:xfrm>
            <a:off x="143093" y="105430"/>
            <a:ext cx="8229600" cy="637794"/>
          </a:xfrm>
        </p:spPr>
        <p:txBody>
          <a:bodyPr/>
          <a:lstStyle/>
          <a:p>
            <a:r>
              <a:rPr lang="en-US" dirty="0"/>
              <a:t>Worksheet</a:t>
            </a:r>
          </a:p>
        </p:txBody>
      </p:sp>
    </p:spTree>
    <p:extLst>
      <p:ext uri="{BB962C8B-B14F-4D97-AF65-F5344CB8AC3E}">
        <p14:creationId xmlns:p14="http://schemas.microsoft.com/office/powerpoint/2010/main" val="2405108307"/>
      </p:ext>
    </p:extLst>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02B98-D68B-4822-8A33-AA6F189B8061}"/>
              </a:ext>
            </a:extLst>
          </p:cNvPr>
          <p:cNvSpPr>
            <a:spLocks noGrp="1"/>
          </p:cNvSpPr>
          <p:nvPr>
            <p:ph type="title"/>
          </p:nvPr>
        </p:nvSpPr>
        <p:spPr>
          <a:xfrm>
            <a:off x="0" y="56569"/>
            <a:ext cx="8229600" cy="637794"/>
          </a:xfrm>
        </p:spPr>
        <p:txBody>
          <a:bodyPr/>
          <a:lstStyle/>
          <a:p>
            <a:r>
              <a:rPr lang="en-US" dirty="0"/>
              <a:t>Box and Whiskers Plot</a:t>
            </a:r>
          </a:p>
        </p:txBody>
      </p:sp>
      <p:sp>
        <p:nvSpPr>
          <p:cNvPr id="3" name="TextBox 2">
            <a:extLst>
              <a:ext uri="{FF2B5EF4-FFF2-40B4-BE49-F238E27FC236}">
                <a16:creationId xmlns:a16="http://schemas.microsoft.com/office/drawing/2014/main" id="{5CE3D9A2-4611-47A0-ADFC-F45B7CD82AC5}"/>
              </a:ext>
            </a:extLst>
          </p:cNvPr>
          <p:cNvSpPr txBox="1"/>
          <p:nvPr/>
        </p:nvSpPr>
        <p:spPr>
          <a:xfrm>
            <a:off x="181482" y="694363"/>
            <a:ext cx="7664209"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We can show all the important values in a "Box and Whisker Plot", like this:</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CFC2D9A-0771-4355-9746-A1CDB752DECD}"/>
              </a:ext>
            </a:extLst>
          </p:cNvPr>
          <p:cNvPicPr>
            <a:picLocks noChangeAspect="1"/>
          </p:cNvPicPr>
          <p:nvPr/>
        </p:nvPicPr>
        <p:blipFill>
          <a:blip r:embed="rId2"/>
          <a:stretch>
            <a:fillRect/>
          </a:stretch>
        </p:blipFill>
        <p:spPr>
          <a:xfrm>
            <a:off x="1771177" y="1639934"/>
            <a:ext cx="4280615" cy="1314520"/>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461DD368-FAC4-4C39-AB66-5235CC1EE88D}"/>
                  </a:ext>
                </a:extLst>
              </p14:cNvPr>
              <p14:cNvContentPartPr/>
              <p14:nvPr/>
            </p14:nvContentPartPr>
            <p14:xfrm>
              <a:off x="1347840" y="1271520"/>
              <a:ext cx="7077240" cy="2605680"/>
            </p14:xfrm>
          </p:contentPart>
        </mc:Choice>
        <mc:Fallback>
          <p:pic>
            <p:nvPicPr>
              <p:cNvPr id="4" name="Ink 3">
                <a:extLst>
                  <a:ext uri="{FF2B5EF4-FFF2-40B4-BE49-F238E27FC236}">
                    <a16:creationId xmlns:a16="http://schemas.microsoft.com/office/drawing/2014/main" id="{461DD368-FAC4-4C39-AB66-5235CC1EE88D}"/>
                  </a:ext>
                </a:extLst>
              </p:cNvPr>
              <p:cNvPicPr/>
              <p:nvPr/>
            </p:nvPicPr>
            <p:blipFill>
              <a:blip r:embed="rId4"/>
              <a:stretch>
                <a:fillRect/>
              </a:stretch>
            </p:blipFill>
            <p:spPr>
              <a:xfrm>
                <a:off x="1338480" y="1262160"/>
                <a:ext cx="7095960" cy="2624400"/>
              </a:xfrm>
              <a:prstGeom prst="rect">
                <a:avLst/>
              </a:prstGeom>
            </p:spPr>
          </p:pic>
        </mc:Fallback>
      </mc:AlternateContent>
    </p:spTree>
    <p:extLst>
      <p:ext uri="{BB962C8B-B14F-4D97-AF65-F5344CB8AC3E}">
        <p14:creationId xmlns:p14="http://schemas.microsoft.com/office/powerpoint/2010/main" val="47765115"/>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22860"/>
            <a:ext cx="7955280" cy="64008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3846931" y="544882"/>
            <a:ext cx="1484335"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025045"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5697256"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62629"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1889341"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3907079"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5733791"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1889341" y="926926"/>
            <a:ext cx="2699758"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4589099" y="926926"/>
            <a:ext cx="1972453"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890391" y="1818361"/>
            <a:ext cx="998950"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1889341" y="1818361"/>
            <a:ext cx="827762"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4734841" y="1818361"/>
            <a:ext cx="182671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6561552" y="1818361"/>
            <a:ext cx="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04702" y="3329533"/>
            <a:ext cx="59331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7425848"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6561552" y="1818361"/>
            <a:ext cx="1692058"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9912247"/>
      </p:ext>
    </p:extLst>
  </p:cSld>
  <p:clrMapOvr>
    <a:masterClrMapping/>
  </p:clrMapOvr>
  <p:transition spd="med">
    <p:wipe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F826E-42FE-413B-94F5-930FD1324A21}"/>
              </a:ext>
            </a:extLst>
          </p:cNvPr>
          <p:cNvSpPr>
            <a:spLocks noGrp="1"/>
          </p:cNvSpPr>
          <p:nvPr>
            <p:ph type="title"/>
          </p:nvPr>
        </p:nvSpPr>
        <p:spPr>
          <a:xfrm>
            <a:off x="0" y="0"/>
            <a:ext cx="9144000" cy="637794"/>
          </a:xfrm>
        </p:spPr>
        <p:txBody>
          <a:bodyPr/>
          <a:lstStyle/>
          <a:p>
            <a:r>
              <a:rPr lang="en-US" dirty="0"/>
              <a:t>Putting it all together – Quartiles &amp; Box and Whisker Plot</a:t>
            </a:r>
          </a:p>
        </p:txBody>
      </p:sp>
      <p:sp>
        <p:nvSpPr>
          <p:cNvPr id="3" name="TextBox 2">
            <a:extLst>
              <a:ext uri="{FF2B5EF4-FFF2-40B4-BE49-F238E27FC236}">
                <a16:creationId xmlns:a16="http://schemas.microsoft.com/office/drawing/2014/main" id="{732EC174-2DD3-4269-88F1-B18EC6E5775D}"/>
              </a:ext>
            </a:extLst>
          </p:cNvPr>
          <p:cNvSpPr txBox="1"/>
          <p:nvPr/>
        </p:nvSpPr>
        <p:spPr>
          <a:xfrm>
            <a:off x="69801" y="401925"/>
            <a:ext cx="8550687" cy="4508927"/>
          </a:xfrm>
          <a:prstGeom prst="rect">
            <a:avLst/>
          </a:prstGeom>
          <a:noFill/>
        </p:spPr>
        <p:txBody>
          <a:bodyPr wrap="square" rtlCol="0">
            <a:spAutoFit/>
          </a:bodyPr>
          <a:lstStyle/>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Example: </a:t>
            </a:r>
            <a:r>
              <a:rPr lang="en-US" sz="1100" b="1" i="0" dirty="0">
                <a:solidFill>
                  <a:schemeClr val="bg2">
                    <a:lumMod val="50000"/>
                    <a:lumOff val="50000"/>
                  </a:schemeClr>
                </a:solidFill>
                <a:effectLst/>
                <a:latin typeface="Verdana" panose="020B0604030504040204" pitchFamily="34" charset="0"/>
              </a:rPr>
              <a:t>Box and Whisker Plot and Interquartile Range</a:t>
            </a:r>
            <a:r>
              <a:rPr lang="en-US" sz="1100" b="0" i="0" dirty="0">
                <a:solidFill>
                  <a:schemeClr val="bg2">
                    <a:lumMod val="50000"/>
                    <a:lumOff val="50000"/>
                  </a:schemeClr>
                </a:solidFill>
                <a:effectLst/>
                <a:latin typeface="Verdana" panose="020B0604030504040204" pitchFamily="34" charset="0"/>
              </a:rPr>
              <a:t> for</a:t>
            </a:r>
          </a:p>
          <a:p>
            <a:pPr algn="l"/>
            <a:endParaRPr lang="en-US" sz="1100" dirty="0">
              <a:solidFill>
                <a:schemeClr val="bg2">
                  <a:lumMod val="50000"/>
                  <a:lumOff val="50000"/>
                </a:schemeClr>
              </a:solidFill>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4, 17, 7, 14, 18, 12, 3, 16, 10, 4, 4, 11</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Put them in order:   </a:t>
            </a:r>
            <a:r>
              <a:rPr lang="en-US" sz="1100" b="0" i="0" dirty="0">
                <a:solidFill>
                  <a:schemeClr val="bg2">
                    <a:lumMod val="50000"/>
                    <a:lumOff val="50000"/>
                  </a:schemeClr>
                </a:solidFill>
                <a:effectLst/>
                <a:latin typeface="Verdana" panose="020B0604030504040204" pitchFamily="34" charset="0"/>
              </a:rPr>
              <a:t>3, 4, 4, 4, 7, 10, 11, 12, 14, 16, 17, 18</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Cut it into quarters:  </a:t>
            </a:r>
            <a:r>
              <a:rPr lang="en-US" sz="1100" b="0" i="0" dirty="0">
                <a:solidFill>
                  <a:schemeClr val="bg2">
                    <a:lumMod val="50000"/>
                    <a:lumOff val="50000"/>
                  </a:schemeClr>
                </a:solidFill>
                <a:effectLst/>
                <a:latin typeface="Verdana" panose="020B0604030504040204" pitchFamily="34" charset="0"/>
              </a:rPr>
              <a:t>3, 4, 4 | 4, 7, 10 | 11, 12, 14 | 16, 17, 18</a:t>
            </a:r>
          </a:p>
          <a:p>
            <a:pPr algn="l"/>
            <a:endParaRPr lang="en-US" sz="1100" b="0" i="0" dirty="0">
              <a:solidFill>
                <a:schemeClr val="bg2">
                  <a:lumMod val="50000"/>
                  <a:lumOff val="50000"/>
                </a:schemeClr>
              </a:solidFill>
              <a:effectLst/>
              <a:latin typeface="Verdana" panose="020B0604030504040204" pitchFamily="34" charset="0"/>
            </a:endParaRP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In this case all the quartiles are between numbers:</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1 (Q1) = (4+4)/2 = </a:t>
            </a:r>
            <a:r>
              <a:rPr lang="en-US" sz="1100" b="1" i="0" dirty="0">
                <a:solidFill>
                  <a:schemeClr val="bg2">
                    <a:lumMod val="50000"/>
                    <a:lumOff val="50000"/>
                  </a:schemeClr>
                </a:solidFill>
                <a:effectLst/>
                <a:latin typeface="Verdana" panose="020B0604030504040204" pitchFamily="34" charset="0"/>
              </a:rPr>
              <a:t>4</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2 (Q2) = (10+11)/2 = </a:t>
            </a:r>
            <a:r>
              <a:rPr lang="en-US" sz="1100" b="1" i="0" dirty="0">
                <a:solidFill>
                  <a:schemeClr val="bg2">
                    <a:lumMod val="50000"/>
                    <a:lumOff val="50000"/>
                  </a:schemeClr>
                </a:solidFill>
                <a:effectLst/>
                <a:latin typeface="Verdana" panose="020B0604030504040204" pitchFamily="34" charset="0"/>
              </a:rPr>
              <a:t>10.5</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3 (Q3) = (14+16)/2 = </a:t>
            </a:r>
            <a:r>
              <a:rPr lang="en-US" sz="1100" b="1" i="0" dirty="0">
                <a:solidFill>
                  <a:schemeClr val="bg2">
                    <a:lumMod val="50000"/>
                    <a:lumOff val="50000"/>
                  </a:schemeClr>
                </a:solidFill>
                <a:effectLst/>
                <a:latin typeface="Verdana" panose="020B0604030504040204" pitchFamily="34" charset="0"/>
              </a:rPr>
              <a:t>15</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Also:</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Lowest Value is </a:t>
            </a:r>
            <a:r>
              <a:rPr lang="en-US" sz="1100" b="1" i="0" dirty="0">
                <a:solidFill>
                  <a:schemeClr val="bg2">
                    <a:lumMod val="50000"/>
                    <a:lumOff val="50000"/>
                  </a:schemeClr>
                </a:solidFill>
                <a:effectLst/>
                <a:latin typeface="Verdana" panose="020B0604030504040204" pitchFamily="34" charset="0"/>
              </a:rPr>
              <a:t>3</a:t>
            </a:r>
            <a:r>
              <a:rPr lang="en-US" sz="1100" b="0" i="0" dirty="0">
                <a:solidFill>
                  <a:schemeClr val="bg2">
                    <a:lumMod val="50000"/>
                    <a:lumOff val="50000"/>
                  </a:schemeClr>
                </a:solidFill>
                <a:effectLst/>
                <a:latin typeface="Verdana" panose="020B0604030504040204" pitchFamily="34" charset="0"/>
              </a:rPr>
              <a:t>,</a:t>
            </a:r>
          </a:p>
          <a:p>
            <a:pPr algn="l"/>
            <a:r>
              <a:rPr lang="en-US" sz="1100" b="0" i="0" dirty="0">
                <a:solidFill>
                  <a:schemeClr val="bg2">
                    <a:lumMod val="50000"/>
                    <a:lumOff val="50000"/>
                  </a:schemeClr>
                </a:solidFill>
                <a:effectLst/>
                <a:latin typeface="Verdana" panose="020B0604030504040204" pitchFamily="34" charset="0"/>
              </a:rPr>
              <a:t>The Highest Value is </a:t>
            </a:r>
            <a:r>
              <a:rPr lang="en-US" sz="1100" b="1" i="0" dirty="0">
                <a:solidFill>
                  <a:schemeClr val="bg2">
                    <a:lumMod val="50000"/>
                    <a:lumOff val="50000"/>
                  </a:schemeClr>
                </a:solidFill>
                <a:effectLst/>
                <a:latin typeface="Verdana" panose="020B0604030504040204" pitchFamily="34" charset="0"/>
              </a:rPr>
              <a:t>18</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endParaRPr lang="en-US" sz="1000" b="0" i="0" dirty="0">
              <a:solidFill>
                <a:schemeClr val="bg2">
                  <a:lumMod val="50000"/>
                  <a:lumOff val="50000"/>
                </a:schemeClr>
              </a:solidFill>
              <a:effectLst/>
              <a:latin typeface="Verdana" panose="020B0604030504040204" pitchFamily="34" charset="0"/>
            </a:endParaRPr>
          </a:p>
          <a:p>
            <a:pPr algn="l"/>
            <a:r>
              <a:rPr lang="en-US" sz="1000" b="0" i="0" dirty="0">
                <a:solidFill>
                  <a:schemeClr val="bg2">
                    <a:lumMod val="50000"/>
                    <a:lumOff val="50000"/>
                  </a:schemeClr>
                </a:solidFill>
                <a:effectLst/>
                <a:latin typeface="Verdana" panose="020B0604030504040204" pitchFamily="34" charset="0"/>
              </a:rPr>
              <a:t>And the </a:t>
            </a:r>
            <a:r>
              <a:rPr lang="en-US" sz="1000" b="1" i="0" dirty="0">
                <a:solidFill>
                  <a:schemeClr val="bg2">
                    <a:lumMod val="50000"/>
                    <a:lumOff val="50000"/>
                  </a:schemeClr>
                </a:solidFill>
                <a:effectLst/>
                <a:latin typeface="Verdana" panose="020B0604030504040204" pitchFamily="34" charset="0"/>
              </a:rPr>
              <a:t>Interquartile Range</a:t>
            </a:r>
            <a:r>
              <a:rPr lang="en-US" sz="1000" b="0" i="0" dirty="0">
                <a:solidFill>
                  <a:schemeClr val="bg2">
                    <a:lumMod val="50000"/>
                    <a:lumOff val="50000"/>
                  </a:schemeClr>
                </a:solidFill>
                <a:effectLst/>
                <a:latin typeface="Verdana" panose="020B0604030504040204" pitchFamily="34" charset="0"/>
              </a:rPr>
              <a:t> is:  Q3 − Q1 = 15 − 4 = </a:t>
            </a:r>
            <a:r>
              <a:rPr lang="en-US" sz="1000" b="1" i="0" dirty="0">
                <a:solidFill>
                  <a:schemeClr val="bg2">
                    <a:lumMod val="50000"/>
                    <a:lumOff val="50000"/>
                  </a:schemeClr>
                </a:solidFill>
                <a:effectLst/>
                <a:latin typeface="Verdana" panose="020B0604030504040204" pitchFamily="34" charset="0"/>
              </a:rPr>
              <a:t>11</a:t>
            </a:r>
            <a:endParaRPr lang="en-US" sz="1000" b="0" i="0" dirty="0">
              <a:solidFill>
                <a:schemeClr val="bg2">
                  <a:lumMod val="50000"/>
                  <a:lumOff val="50000"/>
                </a:schemeClr>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855912B2-43D3-466B-8818-DA5069B7543D}"/>
              </a:ext>
            </a:extLst>
          </p:cNvPr>
          <p:cNvPicPr>
            <a:picLocks noChangeAspect="1"/>
          </p:cNvPicPr>
          <p:nvPr/>
        </p:nvPicPr>
        <p:blipFill>
          <a:blip r:embed="rId2"/>
          <a:stretch>
            <a:fillRect/>
          </a:stretch>
        </p:blipFill>
        <p:spPr>
          <a:xfrm>
            <a:off x="2563059" y="3011718"/>
            <a:ext cx="6388986" cy="1080553"/>
          </a:xfrm>
          <a:prstGeom prst="rect">
            <a:avLst/>
          </a:prstGeom>
        </p:spPr>
      </p:pic>
      <p:sp>
        <p:nvSpPr>
          <p:cNvPr id="6" name="Rectangle 5">
            <a:extLst>
              <a:ext uri="{FF2B5EF4-FFF2-40B4-BE49-F238E27FC236}">
                <a16:creationId xmlns:a16="http://schemas.microsoft.com/office/drawing/2014/main" id="{78A0F166-87FB-4E04-AA2E-A971A56754AB}"/>
              </a:ext>
            </a:extLst>
          </p:cNvPr>
          <p:cNvSpPr/>
          <p:nvPr/>
        </p:nvSpPr>
        <p:spPr>
          <a:xfrm>
            <a:off x="69801" y="4174131"/>
            <a:ext cx="4020568" cy="432770"/>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B7CF6BBD-4D1E-4DB9-8113-C833E83AD9EF}"/>
                  </a:ext>
                </a:extLst>
              </p14:cNvPr>
              <p14:cNvContentPartPr/>
              <p14:nvPr/>
            </p14:nvContentPartPr>
            <p14:xfrm>
              <a:off x="4290840" y="819000"/>
              <a:ext cx="4029480" cy="3805920"/>
            </p14:xfrm>
          </p:contentPart>
        </mc:Choice>
        <mc:Fallback>
          <p:pic>
            <p:nvPicPr>
              <p:cNvPr id="4" name="Ink 3">
                <a:extLst>
                  <a:ext uri="{FF2B5EF4-FFF2-40B4-BE49-F238E27FC236}">
                    <a16:creationId xmlns:a16="http://schemas.microsoft.com/office/drawing/2014/main" id="{B7CF6BBD-4D1E-4DB9-8113-C833E83AD9EF}"/>
                  </a:ext>
                </a:extLst>
              </p:cNvPr>
              <p:cNvPicPr/>
              <p:nvPr/>
            </p:nvPicPr>
            <p:blipFill>
              <a:blip r:embed="rId4"/>
              <a:stretch>
                <a:fillRect/>
              </a:stretch>
            </p:blipFill>
            <p:spPr>
              <a:xfrm>
                <a:off x="4281480" y="809640"/>
                <a:ext cx="4048200" cy="3824640"/>
              </a:xfrm>
              <a:prstGeom prst="rect">
                <a:avLst/>
              </a:prstGeom>
            </p:spPr>
          </p:pic>
        </mc:Fallback>
      </mc:AlternateContent>
    </p:spTree>
    <p:extLst>
      <p:ext uri="{BB962C8B-B14F-4D97-AF65-F5344CB8AC3E}">
        <p14:creationId xmlns:p14="http://schemas.microsoft.com/office/powerpoint/2010/main" val="1053432518"/>
      </p:ext>
    </p:extLst>
  </p:cSld>
  <p:clrMapOvr>
    <a:masterClrMapping/>
  </p:clrMapOvr>
  <p:transition spd="med">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FB37-7364-4C6E-8104-4B3F120F068C}"/>
              </a:ext>
            </a:extLst>
          </p:cNvPr>
          <p:cNvSpPr>
            <a:spLocks noGrp="1"/>
          </p:cNvSpPr>
          <p:nvPr>
            <p:ph type="title"/>
          </p:nvPr>
        </p:nvSpPr>
        <p:spPr>
          <a:xfrm>
            <a:off x="0" y="0"/>
            <a:ext cx="8229600" cy="637794"/>
          </a:xfrm>
        </p:spPr>
        <p:txBody>
          <a:bodyPr/>
          <a:lstStyle/>
          <a:p>
            <a:r>
              <a:rPr lang="en-US" dirty="0"/>
              <a:t>Quartile – Five-number summary</a:t>
            </a:r>
          </a:p>
        </p:txBody>
      </p:sp>
      <p:sp>
        <p:nvSpPr>
          <p:cNvPr id="3" name="TextBox 2">
            <a:extLst>
              <a:ext uri="{FF2B5EF4-FFF2-40B4-BE49-F238E27FC236}">
                <a16:creationId xmlns:a16="http://schemas.microsoft.com/office/drawing/2014/main" id="{6AA95D92-9A44-4080-BA36-19FFE96B6405}"/>
              </a:ext>
            </a:extLst>
          </p:cNvPr>
          <p:cNvSpPr txBox="1"/>
          <p:nvPr/>
        </p:nvSpPr>
        <p:spPr>
          <a:xfrm>
            <a:off x="0" y="809698"/>
            <a:ext cx="8927615" cy="286232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very distribution can be organized using a five-number summary:</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Lowest value</a:t>
            </a:r>
          </a:p>
          <a:p>
            <a:pPr>
              <a:spcBef>
                <a:spcPts val="0"/>
              </a:spcBef>
              <a:spcAft>
                <a:spcPts val="0"/>
              </a:spcAft>
              <a:buClr>
                <a:schemeClr val="bg1"/>
              </a:buClr>
            </a:pPr>
            <a:r>
              <a:rPr lang="en-US" sz="1800" dirty="0">
                <a:solidFill>
                  <a:schemeClr val="bg2">
                    <a:lumMod val="50000"/>
                    <a:lumOff val="50000"/>
                  </a:schemeClr>
                </a:solidFill>
                <a:latin typeface="+mn-lt"/>
              </a:rPr>
              <a:t>Q1: 25th percentile</a:t>
            </a:r>
          </a:p>
          <a:p>
            <a:pPr>
              <a:spcBef>
                <a:spcPts val="0"/>
              </a:spcBef>
              <a:spcAft>
                <a:spcPts val="0"/>
              </a:spcAft>
              <a:buClr>
                <a:schemeClr val="bg1"/>
              </a:buClr>
            </a:pPr>
            <a:r>
              <a:rPr lang="en-US" sz="1800" dirty="0">
                <a:solidFill>
                  <a:schemeClr val="bg2">
                    <a:lumMod val="50000"/>
                    <a:lumOff val="50000"/>
                  </a:schemeClr>
                </a:solidFill>
                <a:latin typeface="+mn-lt"/>
              </a:rPr>
              <a:t>Q2: the median</a:t>
            </a:r>
          </a:p>
          <a:p>
            <a:pPr>
              <a:spcBef>
                <a:spcPts val="0"/>
              </a:spcBef>
              <a:spcAft>
                <a:spcPts val="0"/>
              </a:spcAft>
              <a:buClr>
                <a:schemeClr val="bg1"/>
              </a:buClr>
            </a:pPr>
            <a:r>
              <a:rPr lang="en-US" sz="1800" dirty="0">
                <a:solidFill>
                  <a:schemeClr val="bg2">
                    <a:lumMod val="50000"/>
                    <a:lumOff val="50000"/>
                  </a:schemeClr>
                </a:solidFill>
                <a:latin typeface="+mn-lt"/>
              </a:rPr>
              <a:t>Q3: 75th percentile</a:t>
            </a:r>
          </a:p>
          <a:p>
            <a:pPr>
              <a:spcBef>
                <a:spcPts val="0"/>
              </a:spcBef>
              <a:spcAft>
                <a:spcPts val="0"/>
              </a:spcAft>
              <a:buClr>
                <a:schemeClr val="bg1"/>
              </a:buClr>
            </a:pPr>
            <a:r>
              <a:rPr lang="en-US" sz="1800" dirty="0">
                <a:solidFill>
                  <a:schemeClr val="bg2">
                    <a:lumMod val="50000"/>
                    <a:lumOff val="50000"/>
                  </a:schemeClr>
                </a:solidFill>
                <a:latin typeface="+mn-lt"/>
              </a:rPr>
              <a:t>Highest value (Q4)</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These five-number summaries can be easily visualized using box and whisker plots</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D5CA3271-C133-4C25-A431-A24521DBE619}"/>
                  </a:ext>
                </a:extLst>
              </p14:cNvPr>
              <p14:cNvContentPartPr/>
              <p14:nvPr/>
            </p14:nvContentPartPr>
            <p14:xfrm>
              <a:off x="1014480" y="1238400"/>
              <a:ext cx="7839360" cy="3772080"/>
            </p14:xfrm>
          </p:contentPart>
        </mc:Choice>
        <mc:Fallback>
          <p:pic>
            <p:nvPicPr>
              <p:cNvPr id="4" name="Ink 3">
                <a:extLst>
                  <a:ext uri="{FF2B5EF4-FFF2-40B4-BE49-F238E27FC236}">
                    <a16:creationId xmlns:a16="http://schemas.microsoft.com/office/drawing/2014/main" id="{D5CA3271-C133-4C25-A431-A24521DBE619}"/>
                  </a:ext>
                </a:extLst>
              </p:cNvPr>
              <p:cNvPicPr/>
              <p:nvPr/>
            </p:nvPicPr>
            <p:blipFill>
              <a:blip r:embed="rId3"/>
              <a:stretch>
                <a:fillRect/>
              </a:stretch>
            </p:blipFill>
            <p:spPr>
              <a:xfrm>
                <a:off x="1005120" y="1229040"/>
                <a:ext cx="7858080" cy="3790800"/>
              </a:xfrm>
              <a:prstGeom prst="rect">
                <a:avLst/>
              </a:prstGeom>
            </p:spPr>
          </p:pic>
        </mc:Fallback>
      </mc:AlternateContent>
    </p:spTree>
    <p:extLst>
      <p:ext uri="{BB962C8B-B14F-4D97-AF65-F5344CB8AC3E}">
        <p14:creationId xmlns:p14="http://schemas.microsoft.com/office/powerpoint/2010/main" val="1785345867"/>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DBF01-355E-4D2A-A767-72CDC43D1AE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43EE8FE4-39C7-4BD2-BE1E-E79137AD0F9D}"/>
              </a:ext>
            </a:extLst>
          </p:cNvPr>
          <p:cNvSpPr txBox="1"/>
          <p:nvPr/>
        </p:nvSpPr>
        <p:spPr>
          <a:xfrm>
            <a:off x="0" y="659770"/>
            <a:ext cx="8836873" cy="3416320"/>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How far, on average, all values are from the middle</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b="1" dirty="0">
                <a:solidFill>
                  <a:schemeClr val="bg2">
                    <a:lumMod val="50000"/>
                    <a:lumOff val="50000"/>
                  </a:schemeClr>
                </a:solidFill>
                <a:latin typeface="+mn-lt"/>
              </a:rPr>
              <a:t>Calculation Steps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342900" indent="-342900" algn="l">
              <a:buAutoNum type="arabicPeriod"/>
            </a:pPr>
            <a:r>
              <a:rPr lang="en-US" sz="1800" dirty="0">
                <a:solidFill>
                  <a:schemeClr val="bg2">
                    <a:lumMod val="50000"/>
                    <a:lumOff val="50000"/>
                  </a:schemeClr>
                </a:solidFill>
                <a:latin typeface="+mn-lt"/>
              </a:rPr>
              <a:t>Find the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mean</a:t>
            </a:r>
            <a:r>
              <a:rPr lang="en-US" sz="1800" dirty="0">
                <a:solidFill>
                  <a:schemeClr val="bg2">
                    <a:lumMod val="50000"/>
                    <a:lumOff val="50000"/>
                  </a:schemeClr>
                </a:solidFill>
                <a:latin typeface="+mn-lt"/>
              </a:rPr>
              <a:t> of all value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2. Find the distance of each value from that mean (subtract the mean from each value, ignore minus sign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3. Then find the mean of those distanc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D7A88A66-DCB9-47F9-AFD5-3C2BD7A822F7}"/>
                  </a:ext>
                </a:extLst>
              </p14:cNvPr>
              <p14:cNvContentPartPr/>
              <p14:nvPr/>
            </p14:nvContentPartPr>
            <p14:xfrm>
              <a:off x="266760" y="181080"/>
              <a:ext cx="7548840" cy="3405600"/>
            </p14:xfrm>
          </p:contentPart>
        </mc:Choice>
        <mc:Fallback>
          <p:pic>
            <p:nvPicPr>
              <p:cNvPr id="4" name="Ink 3">
                <a:extLst>
                  <a:ext uri="{FF2B5EF4-FFF2-40B4-BE49-F238E27FC236}">
                    <a16:creationId xmlns:a16="http://schemas.microsoft.com/office/drawing/2014/main" id="{D7A88A66-DCB9-47F9-AFD5-3C2BD7A822F7}"/>
                  </a:ext>
                </a:extLst>
              </p:cNvPr>
              <p:cNvPicPr/>
              <p:nvPr/>
            </p:nvPicPr>
            <p:blipFill>
              <a:blip r:embed="rId4"/>
              <a:stretch>
                <a:fillRect/>
              </a:stretch>
            </p:blipFill>
            <p:spPr>
              <a:xfrm>
                <a:off x="257400" y="171720"/>
                <a:ext cx="7567560" cy="3424320"/>
              </a:xfrm>
              <a:prstGeom prst="rect">
                <a:avLst/>
              </a:prstGeom>
            </p:spPr>
          </p:pic>
        </mc:Fallback>
      </mc:AlternateContent>
    </p:spTree>
    <p:extLst>
      <p:ext uri="{BB962C8B-B14F-4D97-AF65-F5344CB8AC3E}">
        <p14:creationId xmlns:p14="http://schemas.microsoft.com/office/powerpoint/2010/main" val="4175273265"/>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8774-87C9-418D-9F90-90226D8612B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C774A8E0-6B14-40F1-88E8-69C5C2BF46A0}"/>
              </a:ext>
            </a:extLst>
          </p:cNvPr>
          <p:cNvSpPr txBox="1"/>
          <p:nvPr/>
        </p:nvSpPr>
        <p:spPr>
          <a:xfrm>
            <a:off x="139603" y="637794"/>
            <a:ext cx="8229600" cy="2246769"/>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xample: the Mean Deviation of 3, 6, 6, 7, 8, 11, 15, 16</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1 : Find the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2 : Find the distance of each value from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	</a:t>
            </a:r>
            <a:r>
              <a:rPr lang="en-US" sz="1800" b="1" i="1" dirty="0">
                <a:solidFill>
                  <a:schemeClr val="bg2">
                    <a:lumMod val="50000"/>
                    <a:lumOff val="50000"/>
                  </a:schemeClr>
                </a:solidFill>
                <a:latin typeface="+mn-lt"/>
              </a:rPr>
              <a:t>Which looks like :  </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2C18772C-952A-41C0-AA17-DDB5486D696E}"/>
              </a:ext>
            </a:extLst>
          </p:cNvPr>
          <p:cNvPicPr>
            <a:picLocks noChangeAspect="1"/>
          </p:cNvPicPr>
          <p:nvPr/>
        </p:nvPicPr>
        <p:blipFill>
          <a:blip r:embed="rId2"/>
          <a:stretch>
            <a:fillRect/>
          </a:stretch>
        </p:blipFill>
        <p:spPr>
          <a:xfrm>
            <a:off x="7017017" y="719932"/>
            <a:ext cx="1676119" cy="2248427"/>
          </a:xfrm>
          <a:prstGeom prst="rect">
            <a:avLst/>
          </a:prstGeom>
        </p:spPr>
      </p:pic>
      <p:pic>
        <p:nvPicPr>
          <p:cNvPr id="8" name="Picture 7">
            <a:extLst>
              <a:ext uri="{FF2B5EF4-FFF2-40B4-BE49-F238E27FC236}">
                <a16:creationId xmlns:a16="http://schemas.microsoft.com/office/drawing/2014/main" id="{8B3BB222-15D4-4D90-87BE-DC4A27AF5518}"/>
              </a:ext>
            </a:extLst>
          </p:cNvPr>
          <p:cNvPicPr>
            <a:picLocks noChangeAspect="1"/>
          </p:cNvPicPr>
          <p:nvPr/>
        </p:nvPicPr>
        <p:blipFill>
          <a:blip r:embed="rId3"/>
          <a:stretch>
            <a:fillRect/>
          </a:stretch>
        </p:blipFill>
        <p:spPr>
          <a:xfrm>
            <a:off x="1146671" y="2733363"/>
            <a:ext cx="5658979" cy="1683827"/>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C31121C3-16EA-4095-87BE-F428BFED2988}"/>
                  </a:ext>
                </a:extLst>
              </p14:cNvPr>
              <p14:cNvContentPartPr/>
              <p14:nvPr/>
            </p14:nvContentPartPr>
            <p14:xfrm>
              <a:off x="2762280" y="419040"/>
              <a:ext cx="6058080" cy="3729600"/>
            </p14:xfrm>
          </p:contentPart>
        </mc:Choice>
        <mc:Fallback>
          <p:pic>
            <p:nvPicPr>
              <p:cNvPr id="4" name="Ink 3">
                <a:extLst>
                  <a:ext uri="{FF2B5EF4-FFF2-40B4-BE49-F238E27FC236}">
                    <a16:creationId xmlns:a16="http://schemas.microsoft.com/office/drawing/2014/main" id="{C31121C3-16EA-4095-87BE-F428BFED2988}"/>
                  </a:ext>
                </a:extLst>
              </p:cNvPr>
              <p:cNvPicPr/>
              <p:nvPr/>
            </p:nvPicPr>
            <p:blipFill>
              <a:blip r:embed="rId5"/>
              <a:stretch>
                <a:fillRect/>
              </a:stretch>
            </p:blipFill>
            <p:spPr>
              <a:xfrm>
                <a:off x="2752920" y="409680"/>
                <a:ext cx="6076800" cy="3748320"/>
              </a:xfrm>
              <a:prstGeom prst="rect">
                <a:avLst/>
              </a:prstGeom>
            </p:spPr>
          </p:pic>
        </mc:Fallback>
      </mc:AlternateContent>
    </p:spTree>
    <p:extLst>
      <p:ext uri="{BB962C8B-B14F-4D97-AF65-F5344CB8AC3E}">
        <p14:creationId xmlns:p14="http://schemas.microsoft.com/office/powerpoint/2010/main" val="1775430889"/>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23591-2BA9-4893-BBCB-23008C088B94}"/>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189569A4-57DB-4D58-AAEC-08366E824698}"/>
              </a:ext>
            </a:extLst>
          </p:cNvPr>
          <p:cNvSpPr txBox="1"/>
          <p:nvPr/>
        </p:nvSpPr>
        <p:spPr>
          <a:xfrm>
            <a:off x="97723" y="571202"/>
            <a:ext cx="8229600" cy="1785104"/>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Step 3 : Find the mean of those distances : </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400" b="1" i="0" dirty="0">
                <a:solidFill>
                  <a:schemeClr val="bg2">
                    <a:lumMod val="50000"/>
                    <a:lumOff val="50000"/>
                  </a:schemeClr>
                </a:solidFill>
                <a:effectLst/>
                <a:latin typeface="Verdana" panose="020B0604030504040204" pitchFamily="34" charset="0"/>
              </a:rPr>
              <a:t>Mean Deviation</a:t>
            </a:r>
            <a:r>
              <a:rPr lang="en-US" sz="1400" b="0" i="0" dirty="0">
                <a:solidFill>
                  <a:schemeClr val="bg2">
                    <a:lumMod val="50000"/>
                    <a:lumOff val="50000"/>
                  </a:schemeClr>
                </a:solidFill>
                <a:effectLst/>
                <a:latin typeface="Verdana" panose="020B0604030504040204" pitchFamily="34" charset="0"/>
              </a:rPr>
              <a:t> =  </a:t>
            </a:r>
            <a:r>
              <a:rPr lang="en-US" sz="1400" b="0" i="1" dirty="0">
                <a:solidFill>
                  <a:schemeClr val="bg2">
                    <a:lumMod val="50000"/>
                    <a:lumOff val="50000"/>
                  </a:schemeClr>
                </a:solidFill>
                <a:effectLst/>
                <a:latin typeface="Verdana" panose="020B0604030504040204" pitchFamily="34" charset="0"/>
              </a:rPr>
              <a:t>6 + 3 + 3 + </a:t>
            </a:r>
            <a:r>
              <a:rPr lang="en-US" sz="1400" i="1" dirty="0">
                <a:solidFill>
                  <a:schemeClr val="bg2">
                    <a:lumMod val="50000"/>
                    <a:lumOff val="50000"/>
                  </a:schemeClr>
                </a:solidFill>
                <a:effectLst/>
                <a:latin typeface="Verdana" panose="020B0604030504040204" pitchFamily="34" charset="0"/>
              </a:rPr>
              <a:t>2 + 1 + 2 + 6 + 7</a:t>
            </a:r>
            <a:r>
              <a:rPr lang="en-US" sz="1400" i="0" dirty="0">
                <a:solidFill>
                  <a:schemeClr val="bg2">
                    <a:lumMod val="50000"/>
                    <a:lumOff val="50000"/>
                  </a:schemeClr>
                </a:solidFill>
                <a:effectLst/>
                <a:latin typeface="Verdana" panose="020B0604030504040204" pitchFamily="34" charset="0"/>
              </a:rPr>
              <a:t>8  =  </a:t>
            </a:r>
            <a:r>
              <a:rPr lang="en-US" sz="1400" i="1" dirty="0">
                <a:solidFill>
                  <a:schemeClr val="bg2">
                    <a:lumMod val="50000"/>
                    <a:lumOff val="50000"/>
                  </a:schemeClr>
                </a:solidFill>
                <a:effectLst/>
                <a:latin typeface="Verdana" panose="020B0604030504040204" pitchFamily="34" charset="0"/>
              </a:rPr>
              <a:t>30</a:t>
            </a:r>
            <a:r>
              <a:rPr lang="en-US" sz="1400" i="0" dirty="0">
                <a:solidFill>
                  <a:schemeClr val="bg2">
                    <a:lumMod val="50000"/>
                    <a:lumOff val="50000"/>
                  </a:schemeClr>
                </a:solidFill>
                <a:effectLst/>
                <a:latin typeface="Verdana" panose="020B0604030504040204" pitchFamily="34" charset="0"/>
              </a:rPr>
              <a:t>8  = 3.75</a:t>
            </a: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Verdana" panose="020B0604030504040204" pitchFamily="34" charset="0"/>
              </a:rPr>
              <a:t>So, the mean = 9, and the mean deviation = 3.75</a:t>
            </a:r>
            <a:endParaRPr lang="en-US" sz="1800" dirty="0">
              <a:solidFill>
                <a:schemeClr val="bg2">
                  <a:lumMod val="50000"/>
                  <a:lumOff val="50000"/>
                </a:schemeClr>
              </a:solidFill>
              <a:latin typeface="+mn-lt"/>
            </a:endParaRPr>
          </a:p>
        </p:txBody>
      </p:sp>
      <p:sp>
        <p:nvSpPr>
          <p:cNvPr id="4" name="TextBox 3">
            <a:extLst>
              <a:ext uri="{FF2B5EF4-FFF2-40B4-BE49-F238E27FC236}">
                <a16:creationId xmlns:a16="http://schemas.microsoft.com/office/drawing/2014/main" id="{7BA168E8-C891-4961-BA65-96DC95B11E16}"/>
              </a:ext>
            </a:extLst>
          </p:cNvPr>
          <p:cNvSpPr txBox="1"/>
          <p:nvPr/>
        </p:nvSpPr>
        <p:spPr>
          <a:xfrm>
            <a:off x="97723" y="2673399"/>
            <a:ext cx="7524604" cy="1846659"/>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1"/>
                </a:solidFill>
                <a:latin typeface="+mj-lt"/>
                <a:cs typeface="+mj-cs"/>
              </a:rPr>
              <a:t>What does Mean Deviation say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t tells us how far, on average, all values are from the middle.</a:t>
            </a: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n that example the values are, on average, 3.75 away from the middle</a:t>
            </a:r>
          </a:p>
          <a:p>
            <a:pPr>
              <a:spcBef>
                <a:spcPts val="0"/>
              </a:spcBef>
              <a:spcAft>
                <a:spcPts val="0"/>
              </a:spcAft>
              <a:buClr>
                <a:schemeClr val="bg1"/>
              </a:buClr>
            </a:pPr>
            <a:endParaRPr lang="en-US" sz="1400" dirty="0" err="1">
              <a:solidFill>
                <a:schemeClr val="bg2"/>
              </a:solidFill>
              <a:latin typeface="+mn-lt"/>
            </a:endParaRPr>
          </a:p>
        </p:txBody>
      </p:sp>
      <p:sp>
        <p:nvSpPr>
          <p:cNvPr id="5" name="Rectangle 4">
            <a:extLst>
              <a:ext uri="{FF2B5EF4-FFF2-40B4-BE49-F238E27FC236}">
                <a16:creationId xmlns:a16="http://schemas.microsoft.com/office/drawing/2014/main" id="{5FC14057-7159-4E30-ABC8-355D937DF3A5}"/>
              </a:ext>
            </a:extLst>
          </p:cNvPr>
          <p:cNvSpPr/>
          <p:nvPr/>
        </p:nvSpPr>
        <p:spPr>
          <a:xfrm>
            <a:off x="97723" y="2673399"/>
            <a:ext cx="8948554" cy="1668256"/>
          </a:xfrm>
          <a:prstGeom prst="rect">
            <a:avLst/>
          </a:prstGeom>
          <a:noFill/>
          <a:ln w="28575"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6" name="Ink 5">
                <a:extLst>
                  <a:ext uri="{FF2B5EF4-FFF2-40B4-BE49-F238E27FC236}">
                    <a16:creationId xmlns:a16="http://schemas.microsoft.com/office/drawing/2014/main" id="{F6C5B896-394D-4C30-9DF4-53BF77E957A3}"/>
                  </a:ext>
                </a:extLst>
              </p14:cNvPr>
              <p14:cNvContentPartPr/>
              <p14:nvPr/>
            </p14:nvContentPartPr>
            <p14:xfrm>
              <a:off x="1076400" y="133200"/>
              <a:ext cx="7834680" cy="3834360"/>
            </p14:xfrm>
          </p:contentPart>
        </mc:Choice>
        <mc:Fallback>
          <p:pic>
            <p:nvPicPr>
              <p:cNvPr id="6" name="Ink 5">
                <a:extLst>
                  <a:ext uri="{FF2B5EF4-FFF2-40B4-BE49-F238E27FC236}">
                    <a16:creationId xmlns:a16="http://schemas.microsoft.com/office/drawing/2014/main" id="{F6C5B896-394D-4C30-9DF4-53BF77E957A3}"/>
                  </a:ext>
                </a:extLst>
              </p:cNvPr>
              <p:cNvPicPr/>
              <p:nvPr/>
            </p:nvPicPr>
            <p:blipFill>
              <a:blip r:embed="rId3"/>
              <a:stretch>
                <a:fillRect/>
              </a:stretch>
            </p:blipFill>
            <p:spPr>
              <a:xfrm>
                <a:off x="1067040" y="123840"/>
                <a:ext cx="7853400" cy="3853080"/>
              </a:xfrm>
              <a:prstGeom prst="rect">
                <a:avLst/>
              </a:prstGeom>
            </p:spPr>
          </p:pic>
        </mc:Fallback>
      </mc:AlternateContent>
    </p:spTree>
    <p:extLst>
      <p:ext uri="{BB962C8B-B14F-4D97-AF65-F5344CB8AC3E}">
        <p14:creationId xmlns:p14="http://schemas.microsoft.com/office/powerpoint/2010/main" val="206333337"/>
      </p:ext>
    </p:extLst>
  </p:cSld>
  <p:clrMapOvr>
    <a:masterClrMapping/>
  </p:clrMapOvr>
  <p:transition spd="med">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446A-7FBF-4270-B3F9-3C9E47FD1AB0}"/>
              </a:ext>
            </a:extLst>
          </p:cNvPr>
          <p:cNvSpPr>
            <a:spLocks noGrp="1"/>
          </p:cNvSpPr>
          <p:nvPr>
            <p:ph type="title"/>
          </p:nvPr>
        </p:nvSpPr>
        <p:spPr>
          <a:xfrm>
            <a:off x="0" y="0"/>
            <a:ext cx="8229600" cy="637794"/>
          </a:xfrm>
        </p:spPr>
        <p:txBody>
          <a:bodyPr/>
          <a:lstStyle/>
          <a:p>
            <a:r>
              <a:rPr lang="en-US" dirty="0"/>
              <a:t>Mean Deviation - Formula</a:t>
            </a:r>
          </a:p>
        </p:txBody>
      </p:sp>
      <p:sp>
        <p:nvSpPr>
          <p:cNvPr id="3" name="TextBox 2">
            <a:extLst>
              <a:ext uri="{FF2B5EF4-FFF2-40B4-BE49-F238E27FC236}">
                <a16:creationId xmlns:a16="http://schemas.microsoft.com/office/drawing/2014/main" id="{6D3F6156-DC35-41C3-BD79-96AB55011EF8}"/>
              </a:ext>
            </a:extLst>
          </p:cNvPr>
          <p:cNvSpPr txBox="1"/>
          <p:nvPr/>
        </p:nvSpPr>
        <p:spPr>
          <a:xfrm>
            <a:off x="160543" y="637794"/>
            <a:ext cx="8725191" cy="3077766"/>
          </a:xfrm>
          <a:prstGeom prst="rect">
            <a:avLst/>
          </a:prstGeom>
          <a:noFill/>
        </p:spPr>
        <p:txBody>
          <a:bodyPr wrap="square" rtlCol="0">
            <a:spAutoFit/>
          </a:bodyPr>
          <a:lstStyle/>
          <a:p>
            <a:pPr algn="l"/>
            <a:r>
              <a:rPr lang="en-US" sz="1800" dirty="0">
                <a:solidFill>
                  <a:schemeClr val="bg2">
                    <a:lumMod val="50000"/>
                    <a:lumOff val="50000"/>
                  </a:schemeClr>
                </a:solidFill>
                <a:latin typeface="+mn-lt"/>
              </a:rPr>
              <a:t>The formula is:</a:t>
            </a: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marL="285750" indent="-285750" algn="l">
              <a:buFont typeface="Arial" panose="020B0604020202020204" pitchFamily="34" charset="0"/>
              <a:buChar char="•"/>
            </a:pPr>
            <a:r>
              <a:rPr lang="en-US" sz="1800" dirty="0">
                <a:solidFill>
                  <a:schemeClr val="bg2">
                    <a:lumMod val="50000"/>
                    <a:lumOff val="50000"/>
                  </a:schemeClr>
                </a:solidFill>
                <a:latin typeface="+mn-lt"/>
              </a:rPr>
              <a:t>Σ is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Sigma</a:t>
            </a:r>
            <a:r>
              <a:rPr lang="en-US" sz="1800" dirty="0">
                <a:solidFill>
                  <a:schemeClr val="bg2">
                    <a:lumMod val="50000"/>
                    <a:lumOff val="50000"/>
                  </a:schemeClr>
                </a:solidFill>
                <a:latin typeface="+mn-lt"/>
              </a:rPr>
              <a:t>, which means to sum up</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 (the vertical bars) mean </a:t>
            </a:r>
            <a:r>
              <a:rPr lang="en-US" sz="1800" dirty="0">
                <a:solidFill>
                  <a:schemeClr val="bg2">
                    <a:lumMod val="50000"/>
                    <a:lumOff val="50000"/>
                  </a:schemeClr>
                </a:solidFill>
                <a:latin typeface="+mn-lt"/>
                <a:hlinkClick r:id="rId3">
                  <a:extLst>
                    <a:ext uri="{A12FA001-AC4F-418D-AE19-62706E023703}">
                      <ahyp:hlinkClr xmlns:ahyp="http://schemas.microsoft.com/office/drawing/2018/hyperlinkcolor" val="tx"/>
                    </a:ext>
                  </a:extLst>
                </a:hlinkClick>
              </a:rPr>
              <a:t>Absolute Value</a:t>
            </a:r>
            <a:r>
              <a:rPr lang="en-US" sz="1800" dirty="0">
                <a:solidFill>
                  <a:schemeClr val="bg2">
                    <a:lumMod val="50000"/>
                    <a:lumOff val="50000"/>
                  </a:schemeClr>
                </a:solidFill>
                <a:latin typeface="+mn-lt"/>
              </a:rPr>
              <a:t>, basically to ignore minus signs</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x is each value (such as 3 or 16)</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μ is the mean (in our example μ = 9)</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N is the number of values (in our example N = 8)</a:t>
            </a:r>
          </a:p>
          <a:p>
            <a:pPr>
              <a:spcBef>
                <a:spcPts val="0"/>
              </a:spcBef>
              <a:spcAft>
                <a:spcPts val="0"/>
              </a:spcAft>
              <a:buClr>
                <a:schemeClr val="bg1"/>
              </a:buClr>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B12533B2-36D3-4DB7-AA9E-F31226F4C8E3}"/>
              </a:ext>
            </a:extLst>
          </p:cNvPr>
          <p:cNvPicPr>
            <a:picLocks noChangeAspect="1"/>
          </p:cNvPicPr>
          <p:nvPr/>
        </p:nvPicPr>
        <p:blipFill>
          <a:blip r:embed="rId4"/>
          <a:stretch>
            <a:fillRect/>
          </a:stretch>
        </p:blipFill>
        <p:spPr>
          <a:xfrm>
            <a:off x="2143271" y="1015177"/>
            <a:ext cx="2714915" cy="769032"/>
          </a:xfrm>
          <a:prstGeom prst="rect">
            <a:avLst/>
          </a:prstGeom>
        </p:spPr>
      </p:pic>
      <p:sp>
        <p:nvSpPr>
          <p:cNvPr id="7" name="TextBox 6">
            <a:extLst>
              <a:ext uri="{FF2B5EF4-FFF2-40B4-BE49-F238E27FC236}">
                <a16:creationId xmlns:a16="http://schemas.microsoft.com/office/drawing/2014/main" id="{72CE07EA-D6D8-4715-8606-26366D32D3E3}"/>
              </a:ext>
            </a:extLst>
          </p:cNvPr>
          <p:cNvSpPr txBox="1"/>
          <p:nvPr/>
        </p:nvSpPr>
        <p:spPr>
          <a:xfrm>
            <a:off x="160543" y="3797203"/>
            <a:ext cx="8069057"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Note : </a:t>
            </a:r>
            <a:r>
              <a:rPr lang="en-US" sz="1400" i="1" dirty="0">
                <a:solidFill>
                  <a:schemeClr val="bg2">
                    <a:lumMod val="50000"/>
                    <a:lumOff val="50000"/>
                  </a:schemeClr>
                </a:solidFill>
                <a:latin typeface="+mn-lt"/>
              </a:rPr>
              <a:t>The “</a:t>
            </a:r>
            <a:r>
              <a:rPr lang="en-US" sz="1400" b="1" i="1" dirty="0">
                <a:solidFill>
                  <a:schemeClr val="bg2">
                    <a:lumMod val="50000"/>
                    <a:lumOff val="50000"/>
                  </a:schemeClr>
                </a:solidFill>
                <a:latin typeface="+mn-lt"/>
              </a:rPr>
              <a:t>Mean Deviation” </a:t>
            </a:r>
            <a:r>
              <a:rPr lang="en-US" sz="1400" i="1" dirty="0">
                <a:solidFill>
                  <a:schemeClr val="bg2">
                    <a:lumMod val="50000"/>
                    <a:lumOff val="50000"/>
                  </a:schemeClr>
                </a:solidFill>
                <a:latin typeface="+mn-lt"/>
              </a:rPr>
              <a:t>is sometimes called the </a:t>
            </a:r>
            <a:r>
              <a:rPr lang="en-US" sz="1400" b="1" i="1" dirty="0">
                <a:solidFill>
                  <a:schemeClr val="bg2">
                    <a:lumMod val="50000"/>
                    <a:lumOff val="50000"/>
                  </a:schemeClr>
                </a:solidFill>
                <a:latin typeface="+mn-lt"/>
              </a:rPr>
              <a:t>“Mean Absolute Deviation”</a:t>
            </a:r>
            <a:r>
              <a:rPr lang="en-US" sz="1400" i="1" dirty="0">
                <a:solidFill>
                  <a:schemeClr val="bg2">
                    <a:lumMod val="50000"/>
                    <a:lumOff val="50000"/>
                  </a:schemeClr>
                </a:solidFill>
                <a:latin typeface="+mn-lt"/>
              </a:rPr>
              <a:t> (MAD) because it is the mean of the absolute deviations</a:t>
            </a:r>
          </a:p>
        </p:txBody>
      </p:sp>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B8242243-1851-4288-81EC-8CA97CD17036}"/>
                  </a:ext>
                </a:extLst>
              </p14:cNvPr>
              <p14:cNvContentPartPr/>
              <p14:nvPr/>
            </p14:nvContentPartPr>
            <p14:xfrm>
              <a:off x="1409760" y="852480"/>
              <a:ext cx="7506000" cy="3286440"/>
            </p14:xfrm>
          </p:contentPart>
        </mc:Choice>
        <mc:Fallback>
          <p:pic>
            <p:nvPicPr>
              <p:cNvPr id="4" name="Ink 3">
                <a:extLst>
                  <a:ext uri="{FF2B5EF4-FFF2-40B4-BE49-F238E27FC236}">
                    <a16:creationId xmlns:a16="http://schemas.microsoft.com/office/drawing/2014/main" id="{B8242243-1851-4288-81EC-8CA97CD17036}"/>
                  </a:ext>
                </a:extLst>
              </p:cNvPr>
              <p:cNvPicPr/>
              <p:nvPr/>
            </p:nvPicPr>
            <p:blipFill>
              <a:blip r:embed="rId6"/>
              <a:stretch>
                <a:fillRect/>
              </a:stretch>
            </p:blipFill>
            <p:spPr>
              <a:xfrm>
                <a:off x="1400400" y="843120"/>
                <a:ext cx="7524720" cy="3305160"/>
              </a:xfrm>
              <a:prstGeom prst="rect">
                <a:avLst/>
              </a:prstGeom>
            </p:spPr>
          </p:pic>
        </mc:Fallback>
      </mc:AlternateContent>
    </p:spTree>
    <p:extLst>
      <p:ext uri="{BB962C8B-B14F-4D97-AF65-F5344CB8AC3E}">
        <p14:creationId xmlns:p14="http://schemas.microsoft.com/office/powerpoint/2010/main" val="4202863261"/>
      </p:ext>
    </p:extLst>
  </p:cSld>
  <p:clrMapOvr>
    <a:masterClrMapping/>
  </p:clrMapOvr>
  <p:transition spd="med">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3DDC-6903-4E07-98B9-95FDD97BD569}"/>
              </a:ext>
            </a:extLst>
          </p:cNvPr>
          <p:cNvSpPr>
            <a:spLocks noGrp="1"/>
          </p:cNvSpPr>
          <p:nvPr>
            <p:ph type="title"/>
          </p:nvPr>
        </p:nvSpPr>
        <p:spPr>
          <a:xfrm>
            <a:off x="0" y="0"/>
            <a:ext cx="8229600" cy="637794"/>
          </a:xfrm>
        </p:spPr>
        <p:txBody>
          <a:bodyPr/>
          <a:lstStyle/>
          <a:p>
            <a:r>
              <a:rPr lang="en-US" dirty="0"/>
              <a:t>Mean Deviation – Real life example </a:t>
            </a:r>
          </a:p>
        </p:txBody>
      </p:sp>
      <p:sp>
        <p:nvSpPr>
          <p:cNvPr id="3" name="TextBox 2">
            <a:extLst>
              <a:ext uri="{FF2B5EF4-FFF2-40B4-BE49-F238E27FC236}">
                <a16:creationId xmlns:a16="http://schemas.microsoft.com/office/drawing/2014/main" id="{64CEE453-977A-4B43-8454-41EFE9BF1B1F}"/>
              </a:ext>
            </a:extLst>
          </p:cNvPr>
          <p:cNvSpPr txBox="1"/>
          <p:nvPr/>
        </p:nvSpPr>
        <p:spPr>
          <a:xfrm>
            <a:off x="216385" y="579353"/>
            <a:ext cx="8159798"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 </a:t>
            </a:r>
            <a:r>
              <a:rPr lang="en-US" sz="1400" dirty="0">
                <a:solidFill>
                  <a:schemeClr val="bg2">
                    <a:lumMod val="50000"/>
                    <a:lumOff val="50000"/>
                  </a:schemeClr>
                </a:solidFill>
                <a:latin typeface="+mn-lt"/>
              </a:rPr>
              <a:t>A group of friends have just measured the heights of their dogs ( in millimeters) </a:t>
            </a:r>
          </a:p>
          <a:p>
            <a:pPr>
              <a:spcBef>
                <a:spcPts val="0"/>
              </a:spcBef>
              <a:spcAft>
                <a:spcPts val="0"/>
              </a:spcAft>
              <a:buClr>
                <a:schemeClr val="bg1"/>
              </a:buCl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latin typeface="+mn-lt"/>
              </a:rPr>
              <a:t>The heights at shoulders are : 600mm, 470mm, 170mm, 430mm and 300m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1 : </a:t>
            </a:r>
            <a:r>
              <a:rPr lang="en-US" sz="1400" dirty="0">
                <a:solidFill>
                  <a:schemeClr val="bg2">
                    <a:lumMod val="50000"/>
                    <a:lumOff val="50000"/>
                  </a:schemeClr>
                </a:solidFill>
                <a:latin typeface="+mn-lt"/>
              </a:rPr>
              <a:t>Find </a:t>
            </a:r>
            <a:r>
              <a:rPr lang="en-US" sz="1400" b="1" dirty="0">
                <a:solidFill>
                  <a:schemeClr val="bg2">
                    <a:lumMod val="50000"/>
                    <a:lumOff val="50000"/>
                  </a:schemeClr>
                </a:solidFill>
                <a:latin typeface="+mn-lt"/>
              </a:rPr>
              <a:t>mean </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2 : </a:t>
            </a:r>
            <a:r>
              <a:rPr lang="en-US" sz="1400" dirty="0">
                <a:solidFill>
                  <a:schemeClr val="bg2">
                    <a:lumMod val="50000"/>
                    <a:lumOff val="50000"/>
                  </a:schemeClr>
                </a:solidFill>
                <a:latin typeface="+mn-lt"/>
              </a:rPr>
              <a:t>Find the </a:t>
            </a:r>
            <a:r>
              <a:rPr lang="en-US" sz="1400" b="1" dirty="0">
                <a:solidFill>
                  <a:schemeClr val="bg2">
                    <a:lumMod val="50000"/>
                    <a:lumOff val="50000"/>
                  </a:schemeClr>
                </a:solidFill>
                <a:latin typeface="+mn-lt"/>
              </a:rPr>
              <a:t>absolute Deviations</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959516F1-D246-4E8C-A73E-475C71B1491B}"/>
              </a:ext>
            </a:extLst>
          </p:cNvPr>
          <p:cNvPicPr>
            <a:picLocks noChangeAspect="1"/>
          </p:cNvPicPr>
          <p:nvPr/>
        </p:nvPicPr>
        <p:blipFill>
          <a:blip r:embed="rId2"/>
          <a:stretch>
            <a:fillRect/>
          </a:stretch>
        </p:blipFill>
        <p:spPr>
          <a:xfrm>
            <a:off x="5916553" y="2812641"/>
            <a:ext cx="2230667" cy="1919030"/>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6833B48B-A26A-4855-B73C-8420911DC1A7}"/>
                  </a:ext>
                </a:extLst>
              </p14:cNvPr>
              <p14:cNvContentPartPr/>
              <p14:nvPr/>
            </p14:nvContentPartPr>
            <p14:xfrm>
              <a:off x="719280" y="480960"/>
              <a:ext cx="7353360" cy="4477320"/>
            </p14:xfrm>
          </p:contentPart>
        </mc:Choice>
        <mc:Fallback>
          <p:pic>
            <p:nvPicPr>
              <p:cNvPr id="4" name="Ink 3">
                <a:extLst>
                  <a:ext uri="{FF2B5EF4-FFF2-40B4-BE49-F238E27FC236}">
                    <a16:creationId xmlns:a16="http://schemas.microsoft.com/office/drawing/2014/main" id="{6833B48B-A26A-4855-B73C-8420911DC1A7}"/>
                  </a:ext>
                </a:extLst>
              </p:cNvPr>
              <p:cNvPicPr/>
              <p:nvPr/>
            </p:nvPicPr>
            <p:blipFill>
              <a:blip r:embed="rId4"/>
              <a:stretch>
                <a:fillRect/>
              </a:stretch>
            </p:blipFill>
            <p:spPr>
              <a:xfrm>
                <a:off x="709920" y="471600"/>
                <a:ext cx="7372080" cy="4496040"/>
              </a:xfrm>
              <a:prstGeom prst="rect">
                <a:avLst/>
              </a:prstGeom>
            </p:spPr>
          </p:pic>
        </mc:Fallback>
      </mc:AlternateContent>
    </p:spTree>
    <p:extLst>
      <p:ext uri="{BB962C8B-B14F-4D97-AF65-F5344CB8AC3E}">
        <p14:creationId xmlns:p14="http://schemas.microsoft.com/office/powerpoint/2010/main" val="4012045956"/>
      </p:ext>
    </p:extLst>
  </p:cSld>
  <p:clrMapOvr>
    <a:masterClrMapping/>
  </p:clrMapOvr>
  <p:transition spd="med">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0F8C7-2815-423B-9CFE-F3DB4C4B33CF}"/>
              </a:ext>
            </a:extLst>
          </p:cNvPr>
          <p:cNvSpPr>
            <a:spLocks noGrp="1"/>
          </p:cNvSpPr>
          <p:nvPr>
            <p:ph type="title"/>
          </p:nvPr>
        </p:nvSpPr>
        <p:spPr>
          <a:xfrm>
            <a:off x="0" y="0"/>
            <a:ext cx="8229600" cy="637794"/>
          </a:xfrm>
        </p:spPr>
        <p:txBody>
          <a:bodyPr/>
          <a:lstStyle/>
          <a:p>
            <a:r>
              <a:rPr lang="en-US" dirty="0"/>
              <a:t>Mean Deviation – Ex continued</a:t>
            </a:r>
          </a:p>
        </p:txBody>
      </p:sp>
      <p:pic>
        <p:nvPicPr>
          <p:cNvPr id="4" name="Picture 3">
            <a:extLst>
              <a:ext uri="{FF2B5EF4-FFF2-40B4-BE49-F238E27FC236}">
                <a16:creationId xmlns:a16="http://schemas.microsoft.com/office/drawing/2014/main" id="{2684BAC9-2977-493F-A4C0-32B4E221651D}"/>
              </a:ext>
            </a:extLst>
          </p:cNvPr>
          <p:cNvPicPr>
            <a:picLocks noChangeAspect="1"/>
          </p:cNvPicPr>
          <p:nvPr/>
        </p:nvPicPr>
        <p:blipFill>
          <a:blip r:embed="rId2"/>
          <a:stretch>
            <a:fillRect/>
          </a:stretch>
        </p:blipFill>
        <p:spPr>
          <a:xfrm>
            <a:off x="1400866" y="461163"/>
            <a:ext cx="4748649" cy="1563833"/>
          </a:xfrm>
          <a:prstGeom prst="rect">
            <a:avLst/>
          </a:prstGeom>
        </p:spPr>
      </p:pic>
      <p:sp>
        <p:nvSpPr>
          <p:cNvPr id="5" name="TextBox 4">
            <a:extLst>
              <a:ext uri="{FF2B5EF4-FFF2-40B4-BE49-F238E27FC236}">
                <a16:creationId xmlns:a16="http://schemas.microsoft.com/office/drawing/2014/main" id="{4CE2C01F-5298-4DEC-97A3-7B7C756EFFAE}"/>
              </a:ext>
            </a:extLst>
          </p:cNvPr>
          <p:cNvSpPr txBox="1"/>
          <p:nvPr/>
        </p:nvSpPr>
        <p:spPr>
          <a:xfrm>
            <a:off x="439750" y="2324391"/>
            <a:ext cx="5709765"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Step 3 : </a:t>
            </a:r>
            <a:r>
              <a:rPr lang="en-US" sz="1400" dirty="0">
                <a:solidFill>
                  <a:schemeClr val="bg2">
                    <a:lumMod val="50000"/>
                    <a:lumOff val="50000"/>
                  </a:schemeClr>
                </a:solidFill>
                <a:latin typeface="+mn-lt"/>
              </a:rPr>
              <a:t>find the Mean Deviat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err="1">
              <a:solidFill>
                <a:schemeClr val="bg2"/>
              </a:solidFill>
              <a:latin typeface="+mn-lt"/>
            </a:endParaRPr>
          </a:p>
        </p:txBody>
      </p:sp>
      <p:pic>
        <p:nvPicPr>
          <p:cNvPr id="7" name="Picture 6">
            <a:extLst>
              <a:ext uri="{FF2B5EF4-FFF2-40B4-BE49-F238E27FC236}">
                <a16:creationId xmlns:a16="http://schemas.microsoft.com/office/drawing/2014/main" id="{BED417EC-550A-4790-A918-98F4535E60BC}"/>
              </a:ext>
            </a:extLst>
          </p:cNvPr>
          <p:cNvPicPr>
            <a:picLocks noChangeAspect="1"/>
          </p:cNvPicPr>
          <p:nvPr/>
        </p:nvPicPr>
        <p:blipFill>
          <a:blip r:embed="rId3"/>
          <a:stretch>
            <a:fillRect/>
          </a:stretch>
        </p:blipFill>
        <p:spPr>
          <a:xfrm>
            <a:off x="1146745" y="2689879"/>
            <a:ext cx="6124575" cy="857250"/>
          </a:xfrm>
          <a:prstGeom prst="rect">
            <a:avLst/>
          </a:prstGeom>
        </p:spPr>
      </p:pic>
      <p:sp>
        <p:nvSpPr>
          <p:cNvPr id="8" name="TextBox 7">
            <a:extLst>
              <a:ext uri="{FF2B5EF4-FFF2-40B4-BE49-F238E27FC236}">
                <a16:creationId xmlns:a16="http://schemas.microsoft.com/office/drawing/2014/main" id="{3C987945-4DA9-48F4-89A9-BA2AEE0435B6}"/>
              </a:ext>
            </a:extLst>
          </p:cNvPr>
          <p:cNvSpPr txBox="1"/>
          <p:nvPr/>
        </p:nvSpPr>
        <p:spPr>
          <a:xfrm>
            <a:off x="349008" y="3776263"/>
            <a:ext cx="6707926" cy="261610"/>
          </a:xfrm>
          <a:prstGeom prst="rect">
            <a:avLst/>
          </a:prstGeom>
          <a:noFill/>
        </p:spPr>
        <p:txBody>
          <a:bodyPr wrap="square" rtlCol="0">
            <a:spAutoFit/>
          </a:bodyPr>
          <a:lstStyle/>
          <a:p>
            <a:pPr>
              <a:spcBef>
                <a:spcPts val="0"/>
              </a:spcBef>
              <a:spcAft>
                <a:spcPts val="0"/>
              </a:spcAft>
              <a:buClr>
                <a:schemeClr val="bg1"/>
              </a:buClr>
            </a:pPr>
            <a:r>
              <a:rPr lang="en-US" sz="1100" i="0" dirty="0">
                <a:solidFill>
                  <a:schemeClr val="bg2">
                    <a:lumMod val="50000"/>
                    <a:lumOff val="50000"/>
                  </a:schemeClr>
                </a:solidFill>
                <a:effectLst/>
                <a:latin typeface="Verdana" panose="020B0604030504040204" pitchFamily="34" charset="0"/>
              </a:rPr>
              <a:t>So, on average, the dogs' heights are </a:t>
            </a:r>
            <a:r>
              <a:rPr lang="en-US" sz="1100" b="1" i="0" dirty="0">
                <a:solidFill>
                  <a:schemeClr val="bg2">
                    <a:lumMod val="50000"/>
                    <a:lumOff val="50000"/>
                  </a:schemeClr>
                </a:solidFill>
                <a:effectLst/>
                <a:latin typeface="Verdana" panose="020B0604030504040204" pitchFamily="34" charset="0"/>
              </a:rPr>
              <a:t>127.2 mm from the mean</a:t>
            </a:r>
            <a:endParaRPr lang="en-US" sz="1400" dirty="0">
              <a:solidFill>
                <a:schemeClr val="bg2">
                  <a:lumMod val="50000"/>
                  <a:lumOff val="50000"/>
                </a:schemeClr>
              </a:solidFill>
              <a:latin typeface="+mn-lt"/>
            </a:endParaRP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A4D2435D-EB63-4680-95EF-2FAD32EEBBB8}"/>
                  </a:ext>
                </a:extLst>
              </p14:cNvPr>
              <p14:cNvContentPartPr/>
              <p14:nvPr/>
            </p14:nvContentPartPr>
            <p14:xfrm>
              <a:off x="2443320" y="76320"/>
              <a:ext cx="6519960" cy="5019840"/>
            </p14:xfrm>
          </p:contentPart>
        </mc:Choice>
        <mc:Fallback>
          <p:pic>
            <p:nvPicPr>
              <p:cNvPr id="3" name="Ink 2">
                <a:extLst>
                  <a:ext uri="{FF2B5EF4-FFF2-40B4-BE49-F238E27FC236}">
                    <a16:creationId xmlns:a16="http://schemas.microsoft.com/office/drawing/2014/main" id="{A4D2435D-EB63-4680-95EF-2FAD32EEBBB8}"/>
                  </a:ext>
                </a:extLst>
              </p:cNvPr>
              <p:cNvPicPr/>
              <p:nvPr/>
            </p:nvPicPr>
            <p:blipFill>
              <a:blip r:embed="rId5"/>
              <a:stretch>
                <a:fillRect/>
              </a:stretch>
            </p:blipFill>
            <p:spPr>
              <a:xfrm>
                <a:off x="2433960" y="66960"/>
                <a:ext cx="6538680" cy="5038560"/>
              </a:xfrm>
              <a:prstGeom prst="rect">
                <a:avLst/>
              </a:prstGeom>
            </p:spPr>
          </p:pic>
        </mc:Fallback>
      </mc:AlternateContent>
    </p:spTree>
    <p:extLst>
      <p:ext uri="{BB962C8B-B14F-4D97-AF65-F5344CB8AC3E}">
        <p14:creationId xmlns:p14="http://schemas.microsoft.com/office/powerpoint/2010/main" val="399566643"/>
      </p:ext>
    </p:extLst>
  </p:cSld>
  <p:clrMapOvr>
    <a:masterClrMapping/>
  </p:clrMapOvr>
  <p:transition spd="med">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9719-CCE8-4F09-B981-E32155DA1634}"/>
              </a:ext>
            </a:extLst>
          </p:cNvPr>
          <p:cNvSpPr>
            <a:spLocks noGrp="1"/>
          </p:cNvSpPr>
          <p:nvPr>
            <p:ph type="title"/>
          </p:nvPr>
        </p:nvSpPr>
        <p:spPr>
          <a:xfrm>
            <a:off x="0" y="0"/>
            <a:ext cx="8229600" cy="637794"/>
          </a:xfrm>
        </p:spPr>
        <p:txBody>
          <a:bodyPr/>
          <a:lstStyle/>
          <a:p>
            <a:r>
              <a:rPr lang="en-US" dirty="0"/>
              <a:t>Mean Deviation – A useful check</a:t>
            </a:r>
          </a:p>
        </p:txBody>
      </p:sp>
      <p:sp>
        <p:nvSpPr>
          <p:cNvPr id="3" name="TextBox 2">
            <a:extLst>
              <a:ext uri="{FF2B5EF4-FFF2-40B4-BE49-F238E27FC236}">
                <a16:creationId xmlns:a16="http://schemas.microsoft.com/office/drawing/2014/main" id="{41132D9F-766F-4798-993F-23A0FC08EC07}"/>
              </a:ext>
            </a:extLst>
          </p:cNvPr>
          <p:cNvSpPr txBox="1"/>
          <p:nvPr/>
        </p:nvSpPr>
        <p:spPr>
          <a:xfrm>
            <a:off x="195444" y="637794"/>
            <a:ext cx="7692129" cy="2400657"/>
          </a:xfrm>
          <a:prstGeom prst="rect">
            <a:avLst/>
          </a:prstGeom>
          <a:noFill/>
        </p:spPr>
        <p:txBody>
          <a:bodyPr wrap="square" rtlCol="0">
            <a:spAutoFit/>
          </a:bodyPr>
          <a:lstStyle/>
          <a:p>
            <a:pPr algn="l"/>
            <a:r>
              <a:rPr lang="en-US" sz="1600" b="0" i="0" dirty="0">
                <a:solidFill>
                  <a:schemeClr val="bg2">
                    <a:lumMod val="50000"/>
                    <a:lumOff val="50000"/>
                  </a:schemeClr>
                </a:solidFill>
                <a:effectLst/>
                <a:latin typeface="Verdana" panose="020B0604030504040204" pitchFamily="34" charset="0"/>
              </a:rPr>
              <a:t>The deviations on </a:t>
            </a:r>
            <a:r>
              <a:rPr lang="en-US" sz="1600" b="1" i="0" dirty="0">
                <a:solidFill>
                  <a:schemeClr val="bg2">
                    <a:lumMod val="50000"/>
                    <a:lumOff val="50000"/>
                  </a:schemeClr>
                </a:solidFill>
                <a:effectLst/>
                <a:latin typeface="Verdana" panose="020B0604030504040204" pitchFamily="34" charset="0"/>
              </a:rPr>
              <a:t>one side</a:t>
            </a:r>
            <a:r>
              <a:rPr lang="en-US" sz="1600" b="0" i="0" dirty="0">
                <a:solidFill>
                  <a:schemeClr val="bg2">
                    <a:lumMod val="50000"/>
                    <a:lumOff val="50000"/>
                  </a:schemeClr>
                </a:solidFill>
                <a:effectLst/>
                <a:latin typeface="Verdana" panose="020B0604030504040204" pitchFamily="34" charset="0"/>
              </a:rPr>
              <a:t> of the mean should equal the deviations on the </a:t>
            </a:r>
            <a:r>
              <a:rPr lang="en-US" sz="1600" b="1" i="0" dirty="0">
                <a:solidFill>
                  <a:schemeClr val="bg2">
                    <a:lumMod val="50000"/>
                    <a:lumOff val="50000"/>
                  </a:schemeClr>
                </a:solidFill>
                <a:effectLst/>
                <a:latin typeface="Verdana" panose="020B0604030504040204" pitchFamily="34" charset="0"/>
              </a:rPr>
              <a:t>other side</a:t>
            </a:r>
            <a:r>
              <a:rPr lang="en-US" sz="1600" b="0" i="0" dirty="0">
                <a:solidFill>
                  <a:schemeClr val="bg2">
                    <a:lumMod val="50000"/>
                    <a:lumOff val="50000"/>
                  </a:schemeClr>
                </a:solidFill>
                <a:effectLst/>
                <a:latin typeface="Verdana" panose="020B0604030504040204" pitchFamily="34" charset="0"/>
              </a:rPr>
              <a:t>.</a:t>
            </a:r>
          </a:p>
          <a:p>
            <a:pPr algn="l"/>
            <a:r>
              <a:rPr lang="en-US" sz="1600" b="0" i="0" dirty="0">
                <a:solidFill>
                  <a:schemeClr val="bg2">
                    <a:lumMod val="50000"/>
                    <a:lumOff val="50000"/>
                  </a:schemeClr>
                </a:solidFill>
                <a:effectLst/>
                <a:latin typeface="Verdana" panose="020B0604030504040204" pitchFamily="34" charset="0"/>
              </a:rPr>
              <a:t>From our first example:</a:t>
            </a:r>
          </a:p>
          <a:p>
            <a:pPr algn="l"/>
            <a:endParaRPr lang="en-US" sz="1600" dirty="0">
              <a:solidFill>
                <a:schemeClr val="bg2">
                  <a:lumMod val="50000"/>
                  <a:lumOff val="50000"/>
                </a:schemeClr>
              </a:solidFill>
              <a:latin typeface="Verdana" panose="020B0604030504040204" pitchFamily="34" charset="0"/>
            </a:endParaRPr>
          </a:p>
          <a:p>
            <a:r>
              <a:rPr lang="en-US" sz="1200" b="0" i="0" dirty="0">
                <a:solidFill>
                  <a:schemeClr val="bg2">
                    <a:lumMod val="50000"/>
                    <a:lumOff val="50000"/>
                  </a:schemeClr>
                </a:solidFill>
                <a:effectLst/>
                <a:latin typeface="Verdana" panose="020B0604030504040204" pitchFamily="34" charset="0"/>
              </a:rPr>
              <a:t>Example: 3, 6, 6, 7, 8, 11, 15, 16</a:t>
            </a:r>
          </a:p>
          <a:p>
            <a:pPr algn="l"/>
            <a:endParaRPr lang="en-US" sz="1600" b="0" i="0" dirty="0">
              <a:solidFill>
                <a:schemeClr val="bg2">
                  <a:lumMod val="50000"/>
                  <a:lumOff val="50000"/>
                </a:schemeClr>
              </a:solidFill>
              <a:effectLst/>
              <a:latin typeface="Verdana" panose="020B0604030504040204" pitchFamily="34" charset="0"/>
            </a:endParaRPr>
          </a:p>
          <a:p>
            <a:pPr algn="l"/>
            <a:r>
              <a:rPr lang="en-US" sz="1200" b="0" i="0" dirty="0">
                <a:solidFill>
                  <a:schemeClr val="bg2">
                    <a:lumMod val="50000"/>
                    <a:lumOff val="50000"/>
                  </a:schemeClr>
                </a:solidFill>
                <a:effectLst/>
                <a:latin typeface="Verdana" panose="020B0604030504040204" pitchFamily="34" charset="0"/>
              </a:rPr>
              <a:t>The deviations are:</a:t>
            </a:r>
            <a:endParaRPr lang="en-US" sz="1600" dirty="0">
              <a:solidFill>
                <a:schemeClr val="bg2">
                  <a:lumMod val="50000"/>
                  <a:lumOff val="50000"/>
                </a:schemeClr>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369B5A84-C0D5-47C8-A231-D0A8C134B5C9}"/>
              </a:ext>
            </a:extLst>
          </p:cNvPr>
          <p:cNvPicPr>
            <a:picLocks noChangeAspect="1"/>
          </p:cNvPicPr>
          <p:nvPr/>
        </p:nvPicPr>
        <p:blipFill>
          <a:blip r:embed="rId2"/>
          <a:stretch>
            <a:fillRect/>
          </a:stretch>
        </p:blipFill>
        <p:spPr>
          <a:xfrm>
            <a:off x="691507" y="2448298"/>
            <a:ext cx="6846585" cy="1960685"/>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AF58C9FC-BA6E-41BF-A862-AD0FCC116891}"/>
                  </a:ext>
                </a:extLst>
              </p14:cNvPr>
              <p14:cNvContentPartPr/>
              <p14:nvPr/>
            </p14:nvContentPartPr>
            <p14:xfrm>
              <a:off x="1009800" y="947880"/>
              <a:ext cx="5062680" cy="3195720"/>
            </p14:xfrm>
          </p:contentPart>
        </mc:Choice>
        <mc:Fallback>
          <p:pic>
            <p:nvPicPr>
              <p:cNvPr id="4" name="Ink 3">
                <a:extLst>
                  <a:ext uri="{FF2B5EF4-FFF2-40B4-BE49-F238E27FC236}">
                    <a16:creationId xmlns:a16="http://schemas.microsoft.com/office/drawing/2014/main" id="{AF58C9FC-BA6E-41BF-A862-AD0FCC116891}"/>
                  </a:ext>
                </a:extLst>
              </p:cNvPr>
              <p:cNvPicPr/>
              <p:nvPr/>
            </p:nvPicPr>
            <p:blipFill>
              <a:blip r:embed="rId4"/>
              <a:stretch>
                <a:fillRect/>
              </a:stretch>
            </p:blipFill>
            <p:spPr>
              <a:xfrm>
                <a:off x="1000440" y="938520"/>
                <a:ext cx="5081400" cy="3214440"/>
              </a:xfrm>
              <a:prstGeom prst="rect">
                <a:avLst/>
              </a:prstGeom>
            </p:spPr>
          </p:pic>
        </mc:Fallback>
      </mc:AlternateContent>
    </p:spTree>
    <p:extLst>
      <p:ext uri="{BB962C8B-B14F-4D97-AF65-F5344CB8AC3E}">
        <p14:creationId xmlns:p14="http://schemas.microsoft.com/office/powerpoint/2010/main" val="2909785245"/>
      </p:ext>
    </p:extLst>
  </p:cSld>
  <p:clrMapOvr>
    <a:masterClrMapping/>
  </p:clrMapOvr>
  <p:transition spd="med">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166426-5C59-4886-8DCD-BEF36302222C}"/>
              </a:ext>
            </a:extLst>
          </p:cNvPr>
          <p:cNvSpPr>
            <a:spLocks noGrp="1"/>
          </p:cNvSpPr>
          <p:nvPr>
            <p:ph type="title"/>
          </p:nvPr>
        </p:nvSpPr>
        <p:spPr>
          <a:xfrm>
            <a:off x="0" y="0"/>
            <a:ext cx="8229600" cy="637794"/>
          </a:xfrm>
        </p:spPr>
        <p:txBody>
          <a:bodyPr/>
          <a:lstStyle/>
          <a:p>
            <a:r>
              <a:rPr lang="en-US" dirty="0"/>
              <a:t>Mean Deviation – A useful check</a:t>
            </a:r>
          </a:p>
        </p:txBody>
      </p:sp>
      <p:sp>
        <p:nvSpPr>
          <p:cNvPr id="4" name="TextBox 3">
            <a:extLst>
              <a:ext uri="{FF2B5EF4-FFF2-40B4-BE49-F238E27FC236}">
                <a16:creationId xmlns:a16="http://schemas.microsoft.com/office/drawing/2014/main" id="{013FE25D-0A7C-4193-959C-38B6A985FB32}"/>
              </a:ext>
            </a:extLst>
          </p:cNvPr>
          <p:cNvSpPr txBox="1"/>
          <p:nvPr/>
        </p:nvSpPr>
        <p:spPr>
          <a:xfrm>
            <a:off x="219875" y="725937"/>
            <a:ext cx="7789850" cy="1846659"/>
          </a:xfrm>
          <a:prstGeom prst="rect">
            <a:avLst/>
          </a:prstGeom>
          <a:noFill/>
        </p:spPr>
        <p:txBody>
          <a:bodyPr wrap="square" rtlCol="0">
            <a:spAutoFit/>
          </a:bodyPr>
          <a:lstStyle/>
          <a:p>
            <a:pPr algn="l"/>
            <a:r>
              <a:rPr lang="en-US" sz="2000" b="0" i="0" dirty="0">
                <a:solidFill>
                  <a:schemeClr val="bg2">
                    <a:lumMod val="50000"/>
                    <a:lumOff val="50000"/>
                  </a:schemeClr>
                </a:solidFill>
                <a:effectLst/>
                <a:latin typeface="Verdana" panose="020B0604030504040204" pitchFamily="34" charset="0"/>
              </a:rPr>
              <a:t>Example: Dogs</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left of mean: 224 + 94 = </a:t>
            </a:r>
            <a:r>
              <a:rPr lang="en-US" sz="2000" b="1" i="0" dirty="0">
                <a:solidFill>
                  <a:schemeClr val="bg2">
                    <a:lumMod val="50000"/>
                    <a:lumOff val="50000"/>
                  </a:schemeClr>
                </a:solidFill>
                <a:effectLst/>
                <a:latin typeface="Verdana" panose="020B0604030504040204" pitchFamily="34" charset="0"/>
              </a:rPr>
              <a:t>318</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right of mean: 206 + 76 + 36 = </a:t>
            </a:r>
            <a:r>
              <a:rPr lang="en-US" sz="2000" b="1" i="0" dirty="0">
                <a:solidFill>
                  <a:schemeClr val="bg2">
                    <a:lumMod val="50000"/>
                    <a:lumOff val="50000"/>
                  </a:schemeClr>
                </a:solidFill>
                <a:effectLst/>
                <a:latin typeface="Verdana" panose="020B0604030504040204" pitchFamily="34" charset="0"/>
              </a:rPr>
              <a:t>318</a:t>
            </a:r>
            <a:endParaRPr lang="en-US" sz="20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56F994EE-7A03-4F69-85C5-BCFF19B3B248}"/>
              </a:ext>
            </a:extLst>
          </p:cNvPr>
          <p:cNvPicPr>
            <a:picLocks noChangeAspect="1"/>
          </p:cNvPicPr>
          <p:nvPr/>
        </p:nvPicPr>
        <p:blipFill>
          <a:blip r:embed="rId2"/>
          <a:stretch>
            <a:fillRect/>
          </a:stretch>
        </p:blipFill>
        <p:spPr>
          <a:xfrm>
            <a:off x="402704" y="2660739"/>
            <a:ext cx="4748649" cy="1563833"/>
          </a:xfrm>
          <a:prstGeom prst="rect">
            <a:avLst/>
          </a:prstGeom>
        </p:spPr>
      </p:pic>
      <p:sp>
        <p:nvSpPr>
          <p:cNvPr id="6" name="TextBox 5">
            <a:extLst>
              <a:ext uri="{FF2B5EF4-FFF2-40B4-BE49-F238E27FC236}">
                <a16:creationId xmlns:a16="http://schemas.microsoft.com/office/drawing/2014/main" id="{E9DACB1E-93D8-4B68-B0FE-167B63C7A201}"/>
              </a:ext>
            </a:extLst>
          </p:cNvPr>
          <p:cNvSpPr txBox="1"/>
          <p:nvPr/>
        </p:nvSpPr>
        <p:spPr>
          <a:xfrm>
            <a:off x="5681844" y="2987505"/>
            <a:ext cx="3141069" cy="1569660"/>
          </a:xfrm>
          <a:prstGeom prst="rect">
            <a:avLst/>
          </a:prstGeom>
          <a:noFill/>
        </p:spPr>
        <p:txBody>
          <a:bodyPr wrap="square" rtlCol="0">
            <a:spAutoFit/>
          </a:bodyPr>
          <a:lstStyle/>
          <a:p>
            <a:pPr>
              <a:spcBef>
                <a:spcPts val="0"/>
              </a:spcBef>
              <a:spcAft>
                <a:spcPts val="0"/>
              </a:spcAft>
              <a:buClr>
                <a:schemeClr val="bg1"/>
              </a:buClr>
            </a:pPr>
            <a:r>
              <a:rPr lang="en-US" b="0" i="0" dirty="0">
                <a:solidFill>
                  <a:schemeClr val="bg2">
                    <a:lumMod val="50000"/>
                    <a:lumOff val="50000"/>
                  </a:schemeClr>
                </a:solidFill>
                <a:effectLst/>
                <a:latin typeface="Verdana" panose="020B0604030504040204" pitchFamily="34" charset="0"/>
              </a:rPr>
              <a:t>If they are not equal ... you may have made a mistake!</a:t>
            </a:r>
            <a:endParaRPr lang="en-US" sz="3200" dirty="0">
              <a:solidFill>
                <a:schemeClr val="bg2">
                  <a:lumMod val="50000"/>
                  <a:lumOff val="50000"/>
                </a:schemeClr>
              </a:solidFill>
              <a:latin typeface="+mn-lt"/>
            </a:endParaRPr>
          </a:p>
        </p:txBody>
      </p:sp>
      <mc:AlternateContent xmlns:mc="http://schemas.openxmlformats.org/markup-compatibility/2006">
        <mc:Choice xmlns:p14="http://schemas.microsoft.com/office/powerpoint/2010/main" Requires="p14">
          <p:contentPart p14:bwMode="auto" r:id="rId3">
            <p14:nvContentPartPr>
              <p14:cNvPr id="2" name="Ink 1">
                <a:extLst>
                  <a:ext uri="{FF2B5EF4-FFF2-40B4-BE49-F238E27FC236}">
                    <a16:creationId xmlns:a16="http://schemas.microsoft.com/office/drawing/2014/main" id="{67522392-11C6-4286-B1FF-DA7BB75D5125}"/>
                  </a:ext>
                </a:extLst>
              </p14:cNvPr>
              <p14:cNvContentPartPr/>
              <p14:nvPr/>
            </p14:nvContentPartPr>
            <p14:xfrm>
              <a:off x="3490920" y="1181160"/>
              <a:ext cx="3291120" cy="1348200"/>
            </p14:xfrm>
          </p:contentPart>
        </mc:Choice>
        <mc:Fallback>
          <p:pic>
            <p:nvPicPr>
              <p:cNvPr id="2" name="Ink 1">
                <a:extLst>
                  <a:ext uri="{FF2B5EF4-FFF2-40B4-BE49-F238E27FC236}">
                    <a16:creationId xmlns:a16="http://schemas.microsoft.com/office/drawing/2014/main" id="{67522392-11C6-4286-B1FF-DA7BB75D5125}"/>
                  </a:ext>
                </a:extLst>
              </p:cNvPr>
              <p:cNvPicPr/>
              <p:nvPr/>
            </p:nvPicPr>
            <p:blipFill>
              <a:blip r:embed="rId4"/>
              <a:stretch>
                <a:fillRect/>
              </a:stretch>
            </p:blipFill>
            <p:spPr>
              <a:xfrm>
                <a:off x="3481560" y="1171800"/>
                <a:ext cx="3309840" cy="1366920"/>
              </a:xfrm>
              <a:prstGeom prst="rect">
                <a:avLst/>
              </a:prstGeom>
            </p:spPr>
          </p:pic>
        </mc:Fallback>
      </mc:AlternateContent>
    </p:spTree>
    <p:extLst>
      <p:ext uri="{BB962C8B-B14F-4D97-AF65-F5344CB8AC3E}">
        <p14:creationId xmlns:p14="http://schemas.microsoft.com/office/powerpoint/2010/main" val="2913282969"/>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274319" y="1002708"/>
            <a:ext cx="8141239" cy="756290"/>
          </a:xfrm>
          <a:prstGeom prst="rect">
            <a:avLst/>
          </a:prstGeom>
        </p:spPr>
      </p:pic>
    </p:spTree>
    <p:extLst>
      <p:ext uri="{BB962C8B-B14F-4D97-AF65-F5344CB8AC3E}">
        <p14:creationId xmlns:p14="http://schemas.microsoft.com/office/powerpoint/2010/main" val="347885641"/>
      </p:ext>
    </p:extLst>
  </p:cSld>
  <p:clrMapOvr>
    <a:masterClrMapping/>
  </p:clrMapOvr>
  <p:transition spd="med">
    <p:wipe dir="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5D55-9AAA-45E4-8915-A63077E621F6}"/>
              </a:ext>
            </a:extLst>
          </p:cNvPr>
          <p:cNvSpPr>
            <a:spLocks noGrp="1"/>
          </p:cNvSpPr>
          <p:nvPr>
            <p:ph type="title"/>
          </p:nvPr>
        </p:nvSpPr>
        <p:spPr>
          <a:xfrm>
            <a:off x="0" y="0"/>
            <a:ext cx="8229600" cy="637794"/>
          </a:xfrm>
        </p:spPr>
        <p:txBody>
          <a:bodyPr/>
          <a:lstStyle/>
          <a:p>
            <a:r>
              <a:rPr lang="en-US" dirty="0"/>
              <a:t>Standard Deviation</a:t>
            </a:r>
          </a:p>
        </p:txBody>
      </p:sp>
      <p:sp>
        <p:nvSpPr>
          <p:cNvPr id="3" name="TextBox 2">
            <a:extLst>
              <a:ext uri="{FF2B5EF4-FFF2-40B4-BE49-F238E27FC236}">
                <a16:creationId xmlns:a16="http://schemas.microsoft.com/office/drawing/2014/main" id="{8CB960C2-872D-4418-91E5-6829B760044F}"/>
              </a:ext>
            </a:extLst>
          </p:cNvPr>
          <p:cNvSpPr txBox="1"/>
          <p:nvPr/>
        </p:nvSpPr>
        <p:spPr>
          <a:xfrm>
            <a:off x="62820" y="572373"/>
            <a:ext cx="7629307" cy="1692771"/>
          </a:xfrm>
          <a:prstGeom prst="rect">
            <a:avLst/>
          </a:prstGeom>
          <a:noFill/>
        </p:spPr>
        <p:txBody>
          <a:bodyPr wrap="square" rtlCol="0">
            <a:spAutoFit/>
          </a:bodyPr>
          <a:lstStyle/>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Standard Deviation is a measure of how spread-out numbers are.</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Its symbol is </a:t>
            </a:r>
            <a:r>
              <a:rPr lang="en-US" sz="1800" b="1" i="0" dirty="0">
                <a:solidFill>
                  <a:schemeClr val="bg2">
                    <a:lumMod val="50000"/>
                    <a:lumOff val="50000"/>
                  </a:schemeClr>
                </a:solidFill>
                <a:effectLst/>
                <a:latin typeface="Verdana" panose="020B0604030504040204" pitchFamily="34" charset="0"/>
              </a:rPr>
              <a:t>σ</a:t>
            </a:r>
            <a:r>
              <a:rPr lang="en-US" sz="1800" b="0" i="0" dirty="0">
                <a:solidFill>
                  <a:schemeClr val="bg2">
                    <a:lumMod val="50000"/>
                    <a:lumOff val="50000"/>
                  </a:schemeClr>
                </a:solidFill>
                <a:effectLst/>
                <a:latin typeface="Verdana" panose="020B0604030504040204" pitchFamily="34" charset="0"/>
              </a:rPr>
              <a:t> (the </a:t>
            </a:r>
            <a:r>
              <a:rPr lang="en-US" sz="1800" b="0" i="0" dirty="0" err="1">
                <a:solidFill>
                  <a:schemeClr val="bg2">
                    <a:lumMod val="50000"/>
                    <a:lumOff val="50000"/>
                  </a:schemeClr>
                </a:solidFill>
                <a:effectLst/>
                <a:latin typeface="Verdana" panose="020B0604030504040204" pitchFamily="34" charset="0"/>
              </a:rPr>
              <a:t>greek</a:t>
            </a:r>
            <a:r>
              <a:rPr lang="en-US" sz="1800" b="0" i="0" dirty="0">
                <a:solidFill>
                  <a:schemeClr val="bg2">
                    <a:lumMod val="50000"/>
                    <a:lumOff val="50000"/>
                  </a:schemeClr>
                </a:solidFill>
                <a:effectLst/>
                <a:latin typeface="Verdana" panose="020B0604030504040204" pitchFamily="34" charset="0"/>
              </a:rPr>
              <a:t> letter sigma)</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formula is easy: it is the</a:t>
            </a:r>
            <a:r>
              <a:rPr lang="en-US" sz="1800" b="1" i="0" dirty="0">
                <a:solidFill>
                  <a:schemeClr val="bg2">
                    <a:lumMod val="50000"/>
                    <a:lumOff val="50000"/>
                  </a:schemeClr>
                </a:solidFill>
                <a:effectLst/>
                <a:latin typeface="Verdana" panose="020B0604030504040204" pitchFamily="34" charset="0"/>
              </a:rPr>
              <a:t> square root</a:t>
            </a:r>
            <a:r>
              <a:rPr lang="en-US" sz="1800" b="0" i="0" dirty="0">
                <a:solidFill>
                  <a:schemeClr val="bg2">
                    <a:lumMod val="50000"/>
                    <a:lumOff val="50000"/>
                  </a:schemeClr>
                </a:solidFill>
                <a:effectLst/>
                <a:latin typeface="Verdana" panose="020B0604030504040204" pitchFamily="34" charset="0"/>
              </a:rPr>
              <a:t> of the </a:t>
            </a:r>
            <a:r>
              <a:rPr lang="en-US" sz="1800" b="1" i="0" dirty="0">
                <a:solidFill>
                  <a:schemeClr val="bg2">
                    <a:lumMod val="50000"/>
                    <a:lumOff val="50000"/>
                  </a:schemeClr>
                </a:solidFill>
                <a:effectLst/>
                <a:latin typeface="Verdana" panose="020B0604030504040204" pitchFamily="34" charset="0"/>
              </a:rPr>
              <a:t>Variance.</a:t>
            </a:r>
            <a:r>
              <a:rPr lang="en-US" sz="1800" b="0" i="0" dirty="0">
                <a:solidFill>
                  <a:schemeClr val="bg2">
                    <a:lumMod val="50000"/>
                    <a:lumOff val="50000"/>
                  </a:schemeClr>
                </a:solidFill>
                <a:effectLst/>
                <a:latin typeface="Verdana" panose="020B0604030504040204" pitchFamily="34" charset="0"/>
              </a:rPr>
              <a:t> So now you ask, "What is the Variance?"</a:t>
            </a:r>
          </a:p>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F1DDCECB-FE11-4385-B2D3-479150F5E6FA}"/>
              </a:ext>
            </a:extLst>
          </p:cNvPr>
          <p:cNvSpPr txBox="1">
            <a:spLocks/>
          </p:cNvSpPr>
          <p:nvPr/>
        </p:nvSpPr>
        <p:spPr>
          <a:xfrm>
            <a:off x="62820" y="2106694"/>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Variance</a:t>
            </a:r>
          </a:p>
        </p:txBody>
      </p:sp>
      <p:sp>
        <p:nvSpPr>
          <p:cNvPr id="6" name="TextBox 5">
            <a:extLst>
              <a:ext uri="{FF2B5EF4-FFF2-40B4-BE49-F238E27FC236}">
                <a16:creationId xmlns:a16="http://schemas.microsoft.com/office/drawing/2014/main" id="{2F44518A-41CB-4383-A7A5-39A317FE295D}"/>
              </a:ext>
            </a:extLst>
          </p:cNvPr>
          <p:cNvSpPr txBox="1"/>
          <p:nvPr/>
        </p:nvSpPr>
        <p:spPr>
          <a:xfrm>
            <a:off x="62820" y="2564606"/>
            <a:ext cx="9081180" cy="1138773"/>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The Variance is defined as: The average of the squared differences from the Mean.</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
        <p:nvSpPr>
          <p:cNvPr id="11" name="Rectangle 4">
            <a:extLst>
              <a:ext uri="{FF2B5EF4-FFF2-40B4-BE49-F238E27FC236}">
                <a16:creationId xmlns:a16="http://schemas.microsoft.com/office/drawing/2014/main" id="{AB2D2E9B-99A2-44F3-B1E4-1D521B26FC9C}"/>
              </a:ext>
            </a:extLst>
          </p:cNvPr>
          <p:cNvSpPr>
            <a:spLocks noChangeArrowheads="1"/>
          </p:cNvSpPr>
          <p:nvPr/>
        </p:nvSpPr>
        <p:spPr bwMode="auto">
          <a:xfrm>
            <a:off x="693544" y="3202622"/>
            <a:ext cx="8229600"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o calculate the variance, follow these step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Work out the </a:t>
            </a:r>
            <a:r>
              <a:rPr lang="en-US" altLang="en-US" sz="1600" dirty="0">
                <a:solidFill>
                  <a:schemeClr val="accent1"/>
                </a:solidFill>
                <a:latin typeface="Verdana" panose="020B0604030504040204" pitchFamily="34" charset="0"/>
                <a:hlinkClick r:id="rId2">
                  <a:extLst>
                    <a:ext uri="{A12FA001-AC4F-418D-AE19-62706E023703}">
                      <ahyp:hlinkClr xmlns:ahyp="http://schemas.microsoft.com/office/drawing/2018/hyperlinkcolor" val="tx"/>
                    </a:ext>
                  </a:extLst>
                </a:hlinkClick>
              </a:rPr>
              <a:t>Mean</a:t>
            </a:r>
            <a:r>
              <a:rPr lang="en-US" altLang="en-US" sz="1600" dirty="0">
                <a:solidFill>
                  <a:schemeClr val="accent1"/>
                </a:solidFill>
                <a:latin typeface="Verdana" panose="020B0604030504040204" pitchFamily="34" charset="0"/>
              </a:rPr>
              <a:t> (the simple average of the number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for each number: subtract the Mean and square the result (the squared difference).</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work out the average of those squared differences. (</a:t>
            </a:r>
            <a:r>
              <a:rPr lang="en-US" altLang="en-US" sz="1600" dirty="0">
                <a:solidFill>
                  <a:schemeClr val="accent1"/>
                </a:solidFill>
                <a:latin typeface="Verdana" panose="020B0604030504040204" pitchFamily="34" charset="0"/>
                <a:hlinkClick r:id="rId3">
                  <a:extLst>
                    <a:ext uri="{A12FA001-AC4F-418D-AE19-62706E023703}">
                      <ahyp:hlinkClr xmlns:ahyp="http://schemas.microsoft.com/office/drawing/2018/hyperlinkcolor" val="tx"/>
                    </a:ext>
                  </a:extLst>
                </a:hlinkClick>
              </a:rPr>
              <a:t>Why Square?</a:t>
            </a:r>
            <a:r>
              <a:rPr lang="en-US" altLang="en-US" sz="1600" dirty="0">
                <a:solidFill>
                  <a:schemeClr val="accent1"/>
                </a:solidFill>
                <a:latin typeface="Verdana" panose="020B060403050404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419FBE2D-306E-4655-9A7A-0FF889868E61}"/>
                  </a:ext>
                </a:extLst>
              </p14:cNvPr>
              <p14:cNvContentPartPr/>
              <p14:nvPr/>
            </p14:nvContentPartPr>
            <p14:xfrm>
              <a:off x="19080" y="38160"/>
              <a:ext cx="8987040" cy="4667400"/>
            </p14:xfrm>
          </p:contentPart>
        </mc:Choice>
        <mc:Fallback>
          <p:pic>
            <p:nvPicPr>
              <p:cNvPr id="5" name="Ink 4">
                <a:extLst>
                  <a:ext uri="{FF2B5EF4-FFF2-40B4-BE49-F238E27FC236}">
                    <a16:creationId xmlns:a16="http://schemas.microsoft.com/office/drawing/2014/main" id="{419FBE2D-306E-4655-9A7A-0FF889868E61}"/>
                  </a:ext>
                </a:extLst>
              </p:cNvPr>
              <p:cNvPicPr/>
              <p:nvPr/>
            </p:nvPicPr>
            <p:blipFill>
              <a:blip r:embed="rId5"/>
              <a:stretch>
                <a:fillRect/>
              </a:stretch>
            </p:blipFill>
            <p:spPr>
              <a:xfrm>
                <a:off x="9720" y="28800"/>
                <a:ext cx="9005760" cy="4686120"/>
              </a:xfrm>
              <a:prstGeom prst="rect">
                <a:avLst/>
              </a:prstGeom>
            </p:spPr>
          </p:pic>
        </mc:Fallback>
      </mc:AlternateContent>
    </p:spTree>
    <p:extLst>
      <p:ext uri="{BB962C8B-B14F-4D97-AF65-F5344CB8AC3E}">
        <p14:creationId xmlns:p14="http://schemas.microsoft.com/office/powerpoint/2010/main" val="1288610285"/>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2294-467A-462C-83C7-3043808D6D56}"/>
              </a:ext>
            </a:extLst>
          </p:cNvPr>
          <p:cNvSpPr>
            <a:spLocks noGrp="1"/>
          </p:cNvSpPr>
          <p:nvPr>
            <p:ph type="title"/>
          </p:nvPr>
        </p:nvSpPr>
        <p:spPr>
          <a:xfrm>
            <a:off x="0" y="0"/>
            <a:ext cx="8229600" cy="637794"/>
          </a:xfrm>
        </p:spPr>
        <p:txBody>
          <a:bodyPr/>
          <a:lstStyle/>
          <a:p>
            <a:r>
              <a:rPr lang="en-US" dirty="0"/>
              <a:t>Variance - Ex</a:t>
            </a:r>
          </a:p>
        </p:txBody>
      </p:sp>
      <p:pic>
        <p:nvPicPr>
          <p:cNvPr id="4" name="Picture 3">
            <a:extLst>
              <a:ext uri="{FF2B5EF4-FFF2-40B4-BE49-F238E27FC236}">
                <a16:creationId xmlns:a16="http://schemas.microsoft.com/office/drawing/2014/main" id="{1D437307-14BE-4815-A5C1-396AAFF9B2EB}"/>
              </a:ext>
            </a:extLst>
          </p:cNvPr>
          <p:cNvPicPr>
            <a:picLocks noChangeAspect="1"/>
          </p:cNvPicPr>
          <p:nvPr/>
        </p:nvPicPr>
        <p:blipFill>
          <a:blip r:embed="rId2"/>
          <a:stretch>
            <a:fillRect/>
          </a:stretch>
        </p:blipFill>
        <p:spPr>
          <a:xfrm>
            <a:off x="716247" y="862066"/>
            <a:ext cx="5796235" cy="1573442"/>
          </a:xfrm>
          <a:prstGeom prst="rect">
            <a:avLst/>
          </a:prstGeom>
        </p:spPr>
      </p:pic>
      <p:sp>
        <p:nvSpPr>
          <p:cNvPr id="5" name="TextBox 4">
            <a:extLst>
              <a:ext uri="{FF2B5EF4-FFF2-40B4-BE49-F238E27FC236}">
                <a16:creationId xmlns:a16="http://schemas.microsoft.com/office/drawing/2014/main" id="{A32434E3-AF65-400B-AE8B-C5EBA451E0F8}"/>
              </a:ext>
            </a:extLst>
          </p:cNvPr>
          <p:cNvSpPr txBox="1"/>
          <p:nvPr/>
        </p:nvSpPr>
        <p:spPr>
          <a:xfrm>
            <a:off x="230344" y="523511"/>
            <a:ext cx="6519463" cy="338554"/>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Now we calculate each dog's difference from the Mean:</a:t>
            </a:r>
            <a:endParaRPr lang="en-US" sz="2000"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0CD470DC-9FC8-468B-BA20-CF437AFC230F}"/>
              </a:ext>
            </a:extLst>
          </p:cNvPr>
          <p:cNvSpPr txBox="1"/>
          <p:nvPr/>
        </p:nvSpPr>
        <p:spPr>
          <a:xfrm>
            <a:off x="90740" y="2571750"/>
            <a:ext cx="8794993" cy="584775"/>
          </a:xfrm>
          <a:prstGeom prst="rect">
            <a:avLst/>
          </a:prstGeom>
          <a:noFill/>
        </p:spPr>
        <p:txBody>
          <a:bodyPr wrap="square" rtlCol="0">
            <a:spAutoFit/>
          </a:bodyPr>
          <a:lstStyle/>
          <a:p>
            <a:pPr>
              <a:spcBef>
                <a:spcPts val="0"/>
              </a:spcBef>
              <a:spcAft>
                <a:spcPts val="0"/>
              </a:spcAft>
              <a:buClr>
                <a:schemeClr val="bg1"/>
              </a:buClr>
            </a:pPr>
            <a:r>
              <a:rPr lang="en-US" sz="1600" dirty="0">
                <a:solidFill>
                  <a:schemeClr val="bg2">
                    <a:lumMod val="50000"/>
                    <a:lumOff val="50000"/>
                  </a:schemeClr>
                </a:solidFill>
                <a:latin typeface="Verdana" panose="020B0604030504040204" pitchFamily="34" charset="0"/>
              </a:rPr>
              <a:t>To calculate the Variance, take each difference, square it, and then average the result:</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45A5E52C-B9FF-4656-8545-781A384ADD63}"/>
                  </a:ext>
                </a:extLst>
              </p14:cNvPr>
              <p14:cNvContentPartPr/>
              <p14:nvPr/>
            </p14:nvContentPartPr>
            <p14:xfrm>
              <a:off x="1257120" y="171360"/>
              <a:ext cx="7877880" cy="4862880"/>
            </p14:xfrm>
          </p:contentPart>
        </mc:Choice>
        <mc:Fallback>
          <p:pic>
            <p:nvPicPr>
              <p:cNvPr id="3" name="Ink 2">
                <a:extLst>
                  <a:ext uri="{FF2B5EF4-FFF2-40B4-BE49-F238E27FC236}">
                    <a16:creationId xmlns:a16="http://schemas.microsoft.com/office/drawing/2014/main" id="{45A5E52C-B9FF-4656-8545-781A384ADD63}"/>
                  </a:ext>
                </a:extLst>
              </p:cNvPr>
              <p:cNvPicPr/>
              <p:nvPr/>
            </p:nvPicPr>
            <p:blipFill>
              <a:blip r:embed="rId4"/>
              <a:stretch>
                <a:fillRect/>
              </a:stretch>
            </p:blipFill>
            <p:spPr>
              <a:xfrm>
                <a:off x="1247760" y="162000"/>
                <a:ext cx="7896600" cy="4881600"/>
              </a:xfrm>
              <a:prstGeom prst="rect">
                <a:avLst/>
              </a:prstGeom>
            </p:spPr>
          </p:pic>
        </mc:Fallback>
      </mc:AlternateContent>
    </p:spTree>
    <p:extLst>
      <p:ext uri="{BB962C8B-B14F-4D97-AF65-F5344CB8AC3E}">
        <p14:creationId xmlns:p14="http://schemas.microsoft.com/office/powerpoint/2010/main" val="4213750322"/>
      </p:ext>
    </p:extLst>
  </p:cSld>
  <p:clrMapOvr>
    <a:masterClrMapping/>
  </p:clrMapOvr>
  <p:transition spd="med">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779-CD6A-4E57-AE1B-EF50594A725F}"/>
              </a:ext>
            </a:extLst>
          </p:cNvPr>
          <p:cNvSpPr>
            <a:spLocks noGrp="1"/>
          </p:cNvSpPr>
          <p:nvPr>
            <p:ph type="title"/>
          </p:nvPr>
        </p:nvSpPr>
        <p:spPr>
          <a:xfrm>
            <a:off x="0" y="0"/>
            <a:ext cx="8229600" cy="637794"/>
          </a:xfrm>
        </p:spPr>
        <p:txBody>
          <a:bodyPr/>
          <a:lstStyle/>
          <a:p>
            <a:r>
              <a:rPr lang="en-US" dirty="0"/>
              <a:t>Variance – Ex continued</a:t>
            </a:r>
          </a:p>
        </p:txBody>
      </p:sp>
      <p:pic>
        <p:nvPicPr>
          <p:cNvPr id="4" name="Picture 3">
            <a:extLst>
              <a:ext uri="{FF2B5EF4-FFF2-40B4-BE49-F238E27FC236}">
                <a16:creationId xmlns:a16="http://schemas.microsoft.com/office/drawing/2014/main" id="{1A86875E-99D1-4F9C-A42B-BF8A9B27E777}"/>
              </a:ext>
            </a:extLst>
          </p:cNvPr>
          <p:cNvPicPr>
            <a:picLocks noChangeAspect="1"/>
          </p:cNvPicPr>
          <p:nvPr/>
        </p:nvPicPr>
        <p:blipFill>
          <a:blip r:embed="rId2"/>
          <a:stretch>
            <a:fillRect/>
          </a:stretch>
        </p:blipFill>
        <p:spPr>
          <a:xfrm>
            <a:off x="1409627" y="1022430"/>
            <a:ext cx="4809689" cy="2271632"/>
          </a:xfrm>
          <a:prstGeom prst="rect">
            <a:avLst/>
          </a:prstGeom>
        </p:spPr>
      </p:pic>
      <p:sp>
        <p:nvSpPr>
          <p:cNvPr id="5" name="TextBox 4">
            <a:extLst>
              <a:ext uri="{FF2B5EF4-FFF2-40B4-BE49-F238E27FC236}">
                <a16:creationId xmlns:a16="http://schemas.microsoft.com/office/drawing/2014/main" id="{E8670F94-D7F9-4415-86ED-4018DED05897}"/>
              </a:ext>
            </a:extLst>
          </p:cNvPr>
          <p:cNvSpPr txBox="1"/>
          <p:nvPr/>
        </p:nvSpPr>
        <p:spPr>
          <a:xfrm>
            <a:off x="551432" y="3769282"/>
            <a:ext cx="469066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So, the Variance is </a:t>
            </a:r>
            <a:r>
              <a:rPr lang="en-US" sz="1100" b="1" i="0" dirty="0">
                <a:solidFill>
                  <a:schemeClr val="bg2">
                    <a:lumMod val="50000"/>
                    <a:lumOff val="50000"/>
                  </a:schemeClr>
                </a:solidFill>
                <a:effectLst/>
                <a:latin typeface="Verdana" panose="020B0604030504040204" pitchFamily="34" charset="0"/>
              </a:rPr>
              <a:t>21,704</a:t>
            </a:r>
            <a:endParaRPr lang="en-US" sz="1400" dirty="0">
              <a:solidFill>
                <a:schemeClr val="bg2">
                  <a:lumMod val="50000"/>
                  <a:lumOff val="50000"/>
                </a:schemeClr>
              </a:solidFill>
              <a:latin typeface="+mn-lt"/>
            </a:endParaRP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ADC53C65-893F-476F-93E2-5DFE6F86F3CE}"/>
                  </a:ext>
                </a:extLst>
              </p14:cNvPr>
              <p14:cNvContentPartPr/>
              <p14:nvPr/>
            </p14:nvContentPartPr>
            <p14:xfrm>
              <a:off x="1819440" y="71280"/>
              <a:ext cx="6320160" cy="4725000"/>
            </p14:xfrm>
          </p:contentPart>
        </mc:Choice>
        <mc:Fallback>
          <p:pic>
            <p:nvPicPr>
              <p:cNvPr id="3" name="Ink 2">
                <a:extLst>
                  <a:ext uri="{FF2B5EF4-FFF2-40B4-BE49-F238E27FC236}">
                    <a16:creationId xmlns:a16="http://schemas.microsoft.com/office/drawing/2014/main" id="{ADC53C65-893F-476F-93E2-5DFE6F86F3CE}"/>
                  </a:ext>
                </a:extLst>
              </p:cNvPr>
              <p:cNvPicPr/>
              <p:nvPr/>
            </p:nvPicPr>
            <p:blipFill>
              <a:blip r:embed="rId4"/>
              <a:stretch>
                <a:fillRect/>
              </a:stretch>
            </p:blipFill>
            <p:spPr>
              <a:xfrm>
                <a:off x="1810080" y="61920"/>
                <a:ext cx="6338880" cy="4743720"/>
              </a:xfrm>
              <a:prstGeom prst="rect">
                <a:avLst/>
              </a:prstGeom>
            </p:spPr>
          </p:pic>
        </mc:Fallback>
      </mc:AlternateContent>
    </p:spTree>
    <p:extLst>
      <p:ext uri="{BB962C8B-B14F-4D97-AF65-F5344CB8AC3E}">
        <p14:creationId xmlns:p14="http://schemas.microsoft.com/office/powerpoint/2010/main" val="799166285"/>
      </p:ext>
    </p:extLst>
  </p:cSld>
  <p:clrMapOvr>
    <a:masterClrMapping/>
  </p:clrMapOvr>
  <p:transition spd="med">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F620B-98F5-4335-AD5A-53E05E2B254D}"/>
              </a:ext>
            </a:extLst>
          </p:cNvPr>
          <p:cNvSpPr>
            <a:spLocks noGrp="1"/>
          </p:cNvSpPr>
          <p:nvPr>
            <p:ph type="title"/>
          </p:nvPr>
        </p:nvSpPr>
        <p:spPr>
          <a:xfrm>
            <a:off x="0" y="0"/>
            <a:ext cx="8229600" cy="637794"/>
          </a:xfrm>
        </p:spPr>
        <p:txBody>
          <a:bodyPr/>
          <a:lstStyle/>
          <a:p>
            <a:r>
              <a:rPr lang="en-US" dirty="0"/>
              <a:t>Standard Deviation </a:t>
            </a:r>
          </a:p>
        </p:txBody>
      </p:sp>
      <p:sp>
        <p:nvSpPr>
          <p:cNvPr id="3" name="TextBox 2">
            <a:extLst>
              <a:ext uri="{FF2B5EF4-FFF2-40B4-BE49-F238E27FC236}">
                <a16:creationId xmlns:a16="http://schemas.microsoft.com/office/drawing/2014/main" id="{AE4C90B8-F407-49EC-A54D-E9774AA2C94F}"/>
              </a:ext>
            </a:extLst>
          </p:cNvPr>
          <p:cNvSpPr txBox="1"/>
          <p:nvPr/>
        </p:nvSpPr>
        <p:spPr>
          <a:xfrm>
            <a:off x="0" y="579353"/>
            <a:ext cx="7489704"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And the Standard Deviation is just the square root of Variance, so:</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5BC06AD-C58E-4108-9D27-4A78A855F4A5}"/>
              </a:ext>
            </a:extLst>
          </p:cNvPr>
          <p:cNvPicPr>
            <a:picLocks noChangeAspect="1"/>
          </p:cNvPicPr>
          <p:nvPr/>
        </p:nvPicPr>
        <p:blipFill>
          <a:blip r:embed="rId2"/>
          <a:stretch>
            <a:fillRect/>
          </a:stretch>
        </p:blipFill>
        <p:spPr>
          <a:xfrm>
            <a:off x="1986179" y="887130"/>
            <a:ext cx="2983690" cy="1263533"/>
          </a:xfrm>
          <a:prstGeom prst="rect">
            <a:avLst/>
          </a:prstGeom>
        </p:spPr>
      </p:pic>
      <p:pic>
        <p:nvPicPr>
          <p:cNvPr id="7" name="Picture 6">
            <a:extLst>
              <a:ext uri="{FF2B5EF4-FFF2-40B4-BE49-F238E27FC236}">
                <a16:creationId xmlns:a16="http://schemas.microsoft.com/office/drawing/2014/main" id="{931D458C-A0C9-4716-86D8-0E33FCB322A4}"/>
              </a:ext>
            </a:extLst>
          </p:cNvPr>
          <p:cNvPicPr>
            <a:picLocks noChangeAspect="1"/>
          </p:cNvPicPr>
          <p:nvPr/>
        </p:nvPicPr>
        <p:blipFill>
          <a:blip r:embed="rId3"/>
          <a:stretch>
            <a:fillRect/>
          </a:stretch>
        </p:blipFill>
        <p:spPr>
          <a:xfrm>
            <a:off x="211949" y="2966341"/>
            <a:ext cx="4904502" cy="1648486"/>
          </a:xfrm>
          <a:prstGeom prst="rect">
            <a:avLst/>
          </a:prstGeom>
        </p:spPr>
      </p:pic>
      <p:sp>
        <p:nvSpPr>
          <p:cNvPr id="8" name="TextBox 7">
            <a:extLst>
              <a:ext uri="{FF2B5EF4-FFF2-40B4-BE49-F238E27FC236}">
                <a16:creationId xmlns:a16="http://schemas.microsoft.com/office/drawing/2014/main" id="{E92EE6A2-F38C-4E19-BEA8-F4669A0C412E}"/>
              </a:ext>
            </a:extLst>
          </p:cNvPr>
          <p:cNvSpPr txBox="1"/>
          <p:nvPr/>
        </p:nvSpPr>
        <p:spPr>
          <a:xfrm>
            <a:off x="0" y="2387248"/>
            <a:ext cx="6324018"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And the good thing about the Standard Deviation is that it is useful. Now we can show which heights are within one Standard Deviation (147mm) of the Mean:</a:t>
            </a:r>
            <a:endParaRPr lang="en-US" sz="1400" dirty="0">
              <a:solidFill>
                <a:schemeClr val="bg2">
                  <a:lumMod val="50000"/>
                  <a:lumOff val="50000"/>
                </a:schemeClr>
              </a:solidFill>
              <a:latin typeface="+mn-lt"/>
            </a:endParaRPr>
          </a:p>
        </p:txBody>
      </p:sp>
      <p:sp>
        <p:nvSpPr>
          <p:cNvPr id="10" name="TextBox 9">
            <a:extLst>
              <a:ext uri="{FF2B5EF4-FFF2-40B4-BE49-F238E27FC236}">
                <a16:creationId xmlns:a16="http://schemas.microsoft.com/office/drawing/2014/main" id="{98B8F9D4-2C7B-451C-A083-7F06BA7A3569}"/>
              </a:ext>
            </a:extLst>
          </p:cNvPr>
          <p:cNvSpPr txBox="1"/>
          <p:nvPr/>
        </p:nvSpPr>
        <p:spPr>
          <a:xfrm>
            <a:off x="5263035" y="3462156"/>
            <a:ext cx="3880965"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accent1"/>
                </a:solidFill>
                <a:latin typeface="+mn-lt"/>
              </a:rPr>
              <a:t>So, using the Standard Deviation we have a "standard" way of knowing what is normal, and what is extra large or extra small.</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BAA78D34-9055-47F4-91A0-8A6E14A99CD8}"/>
                  </a:ext>
                </a:extLst>
              </p14:cNvPr>
              <p14:cNvContentPartPr/>
              <p14:nvPr/>
            </p14:nvContentPartPr>
            <p14:xfrm>
              <a:off x="171360" y="4680"/>
              <a:ext cx="8758800" cy="4786920"/>
            </p14:xfrm>
          </p:contentPart>
        </mc:Choice>
        <mc:Fallback>
          <p:pic>
            <p:nvPicPr>
              <p:cNvPr id="4" name="Ink 3">
                <a:extLst>
                  <a:ext uri="{FF2B5EF4-FFF2-40B4-BE49-F238E27FC236}">
                    <a16:creationId xmlns:a16="http://schemas.microsoft.com/office/drawing/2014/main" id="{BAA78D34-9055-47F4-91A0-8A6E14A99CD8}"/>
                  </a:ext>
                </a:extLst>
              </p:cNvPr>
              <p:cNvPicPr/>
              <p:nvPr/>
            </p:nvPicPr>
            <p:blipFill>
              <a:blip r:embed="rId5"/>
              <a:stretch>
                <a:fillRect/>
              </a:stretch>
            </p:blipFill>
            <p:spPr>
              <a:xfrm>
                <a:off x="162000" y="-4680"/>
                <a:ext cx="8777520" cy="4805640"/>
              </a:xfrm>
              <a:prstGeom prst="rect">
                <a:avLst/>
              </a:prstGeom>
            </p:spPr>
          </p:pic>
        </mc:Fallback>
      </mc:AlternateContent>
    </p:spTree>
    <p:extLst>
      <p:ext uri="{BB962C8B-B14F-4D97-AF65-F5344CB8AC3E}">
        <p14:creationId xmlns:p14="http://schemas.microsoft.com/office/powerpoint/2010/main" val="2062386995"/>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heme/theme1.xml><?xml version="1.0" encoding="utf-8"?>
<a:theme xmlns:a="http://schemas.openxmlformats.org/drawingml/2006/main" name="Dell PPT Theme_201609">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PPT Theme_201609" id="{FF30C829-293E-4456-BF26-F010FAA61FD1}" vid="{671CC896-344E-4270-8267-102DA59EDD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1364</TotalTime>
  <Words>5688</Words>
  <Application>Microsoft Office PowerPoint</Application>
  <PresentationFormat>On-screen Show (16:9)</PresentationFormat>
  <Paragraphs>565</Paragraphs>
  <Slides>93</Slides>
  <Notes>7</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8" baseType="lpstr">
      <vt:lpstr>Inter</vt:lpstr>
      <vt:lpstr>Museo For Dell 300</vt:lpstr>
      <vt:lpstr>Museo Sans For Dell</vt:lpstr>
      <vt:lpstr>Museo Sans For Dell</vt:lpstr>
      <vt:lpstr>Arial</vt:lpstr>
      <vt:lpstr>Arial Black</vt:lpstr>
      <vt:lpstr>Calibri</vt:lpstr>
      <vt:lpstr>Courier New</vt:lpstr>
      <vt:lpstr>Lato</vt:lpstr>
      <vt:lpstr>Open Sans</vt:lpstr>
      <vt:lpstr>Raleway</vt:lpstr>
      <vt:lpstr>Verdana</vt:lpstr>
      <vt:lpstr>Wingdings</vt:lpstr>
      <vt:lpstr>Dell PPT Theme_201609</vt:lpstr>
      <vt:lpstr>think-cell Slide</vt:lpstr>
      <vt:lpstr>Statistics for  Data Science   </vt:lpstr>
      <vt:lpstr>What is Statistics ? </vt:lpstr>
      <vt:lpstr>Some examples of how statistics shape our life</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lpstr>Types of Statistical Studies</vt:lpstr>
      <vt:lpstr>Understanding Observational Study &amp; Experiment              With an Example</vt:lpstr>
      <vt:lpstr>Understanding Observational Study &amp; Experiment              With an Example</vt:lpstr>
      <vt:lpstr>Understanding Observational Study &amp; Experiment              With an Example</vt:lpstr>
      <vt:lpstr>Control Experiment – drug test example</vt:lpstr>
      <vt:lpstr>Controlled Experiment</vt:lpstr>
      <vt:lpstr>Correlation and Causation</vt:lpstr>
      <vt:lpstr>Confounding Variable</vt:lpstr>
      <vt:lpstr>Confounding variable – another example</vt:lpstr>
      <vt:lpstr>What is hypothesis ? </vt:lpstr>
      <vt:lpstr>Blinding</vt:lpstr>
      <vt:lpstr>Double Blinding</vt:lpstr>
      <vt:lpstr>Why blinding is important in Statistics?</vt:lpstr>
      <vt:lpstr>Describing Data through Statistics   </vt:lpstr>
      <vt:lpstr>Measure of   Central Tendency   </vt:lpstr>
      <vt:lpstr>Finding Central Value</vt:lpstr>
      <vt:lpstr>Measure of Central Tendency</vt:lpstr>
      <vt:lpstr>Ready ??????????????</vt:lpstr>
      <vt:lpstr>Mean </vt:lpstr>
      <vt:lpstr>Median</vt:lpstr>
      <vt:lpstr>Median – Two middle numbers</vt:lpstr>
      <vt:lpstr>Mode</vt:lpstr>
      <vt:lpstr>Mode</vt:lpstr>
      <vt:lpstr>Grouping</vt:lpstr>
      <vt:lpstr>Grouping another example</vt:lpstr>
      <vt:lpstr>Outlier </vt:lpstr>
      <vt:lpstr>Outlier - continued</vt:lpstr>
      <vt:lpstr>Mean – Continued Different types of Mean</vt:lpstr>
      <vt:lpstr>Geometric Mean</vt:lpstr>
      <vt:lpstr>Harmonic Mean</vt:lpstr>
      <vt:lpstr>Harmonic Mean - Continued</vt:lpstr>
      <vt:lpstr>Harmonic Mean</vt:lpstr>
      <vt:lpstr>Conclusion : Mean, Median, Mode</vt:lpstr>
      <vt:lpstr>The Mean from a Frequency Table</vt:lpstr>
      <vt:lpstr>The Mean from a Frequency Table - Continued</vt:lpstr>
      <vt:lpstr>Another example of Mean from a Freq Table</vt:lpstr>
      <vt:lpstr>Weighted Mean</vt:lpstr>
      <vt:lpstr>Weighted Mean</vt:lpstr>
      <vt:lpstr>Weighted Mean – Example </vt:lpstr>
      <vt:lpstr>What if the weights don’t add to 1 ?</vt:lpstr>
      <vt:lpstr>What if the weights don’t add to 1 ?</vt:lpstr>
      <vt:lpstr>What if the weights don’t add to 1 ?</vt:lpstr>
      <vt:lpstr>What if the weights don’t add to 1 ?</vt:lpstr>
      <vt:lpstr>Weighted Mean : Summary</vt:lpstr>
      <vt:lpstr>Measure of   Variability   </vt:lpstr>
      <vt:lpstr>Measure of Variability </vt:lpstr>
      <vt:lpstr>Why does variability matters? </vt:lpstr>
      <vt:lpstr>Range</vt:lpstr>
      <vt:lpstr>Range can be misleading</vt:lpstr>
      <vt:lpstr>Quartiles</vt:lpstr>
      <vt:lpstr>Quartile</vt:lpstr>
      <vt:lpstr>Quartile</vt:lpstr>
      <vt:lpstr>How to find Q1, Q2, Q3 ? lets do a small example to get the understanding </vt:lpstr>
      <vt:lpstr>Interquartile Range</vt:lpstr>
      <vt:lpstr>Interquartile Range</vt:lpstr>
      <vt:lpstr>Interquartile Range</vt:lpstr>
      <vt:lpstr>Worksheet</vt:lpstr>
      <vt:lpstr>Box and Whiskers Plot</vt:lpstr>
      <vt:lpstr>Putting it all together – Quartiles &amp; Box and Whisker Plot</vt:lpstr>
      <vt:lpstr>Quartile – Five-number summary</vt:lpstr>
      <vt:lpstr>Mean Deviation</vt:lpstr>
      <vt:lpstr>Mean Deviation</vt:lpstr>
      <vt:lpstr>Mean Deviation</vt:lpstr>
      <vt:lpstr>Mean Deviation - Formula</vt:lpstr>
      <vt:lpstr>Mean Deviation – Real life example </vt:lpstr>
      <vt:lpstr>Mean Deviation – Ex continued</vt:lpstr>
      <vt:lpstr>Mean Deviation – A useful check</vt:lpstr>
      <vt:lpstr>Mean Deviation – A useful check</vt:lpstr>
      <vt:lpstr>Standard Deviation</vt:lpstr>
      <vt:lpstr>Variance - Ex</vt:lpstr>
      <vt:lpstr>Variance – Ex continued</vt:lpstr>
      <vt:lpstr>Standard Deviation </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un_r2@dell.com</dc:creator>
  <cp:keywords>Internal Use</cp:keywords>
  <cp:lastModifiedBy>R2, Arun</cp:lastModifiedBy>
  <cp:revision>538</cp:revision>
  <dcterms:created xsi:type="dcterms:W3CDTF">2016-10-16T11:20:54Z</dcterms:created>
  <dcterms:modified xsi:type="dcterms:W3CDTF">2022-03-26T13:2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7d0e0ab-4d80-4e64-940a-7bb474d0a4c0</vt:lpwstr>
  </property>
  <property fmtid="{D5CDD505-2E9C-101B-9397-08002B2CF9AE}" pid="3" name="DellClassification">
    <vt:lpwstr>Internal Use</vt:lpwstr>
  </property>
  <property fmtid="{D5CDD505-2E9C-101B-9397-08002B2CF9AE}" pid="4" name="DellSubLabels">
    <vt:lpwstr/>
  </property>
  <property fmtid="{D5CDD505-2E9C-101B-9397-08002B2CF9AE}" pid="5" name="DellVisual Markings (PPT)">
    <vt:lpwstr>Classification Footer</vt:lpwstr>
  </property>
  <property fmtid="{D5CDD505-2E9C-101B-9397-08002B2CF9AE}" pid="6" name="titusconfig">
    <vt:lpwstr>1.3APJ</vt:lpwstr>
  </property>
  <property fmtid="{D5CDD505-2E9C-101B-9397-08002B2CF9AE}" pid="7" name="MSIP_Label_7de70ee2-0cb4-4d60-aee5-75ef2c4c8a90_Enabled">
    <vt:lpwstr>True</vt:lpwstr>
  </property>
  <property fmtid="{D5CDD505-2E9C-101B-9397-08002B2CF9AE}" pid="8" name="MSIP_Label_7de70ee2-0cb4-4d60-aee5-75ef2c4c8a90_SiteId">
    <vt:lpwstr>945c199a-83a2-4e80-9f8c-5a91be5752dd</vt:lpwstr>
  </property>
  <property fmtid="{D5CDD505-2E9C-101B-9397-08002B2CF9AE}" pid="9" name="MSIP_Label_7de70ee2-0cb4-4d60-aee5-75ef2c4c8a90_Owner">
    <vt:lpwstr>Aphidalin_Syiemlieh@DELL.com</vt:lpwstr>
  </property>
  <property fmtid="{D5CDD505-2E9C-101B-9397-08002B2CF9AE}" pid="10" name="MSIP_Label_7de70ee2-0cb4-4d60-aee5-75ef2c4c8a90_SetDate">
    <vt:lpwstr>2019-06-10T23:10:14.0206521Z</vt:lpwstr>
  </property>
  <property fmtid="{D5CDD505-2E9C-101B-9397-08002B2CF9AE}" pid="11" name="MSIP_Label_7de70ee2-0cb4-4d60-aee5-75ef2c4c8a90_Name">
    <vt:lpwstr>Internal Use</vt:lpwstr>
  </property>
  <property fmtid="{D5CDD505-2E9C-101B-9397-08002B2CF9AE}" pid="12" name="MSIP_Label_7de70ee2-0cb4-4d60-aee5-75ef2c4c8a90_Application">
    <vt:lpwstr>Microsoft Azure Information Protection</vt:lpwstr>
  </property>
  <property fmtid="{D5CDD505-2E9C-101B-9397-08002B2CF9AE}" pid="13" name="MSIP_Label_7de70ee2-0cb4-4d60-aee5-75ef2c4c8a90_Extended_MSFT_Method">
    <vt:lpwstr>Manual</vt:lpwstr>
  </property>
  <property fmtid="{D5CDD505-2E9C-101B-9397-08002B2CF9AE}" pid="14" name="MSIP_Label_da6fab74-d5af-4af7-a9a4-78d84655a626_Enabled">
    <vt:lpwstr>True</vt:lpwstr>
  </property>
  <property fmtid="{D5CDD505-2E9C-101B-9397-08002B2CF9AE}" pid="15" name="MSIP_Label_da6fab74-d5af-4af7-a9a4-78d84655a626_SiteId">
    <vt:lpwstr>945c199a-83a2-4e80-9f8c-5a91be5752dd</vt:lpwstr>
  </property>
  <property fmtid="{D5CDD505-2E9C-101B-9397-08002B2CF9AE}" pid="16" name="MSIP_Label_da6fab74-d5af-4af7-a9a4-78d84655a626_Owner">
    <vt:lpwstr>Aphidalin_Syiemlieh@DELL.com</vt:lpwstr>
  </property>
  <property fmtid="{D5CDD505-2E9C-101B-9397-08002B2CF9AE}" pid="17" name="MSIP_Label_da6fab74-d5af-4af7-a9a4-78d84655a626_SetDate">
    <vt:lpwstr>2019-06-10T23:10:14.0206521Z</vt:lpwstr>
  </property>
  <property fmtid="{D5CDD505-2E9C-101B-9397-08002B2CF9AE}" pid="18" name="MSIP_Label_da6fab74-d5af-4af7-a9a4-78d84655a626_Name">
    <vt:lpwstr>Visual Marking</vt:lpwstr>
  </property>
  <property fmtid="{D5CDD505-2E9C-101B-9397-08002B2CF9AE}" pid="19" name="MSIP_Label_da6fab74-d5af-4af7-a9a4-78d84655a626_Application">
    <vt:lpwstr>Microsoft Azure Information Protection</vt:lpwstr>
  </property>
  <property fmtid="{D5CDD505-2E9C-101B-9397-08002B2CF9AE}" pid="20" name="MSIP_Label_da6fab74-d5af-4af7-a9a4-78d84655a626_Parent">
    <vt:lpwstr>7de70ee2-0cb4-4d60-aee5-75ef2c4c8a90</vt:lpwstr>
  </property>
  <property fmtid="{D5CDD505-2E9C-101B-9397-08002B2CF9AE}" pid="21" name="MSIP_Label_da6fab74-d5af-4af7-a9a4-78d84655a626_Extended_MSFT_Method">
    <vt:lpwstr>Manual</vt:lpwstr>
  </property>
  <property fmtid="{D5CDD505-2E9C-101B-9397-08002B2CF9AE}" pid="22" name="aiplabel">
    <vt:lpwstr>Internal Use Visual Marking</vt:lpwstr>
  </property>
</Properties>
</file>